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1.xml" ContentType="application/vnd.openxmlformats-officedocument.presentationml.tags+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slideLayouts/slideLayout29.xml" ContentType="application/vnd.openxmlformats-officedocument.presentationml.slideLayout+xml"/>
  <Override PartName="/ppt/theme/theme4.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5.xml" ContentType="application/vnd.openxmlformats-officedocument.theme+xml"/>
  <Override PartName="/ppt/tags/tag2.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6.xml" ContentType="application/vnd.openxmlformats-officedocument.theme+xml"/>
  <Override PartName="/ppt/tags/tag3.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7.xml" ContentType="application/vnd.openxmlformats-officedocument.theme+xml"/>
  <Override PartName="/ppt/tags/tag4.xml" ContentType="application/vnd.openxmlformats-officedocument.presentationml.tags+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8.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9.xml" ContentType="application/vnd.openxmlformats-officedocument.theme+xml"/>
  <Override PartName="/ppt/tags/tag7.xml" ContentType="application/vnd.openxmlformats-officedocument.presentationml.tags+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10.xml" ContentType="application/vnd.openxmlformats-officedocument.theme+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11.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 id="2147483921" r:id="rId5"/>
    <p:sldMasterId id="2147483923" r:id="rId6"/>
    <p:sldMasterId id="2147483955" r:id="rId7"/>
    <p:sldMasterId id="2147484020" r:id="rId8"/>
    <p:sldMasterId id="2147484027" r:id="rId9"/>
    <p:sldMasterId id="2147484068" r:id="rId10"/>
    <p:sldMasterId id="2147484090" r:id="rId11"/>
    <p:sldMasterId id="2147484099" r:id="rId12"/>
    <p:sldMasterId id="2147484126" r:id="rId13"/>
    <p:sldMasterId id="2147484140" r:id="rId14"/>
  </p:sldMasterIdLst>
  <p:notesMasterIdLst>
    <p:notesMasterId r:id="rId24"/>
  </p:notesMasterIdLst>
  <p:sldIdLst>
    <p:sldId id="2147470466" r:id="rId15"/>
    <p:sldId id="2147470482" r:id="rId16"/>
    <p:sldId id="2076137663" r:id="rId17"/>
    <p:sldId id="749" r:id="rId18"/>
    <p:sldId id="1486" r:id="rId19"/>
    <p:sldId id="2147470567" r:id="rId20"/>
    <p:sldId id="2076137703" r:id="rId21"/>
    <p:sldId id="2147470566" r:id="rId22"/>
    <p:sldId id="621" r:id="rId23"/>
  </p:sldIdLst>
  <p:sldSz cx="20104100" cy="11328400"/>
  <p:notesSz cx="20104100" cy="11328400"/>
  <p:defaultTextStyle>
    <a:defPPr>
      <a:defRPr kern="0"/>
    </a:defPPr>
  </p:defaultTextStyle>
  <p:extLst>
    <p:ext uri="{521415D9-36F7-43E2-AB2F-B90AF26B5E84}">
      <p14:sectionLst xmlns:p14="http://schemas.microsoft.com/office/powerpoint/2010/main">
        <p14:section name="Intro" id="{03F098D2-F69D-784A-8190-6EB75D0BCD08}">
          <p14:sldIdLst>
            <p14:sldId id="2147470466"/>
            <p14:sldId id="2147470482"/>
            <p14:sldId id="2076137663"/>
            <p14:sldId id="749"/>
            <p14:sldId id="1486"/>
            <p14:sldId id="2147470567"/>
            <p14:sldId id="2076137703"/>
            <p14:sldId id="2147470566"/>
            <p14:sldId id="621"/>
          </p14:sldIdLst>
        </p14:section>
      </p14:sectionLst>
    </p:ext>
    <p:ext uri="{EFAFB233-063F-42B5-8137-9DF3F51BA10A}">
      <p15:sldGuideLst xmlns:p15="http://schemas.microsoft.com/office/powerpoint/2012/main">
        <p15:guide id="1" orient="horz" pos="2880">
          <p15:clr>
            <a:srgbClr val="A4A3A4"/>
          </p15:clr>
        </p15:guide>
        <p15:guide id="2" pos="216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AD"/>
    <a:srgbClr val="808080"/>
    <a:srgbClr val="31859C"/>
    <a:srgbClr val="12A9D8"/>
    <a:srgbClr val="0F91BA"/>
    <a:srgbClr val="330E50"/>
    <a:srgbClr val="95E616"/>
    <a:srgbClr val="FF304C"/>
    <a:srgbClr val="F5F5F7"/>
    <a:srgbClr val="290E3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470"/>
    <p:restoredTop sz="94830" autoAdjust="0"/>
  </p:normalViewPr>
  <p:slideViewPr>
    <p:cSldViewPr snapToGrid="0">
      <p:cViewPr varScale="1">
        <p:scale>
          <a:sx n="66" d="100"/>
          <a:sy n="66" d="100"/>
        </p:scale>
        <p:origin x="936" y="78"/>
      </p:cViewPr>
      <p:guideLst>
        <p:guide orient="horz" pos="2880"/>
        <p:guide pos="2160"/>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 Target="slides/slide4.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7.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3.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2.xml"/><Relationship Id="rId20" Type="http://schemas.openxmlformats.org/officeDocument/2006/relationships/slide" Target="slides/slide6.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tableStyles" Target="tableStyles.xml"/><Relationship Id="rId10" Type="http://schemas.openxmlformats.org/officeDocument/2006/relationships/slideMaster" Target="slideMasters/slideMaster7.xml"/><Relationship Id="rId19" Type="http://schemas.openxmlformats.org/officeDocument/2006/relationships/slide" Target="slides/slide5.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8.xml"/><Relationship Id="rId27"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8712200" cy="568325"/>
          </a:xfrm>
          <a:prstGeom prst="rect">
            <a:avLst/>
          </a:prstGeom>
        </p:spPr>
        <p:txBody>
          <a:bodyPr vert="horz" lIns="91440" tIns="45720" rIns="91440" bIns="45720" rtlCol="0"/>
          <a:lstStyle>
            <a:lvl1pPr algn="l">
              <a:defRPr sz="1200"/>
            </a:lvl1pPr>
          </a:lstStyle>
          <a:p>
            <a:endParaRPr lang="es-ES"/>
          </a:p>
        </p:txBody>
      </p:sp>
      <p:sp>
        <p:nvSpPr>
          <p:cNvPr id="3" name="Marcador de fecha 2"/>
          <p:cNvSpPr>
            <a:spLocks noGrp="1"/>
          </p:cNvSpPr>
          <p:nvPr>
            <p:ph type="dt" idx="1"/>
          </p:nvPr>
        </p:nvSpPr>
        <p:spPr>
          <a:xfrm>
            <a:off x="11387138" y="0"/>
            <a:ext cx="8712200" cy="568325"/>
          </a:xfrm>
          <a:prstGeom prst="rect">
            <a:avLst/>
          </a:prstGeom>
        </p:spPr>
        <p:txBody>
          <a:bodyPr vert="horz" lIns="91440" tIns="45720" rIns="91440" bIns="45720" rtlCol="0"/>
          <a:lstStyle>
            <a:lvl1pPr algn="r">
              <a:defRPr sz="1200"/>
            </a:lvl1pPr>
          </a:lstStyle>
          <a:p>
            <a:fld id="{78174E92-34C5-F04F-B984-4C58761891C0}" type="datetimeFigureOut">
              <a:rPr lang="es-ES" smtClean="0"/>
              <a:t>23/05/2023</a:t>
            </a:fld>
            <a:endParaRPr lang="es-ES"/>
          </a:p>
        </p:txBody>
      </p:sp>
      <p:sp>
        <p:nvSpPr>
          <p:cNvPr id="4" name="Marcador de imagen de diapositiva 3"/>
          <p:cNvSpPr>
            <a:spLocks noGrp="1" noRot="1" noChangeAspect="1"/>
          </p:cNvSpPr>
          <p:nvPr>
            <p:ph type="sldImg" idx="2"/>
          </p:nvPr>
        </p:nvSpPr>
        <p:spPr>
          <a:xfrm>
            <a:off x="6659563" y="1416050"/>
            <a:ext cx="6784975" cy="3822700"/>
          </a:xfrm>
          <a:prstGeom prst="rect">
            <a:avLst/>
          </a:prstGeom>
          <a:noFill/>
          <a:ln w="12700">
            <a:solidFill>
              <a:prstClr val="black"/>
            </a:solidFill>
          </a:ln>
        </p:spPr>
        <p:txBody>
          <a:bodyPr vert="horz" lIns="91440" tIns="45720" rIns="91440" bIns="45720" rtlCol="0" anchor="ctr"/>
          <a:lstStyle/>
          <a:p>
            <a:endParaRPr lang="es-ES"/>
          </a:p>
        </p:txBody>
      </p:sp>
      <p:sp>
        <p:nvSpPr>
          <p:cNvPr id="5" name="Marcador de notas 4"/>
          <p:cNvSpPr>
            <a:spLocks noGrp="1"/>
          </p:cNvSpPr>
          <p:nvPr>
            <p:ph type="body" sz="quarter" idx="3"/>
          </p:nvPr>
        </p:nvSpPr>
        <p:spPr>
          <a:xfrm>
            <a:off x="2009775" y="5451475"/>
            <a:ext cx="16084550" cy="4460875"/>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6" name="Marcador de pie de página 5"/>
          <p:cNvSpPr>
            <a:spLocks noGrp="1"/>
          </p:cNvSpPr>
          <p:nvPr>
            <p:ph type="ftr" sz="quarter" idx="4"/>
          </p:nvPr>
        </p:nvSpPr>
        <p:spPr>
          <a:xfrm>
            <a:off x="0" y="10760075"/>
            <a:ext cx="8712200" cy="568325"/>
          </a:xfrm>
          <a:prstGeom prst="rect">
            <a:avLst/>
          </a:prstGeom>
        </p:spPr>
        <p:txBody>
          <a:bodyPr vert="horz" lIns="91440" tIns="45720" rIns="91440" bIns="45720" rtlCol="0" anchor="b"/>
          <a:lstStyle>
            <a:lvl1pPr algn="l">
              <a:defRPr sz="1200"/>
            </a:lvl1pPr>
          </a:lstStyle>
          <a:p>
            <a:endParaRPr lang="es-ES"/>
          </a:p>
        </p:txBody>
      </p:sp>
      <p:sp>
        <p:nvSpPr>
          <p:cNvPr id="7" name="Marcador de número de diapositiva 6"/>
          <p:cNvSpPr>
            <a:spLocks noGrp="1"/>
          </p:cNvSpPr>
          <p:nvPr>
            <p:ph type="sldNum" sz="quarter" idx="5"/>
          </p:nvPr>
        </p:nvSpPr>
        <p:spPr>
          <a:xfrm>
            <a:off x="11387138" y="10760075"/>
            <a:ext cx="8712200" cy="568325"/>
          </a:xfrm>
          <a:prstGeom prst="rect">
            <a:avLst/>
          </a:prstGeom>
        </p:spPr>
        <p:txBody>
          <a:bodyPr vert="horz" lIns="91440" tIns="45720" rIns="91440" bIns="45720" rtlCol="0" anchor="b"/>
          <a:lstStyle>
            <a:lvl1pPr algn="r">
              <a:defRPr sz="1200"/>
            </a:lvl1pPr>
          </a:lstStyle>
          <a:p>
            <a:fld id="{90865F87-976F-1441-A3C3-D47EB6BD22E4}" type="slidenum">
              <a:rPr lang="es-ES" smtClean="0"/>
              <a:t>‹#›</a:t>
            </a:fld>
            <a:endParaRPr lang="es-ES"/>
          </a:p>
        </p:txBody>
      </p:sp>
    </p:spTree>
    <p:extLst>
      <p:ext uri="{BB962C8B-B14F-4D97-AF65-F5344CB8AC3E}">
        <p14:creationId xmlns:p14="http://schemas.microsoft.com/office/powerpoint/2010/main" val="242451425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5"/>
          </p:nvPr>
        </p:nvSpPr>
        <p:spPr/>
        <p:txBody>
          <a:bodyPr/>
          <a:lstStyle/>
          <a:p>
            <a:fld id="{90865F87-976F-1441-A3C3-D47EB6BD22E4}" type="slidenum">
              <a:rPr lang="es-ES" smtClean="0"/>
              <a:t>1</a:t>
            </a:fld>
            <a:endParaRPr lang="es-ES"/>
          </a:p>
        </p:txBody>
      </p:sp>
    </p:spTree>
    <p:extLst>
      <p:ext uri="{BB962C8B-B14F-4D97-AF65-F5344CB8AC3E}">
        <p14:creationId xmlns:p14="http://schemas.microsoft.com/office/powerpoint/2010/main" val="24571341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90865F87-976F-1441-A3C3-D47EB6BD22E4}" type="slidenum">
              <a:rPr kumimoji="0" lang="es-ES" sz="1200" b="0" i="0" u="none" strike="noStrike" kern="0" cap="none" spc="0" normalizeH="0" baseline="0" noProof="0" smtClean="0">
                <a:ln>
                  <a:noFill/>
                </a:ln>
                <a:solidFill>
                  <a:sysClr val="windowText" lastClr="000000"/>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2</a:t>
            </a:fld>
            <a:endParaRPr kumimoji="0" lang="es-ES" sz="12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2405125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 dirty="0"/>
              <a:t>En este bloque, presentamos nuestro enfoque “Smart QA”. SmartQA responde al objetivo de Sogeti de ayudar a nuestros clientes a conseguir un nivel avanzado en la optimización y eficiencia de los procesos y actividades de Testing y Quality Assurance aplicando técnicas y soluciones para un testing y QA más “</a:t>
            </a:r>
            <a:r>
              <a:rPr lang="es-ES" dirty="0" err="1"/>
              <a:t>smarts</a:t>
            </a:r>
            <a:r>
              <a:rPr lang="es-ES" dirty="0"/>
              <a:t>” (espabilado, inteligente). </a:t>
            </a:r>
          </a:p>
          <a:p>
            <a:r>
              <a:rPr lang="es-ES" dirty="0"/>
              <a:t>La base para conseguirlo implica ir implantando progresivamente varias soluciones:</a:t>
            </a:r>
          </a:p>
          <a:p>
            <a:r>
              <a:rPr lang="es-ES" dirty="0"/>
              <a:t>- Automatización de pruebas</a:t>
            </a:r>
          </a:p>
          <a:p>
            <a:r>
              <a:rPr lang="es-ES" dirty="0"/>
              <a:t>– CI/CD (integración continua y tareas automatizadas –más allá de las pruebas- en una cadena DevOps, a través de </a:t>
            </a:r>
            <a:r>
              <a:rPr lang="es-ES" dirty="0" err="1"/>
              <a:t>APIs</a:t>
            </a:r>
            <a:r>
              <a:rPr lang="es-ES" dirty="0"/>
              <a:t> de les herramientas).</a:t>
            </a:r>
          </a:p>
          <a:p>
            <a:pPr marL="171450" indent="-171450">
              <a:buFontTx/>
              <a:buChar char="-"/>
            </a:pPr>
            <a:r>
              <a:rPr lang="es-ES" dirty="0"/>
              <a:t>Aun así, van a quedar tareas administrativas (por ejemplo: dar de alta usuarios, enviar mails con reportes, reportar horas del proyecto, etc.) que van a seguir siendo </a:t>
            </a:r>
            <a:r>
              <a:rPr lang="es-ES" dirty="0" err="1"/>
              <a:t>stoppers</a:t>
            </a:r>
            <a:r>
              <a:rPr lang="es-ES" dirty="0"/>
              <a:t> en el proceso. Aquí, hay posibilidad de automatizar este tipo de tareas también a través de Robot </a:t>
            </a:r>
            <a:r>
              <a:rPr lang="es-ES" dirty="0" err="1"/>
              <a:t>Process</a:t>
            </a:r>
            <a:r>
              <a:rPr lang="es-ES" dirty="0"/>
              <a:t> </a:t>
            </a:r>
            <a:r>
              <a:rPr lang="es-ES" dirty="0" err="1"/>
              <a:t>Automation</a:t>
            </a:r>
            <a:r>
              <a:rPr lang="es-ES" dirty="0"/>
              <a:t> (RPA).</a:t>
            </a:r>
          </a:p>
          <a:p>
            <a:pPr marL="171450" indent="-171450">
              <a:buFontTx/>
              <a:buChar char="-"/>
            </a:pPr>
            <a:r>
              <a:rPr lang="es-ES" dirty="0"/>
              <a:t>Además, a medida que vamos automatizando, podemos usar la solución CognitiveQA para dotarnos de dashboards, </a:t>
            </a:r>
            <a:r>
              <a:rPr lang="es-ES" dirty="0" err="1"/>
              <a:t>analytics</a:t>
            </a:r>
            <a:r>
              <a:rPr lang="es-ES" dirty="0"/>
              <a:t> e </a:t>
            </a:r>
            <a:r>
              <a:rPr lang="es-ES" dirty="0" err="1"/>
              <a:t>insights</a:t>
            </a:r>
            <a:r>
              <a:rPr lang="es-ES" dirty="0"/>
              <a:t> para ayudar a la gestión de la calidad e ir un paso más allá aplicando también modelos cognitivos basados en inteligencia artificial para conseguir anticipación y asistencia a las actividades de QA y Testing.</a:t>
            </a:r>
          </a:p>
          <a:p>
            <a:pPr marL="171450" indent="-171450">
              <a:buFontTx/>
              <a:buChar char="-"/>
            </a:pPr>
            <a:r>
              <a:rPr lang="es-ES" dirty="0"/>
              <a:t>Todo ello </a:t>
            </a:r>
            <a:r>
              <a:rPr lang="es-ES" dirty="0" err="1"/>
              <a:t>require</a:t>
            </a:r>
            <a:r>
              <a:rPr lang="es-ES" dirty="0"/>
              <a:t> como base un proceso continuo de mejora (que guiamos mientras aplicamos las técnicas y soluciones centrales) del proceso de pruebas estructurado y de como los datos de QA y testing se almacenan, se trazan y se gestionan.</a:t>
            </a:r>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pt-B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028810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pt-B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525236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 dirty="0"/>
              <a:t>En esta presentación vamos a presentar el portfolio de servicios y soluciones de Sogeti España, incluyendo nuestras dos prácticas principales (Microsoft </a:t>
            </a:r>
            <a:r>
              <a:rPr lang="es-ES" dirty="0" err="1"/>
              <a:t>Solutions</a:t>
            </a:r>
            <a:r>
              <a:rPr lang="es-ES" dirty="0"/>
              <a:t> y Digital </a:t>
            </a:r>
            <a:r>
              <a:rPr lang="es-ES" dirty="0" err="1"/>
              <a:t>Assurance</a:t>
            </a:r>
            <a:r>
              <a:rPr lang="es-ES" dirty="0"/>
              <a:t> &amp; Testing), bajo el lema “</a:t>
            </a:r>
            <a:r>
              <a:rPr lang="es-ES" dirty="0" err="1"/>
              <a:t>Value</a:t>
            </a:r>
            <a:r>
              <a:rPr lang="es-ES" dirty="0"/>
              <a:t> in </a:t>
            </a:r>
            <a:r>
              <a:rPr lang="es-ES" dirty="0" err="1"/>
              <a:t>the</a:t>
            </a:r>
            <a:r>
              <a:rPr lang="es-ES" dirty="0"/>
              <a:t> </a:t>
            </a:r>
            <a:r>
              <a:rPr lang="es-ES" dirty="0" err="1"/>
              <a:t>making</a:t>
            </a:r>
            <a:r>
              <a:rPr lang="es-ES" dirty="0"/>
              <a:t>”</a:t>
            </a:r>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pt-B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822553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pt-B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329137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90865F87-976F-1441-A3C3-D47EB6BD22E4}" type="slidenum">
              <a:rPr kumimoji="0" lang="es-ES" sz="1200" b="0" i="0" u="none" strike="noStrike" kern="0" cap="none" spc="0" normalizeH="0" baseline="0" noProof="0" smtClean="0">
                <a:ln>
                  <a:noFill/>
                </a:ln>
                <a:solidFill>
                  <a:sysClr val="windowText" lastClr="000000"/>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8</a:t>
            </a:fld>
            <a:endParaRPr kumimoji="0" lang="es-ES" sz="12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42060836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image" Target="../media/image96.png"/><Relationship Id="rId1" Type="http://schemas.openxmlformats.org/officeDocument/2006/relationships/slideMaster" Target="../slideMasters/slideMaster9.xml"/><Relationship Id="rId6" Type="http://schemas.openxmlformats.org/officeDocument/2006/relationships/image" Target="../media/image100.png"/><Relationship Id="rId5" Type="http://schemas.openxmlformats.org/officeDocument/2006/relationships/image" Target="../media/image99.png"/><Relationship Id="rId4" Type="http://schemas.openxmlformats.org/officeDocument/2006/relationships/image" Target="../media/image98.png"/></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image" Target="../media/image101.png"/><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9.xml"/><Relationship Id="rId1" Type="http://schemas.openxmlformats.org/officeDocument/2006/relationships/tags" Target="../tags/tag7.xml"/><Relationship Id="rId5" Type="http://schemas.openxmlformats.org/officeDocument/2006/relationships/image" Target="../media/image103.png"/><Relationship Id="rId4" Type="http://schemas.openxmlformats.org/officeDocument/2006/relationships/image" Target="../media/image44.emf"/></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106.png"/><Relationship Id="rId3" Type="http://schemas.openxmlformats.org/officeDocument/2006/relationships/hyperlink" Target="http://www.capgemini.com/about/how-we-work/rightshorer" TargetMode="External"/><Relationship Id="rId7" Type="http://schemas.openxmlformats.org/officeDocument/2006/relationships/image" Target="../media/image104.png"/><Relationship Id="rId12" Type="http://schemas.openxmlformats.org/officeDocument/2006/relationships/hyperlink" Target="http://www.youtube.com/capgeminimedia" TargetMode="External"/><Relationship Id="rId2" Type="http://schemas.openxmlformats.org/officeDocument/2006/relationships/image" Target="../media/image70.emf"/><Relationship Id="rId1" Type="http://schemas.openxmlformats.org/officeDocument/2006/relationships/slideMaster" Target="../slideMasters/slideMaster9.xml"/><Relationship Id="rId6" Type="http://schemas.openxmlformats.org/officeDocument/2006/relationships/hyperlink" Target="http://www.linkedin.com/company/capgemini" TargetMode="External"/><Relationship Id="rId11" Type="http://schemas.microsoft.com/office/2007/relationships/hdphoto" Target="../media/hdphoto3.wdp"/><Relationship Id="rId5" Type="http://schemas.openxmlformats.org/officeDocument/2006/relationships/hyperlink" Target="https://www.sogeti.com/" TargetMode="External"/><Relationship Id="rId10" Type="http://schemas.openxmlformats.org/officeDocument/2006/relationships/image" Target="../media/image105.png"/><Relationship Id="rId4" Type="http://schemas.openxmlformats.org/officeDocument/2006/relationships/hyperlink" Target="http://www.capgemini.com/" TargetMode="External"/><Relationship Id="rId9" Type="http://schemas.openxmlformats.org/officeDocument/2006/relationships/hyperlink" Target="http://www.twitter.com/capgemini" TargetMode="External"/><Relationship Id="rId14" Type="http://schemas.microsoft.com/office/2007/relationships/hdphoto" Target="../media/hdphoto4.wdp"/></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70.emf"/><Relationship Id="rId1" Type="http://schemas.openxmlformats.org/officeDocument/2006/relationships/slideMaster" Target="../slideMasters/slideMaster10.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70.emf"/><Relationship Id="rId1" Type="http://schemas.openxmlformats.org/officeDocument/2006/relationships/slideMaster" Target="../slideMasters/slideMaster10.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70.emf"/><Relationship Id="rId2" Type="http://schemas.openxmlformats.org/officeDocument/2006/relationships/image" Target="../media/image108.png"/><Relationship Id="rId1" Type="http://schemas.openxmlformats.org/officeDocument/2006/relationships/slideMaster" Target="../slideMasters/slideMaster10.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70.emf"/><Relationship Id="rId1" Type="http://schemas.openxmlformats.org/officeDocument/2006/relationships/slideMaster" Target="../slideMasters/slideMaster10.xml"/><Relationship Id="rId4" Type="http://schemas.openxmlformats.org/officeDocument/2006/relationships/image" Target="../media/image88.png"/></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70.emf"/><Relationship Id="rId1" Type="http://schemas.openxmlformats.org/officeDocument/2006/relationships/slideMaster" Target="../slideMasters/slideMaster10.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70.emf"/><Relationship Id="rId1" Type="http://schemas.openxmlformats.org/officeDocument/2006/relationships/slideMaster" Target="../slideMasters/slideMaster10.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70.emf"/><Relationship Id="rId1" Type="http://schemas.openxmlformats.org/officeDocument/2006/relationships/slideMaster" Target="../slideMasters/slideMaster10.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70.emf"/><Relationship Id="rId1" Type="http://schemas.openxmlformats.org/officeDocument/2006/relationships/slideMaster" Target="../slideMasters/slideMaster10.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70.emf"/><Relationship Id="rId1" Type="http://schemas.openxmlformats.org/officeDocument/2006/relationships/slideMaster" Target="../slideMasters/slideMaster10.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70.emf"/><Relationship Id="rId1" Type="http://schemas.openxmlformats.org/officeDocument/2006/relationships/slideMaster" Target="../slideMasters/slideMaster10.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70.emf"/><Relationship Id="rId1" Type="http://schemas.openxmlformats.org/officeDocument/2006/relationships/slideMaster" Target="../slideMasters/slideMaster10.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10.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110.png"/><Relationship Id="rId1" Type="http://schemas.openxmlformats.org/officeDocument/2006/relationships/slideMaster" Target="../slideMasters/slideMaster11.xml"/><Relationship Id="rId4" Type="http://schemas.openxmlformats.org/officeDocument/2006/relationships/image" Target="../media/image112.svg"/></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11.xml"/></Relationships>
</file>

<file path=ppt/slideLayouts/_rels/slideLayout139.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1.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114.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113.png"/><Relationship Id="rId1" Type="http://schemas.openxmlformats.org/officeDocument/2006/relationships/slideMaster" Target="../slideMasters/slideMaster11.xml"/><Relationship Id="rId6" Type="http://schemas.openxmlformats.org/officeDocument/2006/relationships/image" Target="../media/image117.png"/><Relationship Id="rId5" Type="http://schemas.openxmlformats.org/officeDocument/2006/relationships/image" Target="../media/image116.png"/><Relationship Id="rId4" Type="http://schemas.openxmlformats.org/officeDocument/2006/relationships/image" Target="../media/image115.png"/></Relationships>
</file>

<file path=ppt/slideLayouts/_rels/slideLayout142.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03.png"/><Relationship Id="rId1" Type="http://schemas.openxmlformats.org/officeDocument/2006/relationships/slideMaster" Target="../slideMasters/slideMaster11.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4.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18.png"/><Relationship Id="rId1" Type="http://schemas.openxmlformats.org/officeDocument/2006/relationships/slideMaster" Target="../slideMasters/slideMaster11.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97.png"/><Relationship Id="rId7" Type="http://schemas.openxmlformats.org/officeDocument/2006/relationships/hyperlink" Target="https://www.capgemini.com/optimize-your-business-and-it-operations" TargetMode="External"/><Relationship Id="rId2" Type="http://schemas.openxmlformats.org/officeDocument/2006/relationships/image" Target="../media/image96.png"/><Relationship Id="rId1" Type="http://schemas.openxmlformats.org/officeDocument/2006/relationships/slideMaster" Target="../slideMasters/slideMaster11.xml"/><Relationship Id="rId6" Type="http://schemas.openxmlformats.org/officeDocument/2006/relationships/image" Target="../media/image100.png"/><Relationship Id="rId5" Type="http://schemas.openxmlformats.org/officeDocument/2006/relationships/image" Target="../media/image99.png"/><Relationship Id="rId4" Type="http://schemas.openxmlformats.org/officeDocument/2006/relationships/image" Target="../media/image98.png"/></Relationships>
</file>

<file path=ppt/slideLayouts/_rels/slideLayout146.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19.jpeg"/><Relationship Id="rId1" Type="http://schemas.openxmlformats.org/officeDocument/2006/relationships/slideMaster" Target="../slideMasters/slideMaster11.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image" Target="../media/image101.png"/><Relationship Id="rId1" Type="http://schemas.openxmlformats.org/officeDocument/2006/relationships/slideMaster" Target="../slideMasters/slideMaster11.xml"/><Relationship Id="rId4" Type="http://schemas.openxmlformats.org/officeDocument/2006/relationships/hyperlink" Target="https://www.capgemini.com/optimize-your-business-and-it-operations" TargetMode="Externa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hyperlink" Target="https://www.capgemini.com/optimize-your-business-and-it-operations" TargetMode="External"/><Relationship Id="rId2" Type="http://schemas.openxmlformats.org/officeDocument/2006/relationships/image" Target="../media/image120.png"/><Relationship Id="rId1" Type="http://schemas.openxmlformats.org/officeDocument/2006/relationships/slideMaster" Target="../slideMasters/slideMaster11.xml"/></Relationships>
</file>

<file path=ppt/slideLayouts/_rels/slideLayout151.xml.rels><?xml version="1.0" encoding="UTF-8" standalone="yes"?>
<Relationships xmlns="http://schemas.openxmlformats.org/package/2006/relationships"><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1.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image" Target="../media/image70.emf"/><Relationship Id="rId1" Type="http://schemas.openxmlformats.org/officeDocument/2006/relationships/slideMaster" Target="../slideMasters/slideMaster11.xml"/></Relationships>
</file>

<file path=ppt/slideLayouts/_rels/slideLayout15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1.xml"/><Relationship Id="rId1" Type="http://schemas.openxmlformats.org/officeDocument/2006/relationships/tags" Target="../tags/tag8.xml"/><Relationship Id="rId4" Type="http://schemas.openxmlformats.org/officeDocument/2006/relationships/image" Target="../media/image44.emf"/></Relationships>
</file>

<file path=ppt/slideLayouts/_rels/slideLayout15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1.xml"/><Relationship Id="rId1" Type="http://schemas.openxmlformats.org/officeDocument/2006/relationships/tags" Target="../tags/tag9.xml"/><Relationship Id="rId4" Type="http://schemas.openxmlformats.org/officeDocument/2006/relationships/image" Target="../media/image44.emf"/></Relationships>
</file>

<file path=ppt/slideLayouts/_rels/slideLayout155.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1.xml"/><Relationship Id="rId1" Type="http://schemas.openxmlformats.org/officeDocument/2006/relationships/tags" Target="../tags/tag10.xml"/><Relationship Id="rId4" Type="http://schemas.openxmlformats.org/officeDocument/2006/relationships/image" Target="../media/image44.emf"/></Relationships>
</file>

<file path=ppt/slideLayouts/_rels/slideLayout156.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1.xml"/><Relationship Id="rId1" Type="http://schemas.openxmlformats.org/officeDocument/2006/relationships/tags" Target="../tags/tag11.xml"/><Relationship Id="rId4" Type="http://schemas.openxmlformats.org/officeDocument/2006/relationships/image" Target="../media/image44.emf"/></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122.emf"/><Relationship Id="rId1" Type="http://schemas.openxmlformats.org/officeDocument/2006/relationships/slideMaster" Target="../slideMasters/slideMaster11.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70.emf"/><Relationship Id="rId1" Type="http://schemas.openxmlformats.org/officeDocument/2006/relationships/slideMaster" Target="../slideMasters/slideMaster11.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70.emf"/><Relationship Id="rId1" Type="http://schemas.openxmlformats.org/officeDocument/2006/relationships/slideMaster" Target="../slideMasters/slideMaster1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1.xml"/><Relationship Id="rId1" Type="http://schemas.openxmlformats.org/officeDocument/2006/relationships/tags" Target="../tags/tag12.xml"/><Relationship Id="rId4" Type="http://schemas.openxmlformats.org/officeDocument/2006/relationships/image" Target="../media/image44.emf"/></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hyperlink" Target="https://www.capgemini.com/optimize-your-business-and-it-operations" TargetMode="External"/><Relationship Id="rId1" Type="http://schemas.openxmlformats.org/officeDocument/2006/relationships/slideMaster" Target="../slideMasters/slideMaster11.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124.png"/><Relationship Id="rId1" Type="http://schemas.openxmlformats.org/officeDocument/2006/relationships/slideMaster" Target="../slideMasters/slideMaster11.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6.png"/><Relationship Id="rId18" Type="http://schemas.openxmlformats.org/officeDocument/2006/relationships/image" Target="../media/image31.png"/><Relationship Id="rId26" Type="http://schemas.openxmlformats.org/officeDocument/2006/relationships/image" Target="../media/image39.png"/><Relationship Id="rId3" Type="http://schemas.openxmlformats.org/officeDocument/2006/relationships/image" Target="../media/image16.png"/><Relationship Id="rId21" Type="http://schemas.openxmlformats.org/officeDocument/2006/relationships/image" Target="../media/image34.png"/><Relationship Id="rId7" Type="http://schemas.openxmlformats.org/officeDocument/2006/relationships/image" Target="../media/image20.png"/><Relationship Id="rId12" Type="http://schemas.openxmlformats.org/officeDocument/2006/relationships/image" Target="../media/image25.png"/><Relationship Id="rId17" Type="http://schemas.openxmlformats.org/officeDocument/2006/relationships/image" Target="../media/image30.png"/><Relationship Id="rId25" Type="http://schemas.openxmlformats.org/officeDocument/2006/relationships/image" Target="../media/image38.png"/><Relationship Id="rId2" Type="http://schemas.openxmlformats.org/officeDocument/2006/relationships/image" Target="../media/image15.png"/><Relationship Id="rId16" Type="http://schemas.openxmlformats.org/officeDocument/2006/relationships/image" Target="../media/image29.png"/><Relationship Id="rId20" Type="http://schemas.openxmlformats.org/officeDocument/2006/relationships/image" Target="../media/image33.png"/><Relationship Id="rId29" Type="http://schemas.openxmlformats.org/officeDocument/2006/relationships/image" Target="../media/image42.png"/><Relationship Id="rId1" Type="http://schemas.openxmlformats.org/officeDocument/2006/relationships/slideMaster" Target="../slideMasters/slideMaster1.xml"/><Relationship Id="rId6" Type="http://schemas.openxmlformats.org/officeDocument/2006/relationships/image" Target="../media/image19.png"/><Relationship Id="rId11" Type="http://schemas.openxmlformats.org/officeDocument/2006/relationships/image" Target="../media/image24.png"/><Relationship Id="rId24" Type="http://schemas.openxmlformats.org/officeDocument/2006/relationships/image" Target="../media/image37.png"/><Relationship Id="rId5" Type="http://schemas.openxmlformats.org/officeDocument/2006/relationships/image" Target="../media/image18.png"/><Relationship Id="rId15" Type="http://schemas.openxmlformats.org/officeDocument/2006/relationships/image" Target="../media/image28.png"/><Relationship Id="rId23" Type="http://schemas.openxmlformats.org/officeDocument/2006/relationships/image" Target="../media/image36.png"/><Relationship Id="rId28" Type="http://schemas.openxmlformats.org/officeDocument/2006/relationships/image" Target="../media/image41.png"/><Relationship Id="rId10" Type="http://schemas.openxmlformats.org/officeDocument/2006/relationships/image" Target="../media/image23.png"/><Relationship Id="rId19" Type="http://schemas.openxmlformats.org/officeDocument/2006/relationships/image" Target="../media/image32.png"/><Relationship Id="rId4" Type="http://schemas.openxmlformats.org/officeDocument/2006/relationships/image" Target="../media/image17.png"/><Relationship Id="rId9" Type="http://schemas.openxmlformats.org/officeDocument/2006/relationships/image" Target="../media/image22.png"/><Relationship Id="rId14" Type="http://schemas.openxmlformats.org/officeDocument/2006/relationships/image" Target="../media/image27.png"/><Relationship Id="rId22" Type="http://schemas.openxmlformats.org/officeDocument/2006/relationships/image" Target="../media/image35.png"/><Relationship Id="rId27" Type="http://schemas.openxmlformats.org/officeDocument/2006/relationships/image" Target="../media/image40.png"/><Relationship Id="rId30" Type="http://schemas.openxmlformats.org/officeDocument/2006/relationships/image" Target="../media/image43.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44.emf"/></Relationships>
</file>

<file path=ppt/slideLayouts/_rels/slideLayout21.xml.rels><?xml version="1.0" encoding="UTF-8" standalone="yes"?>
<Relationships xmlns="http://schemas.openxmlformats.org/package/2006/relationships"><Relationship Id="rId8" Type="http://schemas.openxmlformats.org/officeDocument/2006/relationships/hyperlink" Target="http://www.sogeti.com/" TargetMode="External"/><Relationship Id="rId3" Type="http://schemas.openxmlformats.org/officeDocument/2006/relationships/image" Target="../media/image45.png"/><Relationship Id="rId7" Type="http://schemas.openxmlformats.org/officeDocument/2006/relationships/image" Target="../media/image47.png"/><Relationship Id="rId2" Type="http://schemas.openxmlformats.org/officeDocument/2006/relationships/hyperlink" Target="https://www.linkedin.com/company/sogeti/" TargetMode="External"/><Relationship Id="rId1" Type="http://schemas.openxmlformats.org/officeDocument/2006/relationships/slideMaster" Target="../slideMasters/slideMaster1.xml"/><Relationship Id="rId6" Type="http://schemas.openxmlformats.org/officeDocument/2006/relationships/hyperlink" Target="https://www.youtube.com/channel/UC9vbc9OpkYZ9hru94oFzTQQ?" TargetMode="External"/><Relationship Id="rId5" Type="http://schemas.openxmlformats.org/officeDocument/2006/relationships/image" Target="../media/image46.png"/><Relationship Id="rId4" Type="http://schemas.openxmlformats.org/officeDocument/2006/relationships/hyperlink" Target="https://twitter.com/sogeti" TargetMode="External"/></Relationships>
</file>

<file path=ppt/slideLayouts/_rels/slideLayout22.xml.rels><?xml version="1.0" encoding="UTF-8" standalone="yes"?>
<Relationships xmlns="http://schemas.openxmlformats.org/package/2006/relationships"><Relationship Id="rId8" Type="http://schemas.openxmlformats.org/officeDocument/2006/relationships/hyperlink" Target="http://www.sogeti.com/" TargetMode="External"/><Relationship Id="rId3" Type="http://schemas.openxmlformats.org/officeDocument/2006/relationships/image" Target="../media/image45.png"/><Relationship Id="rId7" Type="http://schemas.openxmlformats.org/officeDocument/2006/relationships/image" Target="../media/image47.png"/><Relationship Id="rId2" Type="http://schemas.openxmlformats.org/officeDocument/2006/relationships/hyperlink" Target="https://www.linkedin.com/company/sogeti/" TargetMode="External"/><Relationship Id="rId1" Type="http://schemas.openxmlformats.org/officeDocument/2006/relationships/slideMaster" Target="../slideMasters/slideMaster1.xml"/><Relationship Id="rId6" Type="http://schemas.openxmlformats.org/officeDocument/2006/relationships/hyperlink" Target="https://www.youtube.com/channel/UC9vbc9OpkYZ9hru94oFzTQQ?" TargetMode="External"/><Relationship Id="rId5" Type="http://schemas.openxmlformats.org/officeDocument/2006/relationships/image" Target="../media/image46.png"/><Relationship Id="rId4" Type="http://schemas.openxmlformats.org/officeDocument/2006/relationships/hyperlink" Target="https://twitter.com/sogeti" TargetMode="Externa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2.xml"/><Relationship Id="rId4" Type="http://schemas.openxmlformats.org/officeDocument/2006/relationships/image" Target="../media/image44.emf"/></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4.jpeg"/><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5.jpeg"/><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6.jpeg"/><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7.jpeg"/><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8.jpeg"/><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9.jpeg"/><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0.jpeg"/><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1.jpeg"/><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2.jpeg"/><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3.jpeg"/><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4.jpeg"/><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5.jpeg"/><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6.jpeg"/><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eg"/><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eg"/><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jpeg"/><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2.jpeg"/><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6.png"/><Relationship Id="rId18" Type="http://schemas.openxmlformats.org/officeDocument/2006/relationships/image" Target="../media/image31.png"/><Relationship Id="rId26" Type="http://schemas.openxmlformats.org/officeDocument/2006/relationships/image" Target="../media/image39.png"/><Relationship Id="rId3" Type="http://schemas.openxmlformats.org/officeDocument/2006/relationships/image" Target="../media/image16.png"/><Relationship Id="rId21" Type="http://schemas.openxmlformats.org/officeDocument/2006/relationships/image" Target="../media/image34.png"/><Relationship Id="rId7" Type="http://schemas.openxmlformats.org/officeDocument/2006/relationships/image" Target="../media/image20.png"/><Relationship Id="rId12" Type="http://schemas.openxmlformats.org/officeDocument/2006/relationships/image" Target="../media/image25.png"/><Relationship Id="rId17" Type="http://schemas.openxmlformats.org/officeDocument/2006/relationships/image" Target="../media/image30.png"/><Relationship Id="rId25" Type="http://schemas.openxmlformats.org/officeDocument/2006/relationships/image" Target="../media/image38.png"/><Relationship Id="rId2" Type="http://schemas.openxmlformats.org/officeDocument/2006/relationships/image" Target="../media/image15.png"/><Relationship Id="rId16" Type="http://schemas.openxmlformats.org/officeDocument/2006/relationships/image" Target="../media/image29.png"/><Relationship Id="rId20" Type="http://schemas.openxmlformats.org/officeDocument/2006/relationships/image" Target="../media/image33.png"/><Relationship Id="rId29" Type="http://schemas.openxmlformats.org/officeDocument/2006/relationships/image" Target="../media/image42.png"/><Relationship Id="rId1" Type="http://schemas.openxmlformats.org/officeDocument/2006/relationships/slideMaster" Target="../slideMasters/slideMaster6.xml"/><Relationship Id="rId6" Type="http://schemas.openxmlformats.org/officeDocument/2006/relationships/image" Target="../media/image19.png"/><Relationship Id="rId11" Type="http://schemas.openxmlformats.org/officeDocument/2006/relationships/image" Target="../media/image24.png"/><Relationship Id="rId24" Type="http://schemas.openxmlformats.org/officeDocument/2006/relationships/image" Target="../media/image37.png"/><Relationship Id="rId5" Type="http://schemas.openxmlformats.org/officeDocument/2006/relationships/image" Target="../media/image18.png"/><Relationship Id="rId15" Type="http://schemas.openxmlformats.org/officeDocument/2006/relationships/image" Target="../media/image28.png"/><Relationship Id="rId23" Type="http://schemas.openxmlformats.org/officeDocument/2006/relationships/image" Target="../media/image36.png"/><Relationship Id="rId28" Type="http://schemas.openxmlformats.org/officeDocument/2006/relationships/image" Target="../media/image41.png"/><Relationship Id="rId10" Type="http://schemas.openxmlformats.org/officeDocument/2006/relationships/image" Target="../media/image23.png"/><Relationship Id="rId19" Type="http://schemas.openxmlformats.org/officeDocument/2006/relationships/image" Target="../media/image32.png"/><Relationship Id="rId4" Type="http://schemas.openxmlformats.org/officeDocument/2006/relationships/image" Target="../media/image17.png"/><Relationship Id="rId9" Type="http://schemas.openxmlformats.org/officeDocument/2006/relationships/image" Target="../media/image22.png"/><Relationship Id="rId14" Type="http://schemas.openxmlformats.org/officeDocument/2006/relationships/image" Target="../media/image27.png"/><Relationship Id="rId22" Type="http://schemas.openxmlformats.org/officeDocument/2006/relationships/image" Target="../media/image35.png"/><Relationship Id="rId27" Type="http://schemas.openxmlformats.org/officeDocument/2006/relationships/image" Target="../media/image40.png"/><Relationship Id="rId30" Type="http://schemas.openxmlformats.org/officeDocument/2006/relationships/image" Target="../media/image43.png"/></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6.xml"/><Relationship Id="rId1" Type="http://schemas.openxmlformats.org/officeDocument/2006/relationships/tags" Target="../tags/tag3.xml"/><Relationship Id="rId4" Type="http://schemas.openxmlformats.org/officeDocument/2006/relationships/image" Target="../media/image44.emf"/></Relationships>
</file>

<file path=ppt/slideLayouts/_rels/slideLayout68.xml.rels><?xml version="1.0" encoding="UTF-8" standalone="yes"?>
<Relationships xmlns="http://schemas.openxmlformats.org/package/2006/relationships"><Relationship Id="rId3" Type="http://schemas.openxmlformats.org/officeDocument/2006/relationships/slide" Target="../slides/slide1.xml"/><Relationship Id="rId2" Type="http://schemas.openxmlformats.org/officeDocument/2006/relationships/image" Target="../media/image67.png"/><Relationship Id="rId1" Type="http://schemas.openxmlformats.org/officeDocument/2006/relationships/slideMaster" Target="../slideMasters/slideMaster6.xml"/><Relationship Id="rId5" Type="http://schemas.openxmlformats.org/officeDocument/2006/relationships/image" Target="../media/image69.svg"/><Relationship Id="rId4" Type="http://schemas.openxmlformats.org/officeDocument/2006/relationships/image" Target="../media/image68.png"/></Relationships>
</file>

<file path=ppt/slideLayouts/_rels/slideLayout69.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hyperlink" Target="https://www.linkedin.com/company/sogeti/" TargetMode="External"/><Relationship Id="rId7" Type="http://schemas.openxmlformats.org/officeDocument/2006/relationships/hyperlink" Target="https://www.youtube.com/channel/UC9vbc9OpkYZ9hru94oFzTQQ?" TargetMode="External"/><Relationship Id="rId2" Type="http://schemas.openxmlformats.org/officeDocument/2006/relationships/image" Target="../media/image70.emf"/><Relationship Id="rId1" Type="http://schemas.openxmlformats.org/officeDocument/2006/relationships/slideMaster" Target="../slideMasters/slideMaster6.xml"/><Relationship Id="rId6" Type="http://schemas.openxmlformats.org/officeDocument/2006/relationships/image" Target="../media/image46.png"/><Relationship Id="rId5" Type="http://schemas.openxmlformats.org/officeDocument/2006/relationships/hyperlink" Target="https://twitter.com/sogeti" TargetMode="External"/><Relationship Id="rId10" Type="http://schemas.openxmlformats.org/officeDocument/2006/relationships/hyperlink" Target="http://www.capgemini.com/" TargetMode="External"/><Relationship Id="rId4" Type="http://schemas.openxmlformats.org/officeDocument/2006/relationships/image" Target="../media/image45.png"/><Relationship Id="rId9" Type="http://schemas.openxmlformats.org/officeDocument/2006/relationships/hyperlink" Target="http://www.sogeti.com/" TargetMode="Externa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8" Type="http://schemas.openxmlformats.org/officeDocument/2006/relationships/image" Target="../media/image69.svg"/><Relationship Id="rId3" Type="http://schemas.openxmlformats.org/officeDocument/2006/relationships/image" Target="../media/image71.png"/><Relationship Id="rId7"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Master" Target="../slideMasters/slideMaster6.xml"/><Relationship Id="rId6" Type="http://schemas.openxmlformats.org/officeDocument/2006/relationships/image" Target="../media/image73.png"/><Relationship Id="rId5" Type="http://schemas.openxmlformats.org/officeDocument/2006/relationships/image" Target="../media/image72.png"/><Relationship Id="rId4" Type="http://schemas.microsoft.com/office/2007/relationships/hdphoto" Target="../media/hdphoto1.wdp"/></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8" Type="http://schemas.openxmlformats.org/officeDocument/2006/relationships/image" Target="../media/image79.png"/><Relationship Id="rId13" Type="http://schemas.openxmlformats.org/officeDocument/2006/relationships/image" Target="../media/image83.png"/><Relationship Id="rId3" Type="http://schemas.openxmlformats.org/officeDocument/2006/relationships/slide" Target="../slides/slide1.xml"/><Relationship Id="rId7" Type="http://schemas.openxmlformats.org/officeDocument/2006/relationships/image" Target="../media/image78.svg"/><Relationship Id="rId12" Type="http://schemas.openxmlformats.org/officeDocument/2006/relationships/slide" Target="../slides/slide5.xml"/><Relationship Id="rId2" Type="http://schemas.openxmlformats.org/officeDocument/2006/relationships/image" Target="../media/image67.png"/><Relationship Id="rId16" Type="http://schemas.openxmlformats.org/officeDocument/2006/relationships/image" Target="../media/image86.svg"/><Relationship Id="rId1" Type="http://schemas.openxmlformats.org/officeDocument/2006/relationships/slideMaster" Target="../slideMasters/slideMaster7.xml"/><Relationship Id="rId6" Type="http://schemas.openxmlformats.org/officeDocument/2006/relationships/image" Target="../media/image77.png"/><Relationship Id="rId11" Type="http://schemas.openxmlformats.org/officeDocument/2006/relationships/image" Target="../media/image82.svg"/><Relationship Id="rId5" Type="http://schemas.openxmlformats.org/officeDocument/2006/relationships/image" Target="../media/image76.svg"/><Relationship Id="rId15" Type="http://schemas.openxmlformats.org/officeDocument/2006/relationships/image" Target="../media/image85.png"/><Relationship Id="rId10" Type="http://schemas.openxmlformats.org/officeDocument/2006/relationships/image" Target="../media/image81.png"/><Relationship Id="rId4" Type="http://schemas.openxmlformats.org/officeDocument/2006/relationships/image" Target="../media/image75.png"/><Relationship Id="rId9" Type="http://schemas.openxmlformats.org/officeDocument/2006/relationships/image" Target="../media/image80.svg"/><Relationship Id="rId14" Type="http://schemas.openxmlformats.org/officeDocument/2006/relationships/image" Target="../media/image84.svg"/></Relationships>
</file>

<file path=ppt/slideLayouts/_rels/slideLayout73.xml.rels><?xml version="1.0" encoding="UTF-8" standalone="yes"?>
<Relationships xmlns="http://schemas.openxmlformats.org/package/2006/relationships"><Relationship Id="rId8" Type="http://schemas.openxmlformats.org/officeDocument/2006/relationships/image" Target="../media/image80.svg"/><Relationship Id="rId13" Type="http://schemas.openxmlformats.org/officeDocument/2006/relationships/image" Target="../media/image84.svg"/><Relationship Id="rId3" Type="http://schemas.openxmlformats.org/officeDocument/2006/relationships/image" Target="../media/image75.png"/><Relationship Id="rId7" Type="http://schemas.openxmlformats.org/officeDocument/2006/relationships/image" Target="../media/image79.png"/><Relationship Id="rId12" Type="http://schemas.openxmlformats.org/officeDocument/2006/relationships/image" Target="../media/image83.png"/><Relationship Id="rId2" Type="http://schemas.openxmlformats.org/officeDocument/2006/relationships/slide" Target="../slides/slide1.xml"/><Relationship Id="rId1" Type="http://schemas.openxmlformats.org/officeDocument/2006/relationships/slideMaster" Target="../slideMasters/slideMaster7.xml"/><Relationship Id="rId6" Type="http://schemas.openxmlformats.org/officeDocument/2006/relationships/image" Target="../media/image78.svg"/><Relationship Id="rId11" Type="http://schemas.openxmlformats.org/officeDocument/2006/relationships/slide" Target="../slides/slide5.xml"/><Relationship Id="rId5" Type="http://schemas.openxmlformats.org/officeDocument/2006/relationships/image" Target="../media/image77.png"/><Relationship Id="rId15" Type="http://schemas.openxmlformats.org/officeDocument/2006/relationships/image" Target="../media/image86.svg"/><Relationship Id="rId10" Type="http://schemas.openxmlformats.org/officeDocument/2006/relationships/image" Target="../media/image82.svg"/><Relationship Id="rId4" Type="http://schemas.openxmlformats.org/officeDocument/2006/relationships/image" Target="../media/image76.svg"/><Relationship Id="rId9" Type="http://schemas.openxmlformats.org/officeDocument/2006/relationships/image" Target="../media/image81.png"/><Relationship Id="rId14" Type="http://schemas.openxmlformats.org/officeDocument/2006/relationships/image" Target="../media/image85.png"/></Relationships>
</file>

<file path=ppt/slideLayouts/_rels/slideLayout74.xml.rels><?xml version="1.0" encoding="UTF-8" standalone="yes"?>
<Relationships xmlns="http://schemas.openxmlformats.org/package/2006/relationships"><Relationship Id="rId8" Type="http://schemas.openxmlformats.org/officeDocument/2006/relationships/image" Target="../media/image79.png"/><Relationship Id="rId13" Type="http://schemas.openxmlformats.org/officeDocument/2006/relationships/image" Target="../media/image83.png"/><Relationship Id="rId3" Type="http://schemas.openxmlformats.org/officeDocument/2006/relationships/slide" Target="../slides/slide1.xml"/><Relationship Id="rId7" Type="http://schemas.openxmlformats.org/officeDocument/2006/relationships/image" Target="../media/image78.svg"/><Relationship Id="rId12" Type="http://schemas.openxmlformats.org/officeDocument/2006/relationships/slide" Target="../slides/slide5.xml"/><Relationship Id="rId2" Type="http://schemas.openxmlformats.org/officeDocument/2006/relationships/image" Target="../media/image3.png"/><Relationship Id="rId16" Type="http://schemas.openxmlformats.org/officeDocument/2006/relationships/image" Target="../media/image86.svg"/><Relationship Id="rId1" Type="http://schemas.openxmlformats.org/officeDocument/2006/relationships/slideMaster" Target="../slideMasters/slideMaster7.xml"/><Relationship Id="rId6" Type="http://schemas.openxmlformats.org/officeDocument/2006/relationships/image" Target="../media/image77.png"/><Relationship Id="rId11" Type="http://schemas.openxmlformats.org/officeDocument/2006/relationships/image" Target="../media/image82.svg"/><Relationship Id="rId5" Type="http://schemas.openxmlformats.org/officeDocument/2006/relationships/image" Target="../media/image76.svg"/><Relationship Id="rId15" Type="http://schemas.openxmlformats.org/officeDocument/2006/relationships/image" Target="../media/image85.png"/><Relationship Id="rId10" Type="http://schemas.openxmlformats.org/officeDocument/2006/relationships/image" Target="../media/image81.png"/><Relationship Id="rId4" Type="http://schemas.openxmlformats.org/officeDocument/2006/relationships/image" Target="../media/image75.png"/><Relationship Id="rId9" Type="http://schemas.openxmlformats.org/officeDocument/2006/relationships/image" Target="../media/image80.svg"/><Relationship Id="rId14" Type="http://schemas.openxmlformats.org/officeDocument/2006/relationships/image" Target="../media/image84.svg"/></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87.emf"/><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8" Type="http://schemas.openxmlformats.org/officeDocument/2006/relationships/image" Target="../media/image79.png"/><Relationship Id="rId13" Type="http://schemas.openxmlformats.org/officeDocument/2006/relationships/image" Target="../media/image83.png"/><Relationship Id="rId3" Type="http://schemas.openxmlformats.org/officeDocument/2006/relationships/slide" Target="../slides/slide1.xml"/><Relationship Id="rId7" Type="http://schemas.openxmlformats.org/officeDocument/2006/relationships/image" Target="../media/image78.svg"/><Relationship Id="rId12" Type="http://schemas.openxmlformats.org/officeDocument/2006/relationships/slide" Target="../slides/slide5.xml"/><Relationship Id="rId2" Type="http://schemas.openxmlformats.org/officeDocument/2006/relationships/image" Target="../media/image70.emf"/><Relationship Id="rId16" Type="http://schemas.openxmlformats.org/officeDocument/2006/relationships/image" Target="../media/image86.svg"/><Relationship Id="rId1" Type="http://schemas.openxmlformats.org/officeDocument/2006/relationships/slideMaster" Target="../slideMasters/slideMaster7.xml"/><Relationship Id="rId6" Type="http://schemas.openxmlformats.org/officeDocument/2006/relationships/image" Target="../media/image77.png"/><Relationship Id="rId11" Type="http://schemas.openxmlformats.org/officeDocument/2006/relationships/image" Target="../media/image82.svg"/><Relationship Id="rId5" Type="http://schemas.openxmlformats.org/officeDocument/2006/relationships/image" Target="../media/image76.svg"/><Relationship Id="rId15" Type="http://schemas.openxmlformats.org/officeDocument/2006/relationships/image" Target="../media/image85.png"/><Relationship Id="rId10" Type="http://schemas.openxmlformats.org/officeDocument/2006/relationships/image" Target="../media/image81.png"/><Relationship Id="rId4" Type="http://schemas.openxmlformats.org/officeDocument/2006/relationships/image" Target="../media/image75.png"/><Relationship Id="rId9" Type="http://schemas.openxmlformats.org/officeDocument/2006/relationships/image" Target="../media/image80.svg"/><Relationship Id="rId14" Type="http://schemas.openxmlformats.org/officeDocument/2006/relationships/image" Target="../media/image84.svg"/></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7.xml"/><Relationship Id="rId1" Type="http://schemas.openxmlformats.org/officeDocument/2006/relationships/tags" Target="../tags/tag4.xml"/><Relationship Id="rId4" Type="http://schemas.openxmlformats.org/officeDocument/2006/relationships/image" Target="../media/image44.emf"/></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8" Type="http://schemas.openxmlformats.org/officeDocument/2006/relationships/image" Target="../media/image79.png"/><Relationship Id="rId13" Type="http://schemas.openxmlformats.org/officeDocument/2006/relationships/image" Target="../media/image83.png"/><Relationship Id="rId3" Type="http://schemas.openxmlformats.org/officeDocument/2006/relationships/slide" Target="../slides/slide1.xml"/><Relationship Id="rId7" Type="http://schemas.openxmlformats.org/officeDocument/2006/relationships/image" Target="../media/image78.svg"/><Relationship Id="rId12" Type="http://schemas.openxmlformats.org/officeDocument/2006/relationships/slide" Target="../slides/slide5.xml"/><Relationship Id="rId2" Type="http://schemas.openxmlformats.org/officeDocument/2006/relationships/image" Target="../media/image70.emf"/><Relationship Id="rId16" Type="http://schemas.openxmlformats.org/officeDocument/2006/relationships/image" Target="../media/image86.svg"/><Relationship Id="rId1" Type="http://schemas.openxmlformats.org/officeDocument/2006/relationships/slideMaster" Target="../slideMasters/slideMaster7.xml"/><Relationship Id="rId6" Type="http://schemas.openxmlformats.org/officeDocument/2006/relationships/image" Target="../media/image77.png"/><Relationship Id="rId11" Type="http://schemas.openxmlformats.org/officeDocument/2006/relationships/image" Target="../media/image82.svg"/><Relationship Id="rId5" Type="http://schemas.openxmlformats.org/officeDocument/2006/relationships/image" Target="../media/image76.svg"/><Relationship Id="rId15" Type="http://schemas.openxmlformats.org/officeDocument/2006/relationships/image" Target="../media/image85.png"/><Relationship Id="rId10" Type="http://schemas.openxmlformats.org/officeDocument/2006/relationships/image" Target="../media/image81.png"/><Relationship Id="rId4" Type="http://schemas.openxmlformats.org/officeDocument/2006/relationships/image" Target="../media/image75.png"/><Relationship Id="rId9" Type="http://schemas.openxmlformats.org/officeDocument/2006/relationships/image" Target="../media/image80.svg"/><Relationship Id="rId14" Type="http://schemas.openxmlformats.org/officeDocument/2006/relationships/image" Target="../media/image84.svg"/></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8" Type="http://schemas.openxmlformats.org/officeDocument/2006/relationships/image" Target="../media/image80.svg"/><Relationship Id="rId13" Type="http://schemas.openxmlformats.org/officeDocument/2006/relationships/image" Target="../media/image84.svg"/><Relationship Id="rId3" Type="http://schemas.openxmlformats.org/officeDocument/2006/relationships/image" Target="../media/image75.png"/><Relationship Id="rId7" Type="http://schemas.openxmlformats.org/officeDocument/2006/relationships/image" Target="../media/image79.png"/><Relationship Id="rId12" Type="http://schemas.openxmlformats.org/officeDocument/2006/relationships/image" Target="../media/image83.png"/><Relationship Id="rId2" Type="http://schemas.openxmlformats.org/officeDocument/2006/relationships/slide" Target="../slides/slide1.xml"/><Relationship Id="rId1" Type="http://schemas.openxmlformats.org/officeDocument/2006/relationships/slideMaster" Target="../slideMasters/slideMaster7.xml"/><Relationship Id="rId6" Type="http://schemas.openxmlformats.org/officeDocument/2006/relationships/image" Target="../media/image78.svg"/><Relationship Id="rId11" Type="http://schemas.openxmlformats.org/officeDocument/2006/relationships/slide" Target="../slides/slide5.xml"/><Relationship Id="rId5" Type="http://schemas.openxmlformats.org/officeDocument/2006/relationships/image" Target="../media/image77.png"/><Relationship Id="rId15" Type="http://schemas.openxmlformats.org/officeDocument/2006/relationships/image" Target="../media/image86.svg"/><Relationship Id="rId10" Type="http://schemas.openxmlformats.org/officeDocument/2006/relationships/image" Target="../media/image82.svg"/><Relationship Id="rId4" Type="http://schemas.openxmlformats.org/officeDocument/2006/relationships/image" Target="../media/image76.svg"/><Relationship Id="rId9" Type="http://schemas.openxmlformats.org/officeDocument/2006/relationships/image" Target="../media/image81.png"/><Relationship Id="rId14" Type="http://schemas.openxmlformats.org/officeDocument/2006/relationships/image" Target="../media/image85.png"/></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70.emf"/><Relationship Id="rId2" Type="http://schemas.openxmlformats.org/officeDocument/2006/relationships/image" Target="../media/image88.png"/><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8" Type="http://schemas.openxmlformats.org/officeDocument/2006/relationships/hyperlink" Target="https://www.youtube.com/channel/UC9vbc9OpkYZ9hru94oFzTQQ?" TargetMode="External"/><Relationship Id="rId3" Type="http://schemas.openxmlformats.org/officeDocument/2006/relationships/image" Target="../media/image70.emf"/><Relationship Id="rId7" Type="http://schemas.openxmlformats.org/officeDocument/2006/relationships/image" Target="../media/image46.png"/><Relationship Id="rId2" Type="http://schemas.openxmlformats.org/officeDocument/2006/relationships/hyperlink" Target="https://www.sogeti.com/" TargetMode="External"/><Relationship Id="rId1" Type="http://schemas.openxmlformats.org/officeDocument/2006/relationships/slideMaster" Target="../slideMasters/slideMaster7.xml"/><Relationship Id="rId6" Type="http://schemas.openxmlformats.org/officeDocument/2006/relationships/hyperlink" Target="https://twitter.com/sogeti" TargetMode="External"/><Relationship Id="rId5" Type="http://schemas.openxmlformats.org/officeDocument/2006/relationships/image" Target="../media/image45.png"/><Relationship Id="rId4" Type="http://schemas.openxmlformats.org/officeDocument/2006/relationships/hyperlink" Target="https://www.linkedin.com/company/sogeti/" TargetMode="External"/><Relationship Id="rId9" Type="http://schemas.openxmlformats.org/officeDocument/2006/relationships/image" Target="../media/image47.png"/></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8" Type="http://schemas.openxmlformats.org/officeDocument/2006/relationships/image" Target="../media/image81.png"/><Relationship Id="rId13" Type="http://schemas.openxmlformats.org/officeDocument/2006/relationships/image" Target="../media/image94.svg"/><Relationship Id="rId3" Type="http://schemas.openxmlformats.org/officeDocument/2006/relationships/image" Target="../media/image89.svg"/><Relationship Id="rId7" Type="http://schemas.openxmlformats.org/officeDocument/2006/relationships/image" Target="../media/image91.svg"/><Relationship Id="rId12" Type="http://schemas.openxmlformats.org/officeDocument/2006/relationships/image" Target="../media/image85.png"/><Relationship Id="rId2" Type="http://schemas.openxmlformats.org/officeDocument/2006/relationships/image" Target="../media/image75.png"/><Relationship Id="rId1" Type="http://schemas.openxmlformats.org/officeDocument/2006/relationships/slideMaster" Target="../slideMasters/slideMaster8.xml"/><Relationship Id="rId6" Type="http://schemas.openxmlformats.org/officeDocument/2006/relationships/image" Target="../media/image79.png"/><Relationship Id="rId11" Type="http://schemas.openxmlformats.org/officeDocument/2006/relationships/image" Target="../media/image93.svg"/><Relationship Id="rId5" Type="http://schemas.openxmlformats.org/officeDocument/2006/relationships/image" Target="../media/image90.svg"/><Relationship Id="rId10" Type="http://schemas.openxmlformats.org/officeDocument/2006/relationships/image" Target="../media/image83.png"/><Relationship Id="rId4" Type="http://schemas.openxmlformats.org/officeDocument/2006/relationships/image" Target="../media/image77.png"/><Relationship Id="rId9" Type="http://schemas.openxmlformats.org/officeDocument/2006/relationships/image" Target="../media/image92.svg"/></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8" Type="http://schemas.openxmlformats.org/officeDocument/2006/relationships/hyperlink" Target="https://www.youtube.com/channel/UC9vbc9OpkYZ9hru94oFzTQQ?" TargetMode="External"/><Relationship Id="rId3" Type="http://schemas.openxmlformats.org/officeDocument/2006/relationships/image" Target="../media/image70.emf"/><Relationship Id="rId7" Type="http://schemas.openxmlformats.org/officeDocument/2006/relationships/image" Target="../media/image46.png"/><Relationship Id="rId2" Type="http://schemas.openxmlformats.org/officeDocument/2006/relationships/hyperlink" Target="https://www.sogeti.com/" TargetMode="External"/><Relationship Id="rId1" Type="http://schemas.openxmlformats.org/officeDocument/2006/relationships/slideMaster" Target="../slideMasters/slideMaster8.xml"/><Relationship Id="rId6" Type="http://schemas.openxmlformats.org/officeDocument/2006/relationships/hyperlink" Target="https://twitter.com/sogeti" TargetMode="External"/><Relationship Id="rId5" Type="http://schemas.openxmlformats.org/officeDocument/2006/relationships/image" Target="../media/image45.png"/><Relationship Id="rId4" Type="http://schemas.openxmlformats.org/officeDocument/2006/relationships/hyperlink" Target="https://www.linkedin.com/company/sogeti/" TargetMode="External"/><Relationship Id="rId9" Type="http://schemas.openxmlformats.org/officeDocument/2006/relationships/image" Target="../media/image47.png"/></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8.xml"/><Relationship Id="rId1" Type="http://schemas.openxmlformats.org/officeDocument/2006/relationships/tags" Target="../tags/tag5.xml"/><Relationship Id="rId4" Type="http://schemas.openxmlformats.org/officeDocument/2006/relationships/image" Target="../media/image44.emf"/></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8.xml"/><Relationship Id="rId1" Type="http://schemas.openxmlformats.org/officeDocument/2006/relationships/tags" Target="../tags/tag6.xml"/><Relationship Id="rId4" Type="http://schemas.openxmlformats.org/officeDocument/2006/relationships/image" Target="../media/image44.emf"/></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70.emf"/><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4900" b="0" i="0">
                <a:solidFill>
                  <a:srgbClr val="2B0A3D"/>
                </a:solidFill>
                <a:latin typeface="Ubuntu Light"/>
                <a:cs typeface="Ubuntu Light"/>
              </a:defRPr>
            </a:lvl1pPr>
          </a:lstStyle>
          <a:p>
            <a:endParaRPr/>
          </a:p>
        </p:txBody>
      </p:sp>
      <p:sp>
        <p:nvSpPr>
          <p:cNvPr id="4" name="Holder 4"/>
          <p:cNvSpPr>
            <a:spLocks noGrp="1"/>
          </p:cNvSpPr>
          <p:nvPr>
            <p:ph type="ftr" sz="quarter" idx="5"/>
          </p:nvPr>
        </p:nvSpPr>
        <p:spPr>
          <a:xfrm>
            <a:off x="16647741" y="10759212"/>
            <a:ext cx="2962677" cy="200055"/>
          </a:xfrm>
          <a:prstGeom prst="rect">
            <a:avLst/>
          </a:prstGeom>
        </p:spPr>
        <p:txBody>
          <a:bodyPr lIns="0" tIns="0" rIns="0" bIns="0"/>
          <a:lstStyle>
            <a:lvl1pPr>
              <a:defRPr sz="1300" b="0" i="0">
                <a:solidFill>
                  <a:srgbClr val="808080"/>
                </a:solidFill>
                <a:latin typeface="Ubuntu Light"/>
                <a:cs typeface="Ubuntu Light"/>
              </a:defRPr>
            </a:lvl1pPr>
          </a:lstStyle>
          <a:p>
            <a:pPr marL="26034">
              <a:lnSpc>
                <a:spcPct val="100000"/>
              </a:lnSpc>
              <a:spcBef>
                <a:spcPts val="30"/>
              </a:spcBef>
            </a:pPr>
            <a:r>
              <a:rPr>
                <a:solidFill>
                  <a:srgbClr val="666666"/>
                </a:solidFill>
              </a:rPr>
              <a:t>Public</a:t>
            </a:r>
            <a:r>
              <a:rPr spc="-40">
                <a:solidFill>
                  <a:srgbClr val="666666"/>
                </a:solidFill>
              </a:rPr>
              <a:t> </a:t>
            </a:r>
            <a:r>
              <a:rPr>
                <a:solidFill>
                  <a:srgbClr val="666666"/>
                </a:solidFill>
              </a:rPr>
              <a:t>©</a:t>
            </a:r>
            <a:r>
              <a:rPr spc="-40">
                <a:solidFill>
                  <a:srgbClr val="666666"/>
                </a:solidFill>
              </a:rPr>
              <a:t> </a:t>
            </a:r>
            <a:r>
              <a:rPr>
                <a:solidFill>
                  <a:srgbClr val="666666"/>
                </a:solidFill>
              </a:rPr>
              <a:t>202</a:t>
            </a:r>
            <a:r>
              <a:rPr lang="es-ES">
                <a:solidFill>
                  <a:srgbClr val="666666"/>
                </a:solidFill>
              </a:rPr>
              <a:t>3</a:t>
            </a:r>
            <a:r>
              <a:rPr spc="-40">
                <a:solidFill>
                  <a:srgbClr val="666666"/>
                </a:solidFill>
              </a:rPr>
              <a:t> </a:t>
            </a:r>
            <a:r>
              <a:rPr spc="-10">
                <a:solidFill>
                  <a:srgbClr val="666666"/>
                </a:solidFill>
              </a:rPr>
              <a:t>Sogeti.</a:t>
            </a:r>
            <a:r>
              <a:rPr spc="-35">
                <a:solidFill>
                  <a:srgbClr val="666666"/>
                </a:solidFill>
              </a:rPr>
              <a:t> </a:t>
            </a:r>
            <a:r>
              <a:rPr>
                <a:solidFill>
                  <a:srgbClr val="666666"/>
                </a:solidFill>
              </a:rPr>
              <a:t>All</a:t>
            </a:r>
            <a:r>
              <a:rPr spc="-40">
                <a:solidFill>
                  <a:srgbClr val="666666"/>
                </a:solidFill>
              </a:rPr>
              <a:t> </a:t>
            </a:r>
            <a:r>
              <a:rPr>
                <a:solidFill>
                  <a:srgbClr val="666666"/>
                </a:solidFill>
              </a:rPr>
              <a:t>rights</a:t>
            </a:r>
            <a:r>
              <a:rPr spc="-40">
                <a:solidFill>
                  <a:srgbClr val="666666"/>
                </a:solidFill>
              </a:rPr>
              <a:t> </a:t>
            </a:r>
            <a:r>
              <a:rPr spc="-10">
                <a:solidFill>
                  <a:srgbClr val="666666"/>
                </a:solidFill>
              </a:rPr>
              <a:t>reserved</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10" name="Rectángulo 9">
            <a:extLst>
              <a:ext uri="{FF2B5EF4-FFF2-40B4-BE49-F238E27FC236}">
                <a16:creationId xmlns:a16="http://schemas.microsoft.com/office/drawing/2014/main" id="{E7BF236D-D0D3-10D7-3261-21E349035258}"/>
              </a:ext>
            </a:extLst>
          </p:cNvPr>
          <p:cNvSpPr/>
          <p:nvPr userDrawn="1"/>
        </p:nvSpPr>
        <p:spPr>
          <a:xfrm>
            <a:off x="0" y="0"/>
            <a:ext cx="20104100" cy="113284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6" name="Imagen 5" descr="Un dibujo de un hombre&#10;&#10;Descripción generada automáticamente con confianza baja">
            <a:extLst>
              <a:ext uri="{FF2B5EF4-FFF2-40B4-BE49-F238E27FC236}">
                <a16:creationId xmlns:a16="http://schemas.microsoft.com/office/drawing/2014/main" id="{37B732A4-1024-2E8A-DE04-CE50284B2112}"/>
              </a:ext>
            </a:extLst>
          </p:cNvPr>
          <p:cNvPicPr>
            <a:picLocks noChangeAspect="1"/>
          </p:cNvPicPr>
          <p:nvPr userDrawn="1"/>
        </p:nvPicPr>
        <p:blipFill rotWithShape="1">
          <a:blip r:embed="rId2">
            <a:extLst>
              <a:ext uri="{28A0092B-C50C-407E-A947-70E740481C1C}">
                <a14:useLocalDpi xmlns:a14="http://schemas.microsoft.com/office/drawing/2010/main"/>
              </a:ext>
            </a:extLst>
          </a:blip>
          <a:srcRect t="-225"/>
          <a:stretch/>
        </p:blipFill>
        <p:spPr>
          <a:xfrm>
            <a:off x="0" y="0"/>
            <a:ext cx="10433050" cy="11328400"/>
          </a:xfrm>
          <a:prstGeom prst="rect">
            <a:avLst/>
          </a:prstGeom>
        </p:spPr>
      </p:pic>
      <p:sp>
        <p:nvSpPr>
          <p:cNvPr id="4" name="Holder 4"/>
          <p:cNvSpPr>
            <a:spLocks noGrp="1"/>
          </p:cNvSpPr>
          <p:nvPr>
            <p:ph type="ftr" sz="quarter" idx="5"/>
          </p:nvPr>
        </p:nvSpPr>
        <p:spPr>
          <a:xfrm>
            <a:off x="16647741" y="10759212"/>
            <a:ext cx="2962677" cy="200055"/>
          </a:xfrm>
          <a:prstGeom prst="rect">
            <a:avLst/>
          </a:prstGeom>
        </p:spPr>
        <p:txBody>
          <a:bodyPr lIns="0" tIns="0" rIns="0" bIns="0"/>
          <a:lstStyle>
            <a:lvl1pPr>
              <a:defRPr sz="1300" b="0" i="0">
                <a:solidFill>
                  <a:schemeClr val="bg1"/>
                </a:solidFill>
                <a:latin typeface="Ubuntu Light"/>
                <a:cs typeface="Ubuntu Light"/>
              </a:defRPr>
            </a:lvl1pPr>
          </a:lstStyle>
          <a:p>
            <a:pPr marL="26034">
              <a:spcBef>
                <a:spcPts val="30"/>
              </a:spcBef>
            </a:pPr>
            <a:r>
              <a:rPr lang="es-ES" err="1"/>
              <a:t>Public</a:t>
            </a:r>
            <a:r>
              <a:rPr lang="es-ES" spc="-40"/>
              <a:t> </a:t>
            </a:r>
            <a:r>
              <a:rPr lang="es-ES"/>
              <a:t>©</a:t>
            </a:r>
            <a:r>
              <a:rPr lang="es-ES" spc="-40"/>
              <a:t> </a:t>
            </a:r>
            <a:r>
              <a:rPr lang="es-ES"/>
              <a:t>2023</a:t>
            </a:r>
            <a:r>
              <a:rPr lang="es-ES" spc="-40"/>
              <a:t> </a:t>
            </a:r>
            <a:r>
              <a:rPr lang="es-ES" spc="-10"/>
              <a:t>Sogeti.</a:t>
            </a:r>
            <a:r>
              <a:rPr lang="es-ES" spc="-35"/>
              <a:t> </a:t>
            </a:r>
            <a:r>
              <a:rPr lang="es-ES" err="1"/>
              <a:t>All</a:t>
            </a:r>
            <a:r>
              <a:rPr lang="es-ES" spc="-40"/>
              <a:t> </a:t>
            </a:r>
            <a:r>
              <a:rPr lang="es-ES" err="1"/>
              <a:t>rights</a:t>
            </a:r>
            <a:r>
              <a:rPr lang="es-ES" spc="-40"/>
              <a:t> </a:t>
            </a:r>
            <a:r>
              <a:rPr lang="es-ES" spc="-10" err="1"/>
              <a:t>reserved</a:t>
            </a:r>
            <a:endParaRPr lang="es-ES" spc="-10"/>
          </a:p>
        </p:txBody>
      </p:sp>
      <p:sp>
        <p:nvSpPr>
          <p:cNvPr id="2" name="CuadroTexto 1">
            <a:extLst>
              <a:ext uri="{FF2B5EF4-FFF2-40B4-BE49-F238E27FC236}">
                <a16:creationId xmlns:a16="http://schemas.microsoft.com/office/drawing/2014/main" id="{72E5CF79-7DA3-E21E-3060-87CB44907F25}"/>
              </a:ext>
            </a:extLst>
          </p:cNvPr>
          <p:cNvSpPr txBox="1"/>
          <p:nvPr userDrawn="1"/>
        </p:nvSpPr>
        <p:spPr>
          <a:xfrm>
            <a:off x="755650" y="10845800"/>
            <a:ext cx="7772400" cy="292388"/>
          </a:xfrm>
          <a:prstGeom prst="rect">
            <a:avLst/>
          </a:prstGeom>
          <a:noFill/>
        </p:spPr>
        <p:txBody>
          <a:bodyPr wrap="square" rtlCol="0">
            <a:spAutoFit/>
          </a:bodyPr>
          <a:lstStyle/>
          <a:p>
            <a:r>
              <a:rPr lang="es-ES" sz="1300" b="0" i="0">
                <a:solidFill>
                  <a:schemeClr val="bg1"/>
                </a:solidFill>
                <a:latin typeface="Ubuntu Medium" panose="020B0504030602030204" pitchFamily="34" charset="0"/>
              </a:rPr>
              <a:t>#FlourishingDigitalBusinessWithQuality </a:t>
            </a:r>
            <a:r>
              <a:rPr lang="es-ES" sz="1300" b="1" i="0">
                <a:solidFill>
                  <a:schemeClr val="bg1"/>
                </a:solidFill>
                <a:latin typeface="Ubuntu" panose="020B0504030602030204" pitchFamily="34" charset="0"/>
              </a:rPr>
              <a:t> ·</a:t>
            </a:r>
            <a:r>
              <a:rPr lang="es-ES" sz="1300" b="0" i="0">
                <a:solidFill>
                  <a:schemeClr val="bg1"/>
                </a:solidFill>
                <a:latin typeface="Ubuntu Medium" panose="020B0504030602030204" pitchFamily="34" charset="0"/>
              </a:rPr>
              <a:t>   </a:t>
            </a:r>
            <a:r>
              <a:rPr lang="es-ES" sz="1300" b="0" i="0" err="1">
                <a:solidFill>
                  <a:schemeClr val="bg1"/>
                </a:solidFill>
                <a:latin typeface="Ubuntu Medium" panose="020B0504030602030204" pitchFamily="34" charset="0"/>
              </a:rPr>
              <a:t>by</a:t>
            </a:r>
            <a:r>
              <a:rPr lang="es-ES" sz="1300" b="0" i="0">
                <a:solidFill>
                  <a:schemeClr val="bg1"/>
                </a:solidFill>
                <a:latin typeface="Ubuntu Medium" panose="020B0504030602030204" pitchFamily="34" charset="0"/>
              </a:rPr>
              <a:t> </a:t>
            </a:r>
            <a:r>
              <a:rPr lang="es-ES" sz="1300" b="1" i="0">
                <a:solidFill>
                  <a:schemeClr val="bg1"/>
                </a:solidFill>
                <a:latin typeface="Ubuntu" panose="020B0504030602030204" pitchFamily="34" charset="0"/>
              </a:rPr>
              <a:t>Sogeti España</a:t>
            </a:r>
          </a:p>
        </p:txBody>
      </p:sp>
      <p:sp>
        <p:nvSpPr>
          <p:cNvPr id="5" name="Forma libre 4">
            <a:extLst>
              <a:ext uri="{FF2B5EF4-FFF2-40B4-BE49-F238E27FC236}">
                <a16:creationId xmlns:a16="http://schemas.microsoft.com/office/drawing/2014/main" id="{FBAABD7F-C513-9B40-6AE2-E43DB3944CCE}"/>
              </a:ext>
            </a:extLst>
          </p:cNvPr>
          <p:cNvSpPr/>
          <p:nvPr userDrawn="1"/>
        </p:nvSpPr>
        <p:spPr>
          <a:xfrm flipV="1">
            <a:off x="755650" y="10384024"/>
            <a:ext cx="2362200" cy="385576"/>
          </a:xfrm>
          <a:custGeom>
            <a:avLst/>
            <a:gdLst/>
            <a:ahLst/>
            <a:cxnLst/>
            <a:rect l="l" t="t" r="r" b="b"/>
            <a:pathLst>
              <a:path w="4876802" h="796029">
                <a:moveTo>
                  <a:pt x="2572782" y="405299"/>
                </a:moveTo>
                <a:cubicBezTo>
                  <a:pt x="2589609" y="405299"/>
                  <a:pt x="2601809" y="398820"/>
                  <a:pt x="2609382" y="385863"/>
                </a:cubicBezTo>
                <a:cubicBezTo>
                  <a:pt x="2616954" y="372906"/>
                  <a:pt x="2620740" y="355826"/>
                  <a:pt x="2620740" y="334623"/>
                </a:cubicBezTo>
                <a:cubicBezTo>
                  <a:pt x="2620740" y="313420"/>
                  <a:pt x="2616618" y="296256"/>
                  <a:pt x="2608372" y="283131"/>
                </a:cubicBezTo>
                <a:cubicBezTo>
                  <a:pt x="2600126" y="270006"/>
                  <a:pt x="2587927" y="263443"/>
                  <a:pt x="2571772" y="263443"/>
                </a:cubicBezTo>
                <a:cubicBezTo>
                  <a:pt x="2554945" y="263443"/>
                  <a:pt x="2542744" y="270006"/>
                  <a:pt x="2535172" y="283131"/>
                </a:cubicBezTo>
                <a:cubicBezTo>
                  <a:pt x="2527600" y="296256"/>
                  <a:pt x="2523814" y="313420"/>
                  <a:pt x="2523814" y="334623"/>
                </a:cubicBezTo>
                <a:cubicBezTo>
                  <a:pt x="2523814" y="355826"/>
                  <a:pt x="2527937" y="372906"/>
                  <a:pt x="2536182" y="385863"/>
                </a:cubicBezTo>
                <a:cubicBezTo>
                  <a:pt x="2544428" y="398820"/>
                  <a:pt x="2556628" y="405299"/>
                  <a:pt x="2572782" y="405299"/>
                </a:cubicBezTo>
                <a:close/>
                <a:moveTo>
                  <a:pt x="1810782" y="405299"/>
                </a:moveTo>
                <a:cubicBezTo>
                  <a:pt x="1827610" y="405299"/>
                  <a:pt x="1839810" y="398820"/>
                  <a:pt x="1847382" y="385863"/>
                </a:cubicBezTo>
                <a:cubicBezTo>
                  <a:pt x="1854954" y="372906"/>
                  <a:pt x="1858740" y="355826"/>
                  <a:pt x="1858740" y="334623"/>
                </a:cubicBezTo>
                <a:cubicBezTo>
                  <a:pt x="1858740" y="313420"/>
                  <a:pt x="1854618" y="296256"/>
                  <a:pt x="1846372" y="283131"/>
                </a:cubicBezTo>
                <a:cubicBezTo>
                  <a:pt x="1838127" y="270006"/>
                  <a:pt x="1825927" y="263443"/>
                  <a:pt x="1809772" y="263443"/>
                </a:cubicBezTo>
                <a:cubicBezTo>
                  <a:pt x="1792945" y="263443"/>
                  <a:pt x="1780745" y="270006"/>
                  <a:pt x="1773173" y="283131"/>
                </a:cubicBezTo>
                <a:cubicBezTo>
                  <a:pt x="1765600" y="296256"/>
                  <a:pt x="1761814" y="313420"/>
                  <a:pt x="1761814" y="334623"/>
                </a:cubicBezTo>
                <a:cubicBezTo>
                  <a:pt x="1761814" y="355826"/>
                  <a:pt x="1765937" y="372906"/>
                  <a:pt x="1774182" y="385863"/>
                </a:cubicBezTo>
                <a:cubicBezTo>
                  <a:pt x="1782428" y="398820"/>
                  <a:pt x="1794628" y="405299"/>
                  <a:pt x="1810782" y="405299"/>
                </a:cubicBezTo>
                <a:close/>
                <a:moveTo>
                  <a:pt x="810657" y="405299"/>
                </a:moveTo>
                <a:cubicBezTo>
                  <a:pt x="827485" y="405299"/>
                  <a:pt x="839684" y="398820"/>
                  <a:pt x="847257" y="385863"/>
                </a:cubicBezTo>
                <a:cubicBezTo>
                  <a:pt x="854829" y="372906"/>
                  <a:pt x="858615" y="355826"/>
                  <a:pt x="858616" y="334623"/>
                </a:cubicBezTo>
                <a:cubicBezTo>
                  <a:pt x="858615" y="313420"/>
                  <a:pt x="854493" y="296256"/>
                  <a:pt x="846247" y="283131"/>
                </a:cubicBezTo>
                <a:cubicBezTo>
                  <a:pt x="838002" y="270006"/>
                  <a:pt x="825802" y="263443"/>
                  <a:pt x="809647" y="263443"/>
                </a:cubicBezTo>
                <a:cubicBezTo>
                  <a:pt x="792820" y="263443"/>
                  <a:pt x="780620" y="270006"/>
                  <a:pt x="773048" y="283131"/>
                </a:cubicBezTo>
                <a:cubicBezTo>
                  <a:pt x="765475" y="296256"/>
                  <a:pt x="761689" y="313420"/>
                  <a:pt x="761689" y="334623"/>
                </a:cubicBezTo>
                <a:cubicBezTo>
                  <a:pt x="761689" y="355826"/>
                  <a:pt x="765812" y="372906"/>
                  <a:pt x="774057" y="385863"/>
                </a:cubicBezTo>
                <a:cubicBezTo>
                  <a:pt x="782303" y="398820"/>
                  <a:pt x="794503" y="405299"/>
                  <a:pt x="810657" y="405299"/>
                </a:cubicBezTo>
                <a:close/>
                <a:moveTo>
                  <a:pt x="3325256" y="411861"/>
                </a:moveTo>
                <a:cubicBezTo>
                  <a:pt x="3316506" y="411861"/>
                  <a:pt x="3309608" y="408496"/>
                  <a:pt x="3304560" y="401765"/>
                </a:cubicBezTo>
                <a:cubicBezTo>
                  <a:pt x="3299512" y="395034"/>
                  <a:pt x="3296988" y="387125"/>
                  <a:pt x="3296988" y="378038"/>
                </a:cubicBezTo>
                <a:cubicBezTo>
                  <a:pt x="3296988" y="368951"/>
                  <a:pt x="3299512" y="361126"/>
                  <a:pt x="3304560" y="354564"/>
                </a:cubicBezTo>
                <a:cubicBezTo>
                  <a:pt x="3309608" y="348001"/>
                  <a:pt x="3316506" y="344720"/>
                  <a:pt x="3325256" y="344720"/>
                </a:cubicBezTo>
                <a:cubicBezTo>
                  <a:pt x="3333334" y="344720"/>
                  <a:pt x="3339980" y="348001"/>
                  <a:pt x="3345198" y="354564"/>
                </a:cubicBezTo>
                <a:cubicBezTo>
                  <a:pt x="3350414" y="361126"/>
                  <a:pt x="3353022" y="368951"/>
                  <a:pt x="3353022" y="378038"/>
                </a:cubicBezTo>
                <a:cubicBezTo>
                  <a:pt x="3353022" y="387125"/>
                  <a:pt x="3350414" y="395034"/>
                  <a:pt x="3345198" y="401765"/>
                </a:cubicBezTo>
                <a:cubicBezTo>
                  <a:pt x="3339980" y="408496"/>
                  <a:pt x="3333334" y="411861"/>
                  <a:pt x="3325256" y="411861"/>
                </a:cubicBezTo>
                <a:close/>
                <a:moveTo>
                  <a:pt x="2207070" y="453257"/>
                </a:moveTo>
                <a:lnTo>
                  <a:pt x="2207070" y="401765"/>
                </a:lnTo>
                <a:lnTo>
                  <a:pt x="2272697" y="401765"/>
                </a:lnTo>
                <a:lnTo>
                  <a:pt x="2272697" y="314430"/>
                </a:lnTo>
                <a:cubicBezTo>
                  <a:pt x="2272697" y="297939"/>
                  <a:pt x="2274043" y="283299"/>
                  <a:pt x="2276735" y="270510"/>
                </a:cubicBezTo>
                <a:cubicBezTo>
                  <a:pt x="2279428" y="257721"/>
                  <a:pt x="2284055" y="246868"/>
                  <a:pt x="2290618" y="237949"/>
                </a:cubicBezTo>
                <a:cubicBezTo>
                  <a:pt x="2297181" y="229031"/>
                  <a:pt x="2305931" y="222215"/>
                  <a:pt x="2316869" y="217504"/>
                </a:cubicBezTo>
                <a:cubicBezTo>
                  <a:pt x="2327807" y="212792"/>
                  <a:pt x="2341353" y="210436"/>
                  <a:pt x="2357508" y="210436"/>
                </a:cubicBezTo>
                <a:cubicBezTo>
                  <a:pt x="2366931" y="210436"/>
                  <a:pt x="2377280" y="211530"/>
                  <a:pt x="2388554" y="213718"/>
                </a:cubicBezTo>
                <a:cubicBezTo>
                  <a:pt x="2399829" y="215905"/>
                  <a:pt x="2411860" y="220028"/>
                  <a:pt x="2424649" y="226086"/>
                </a:cubicBezTo>
                <a:lnTo>
                  <a:pt x="2416572" y="276063"/>
                </a:lnTo>
                <a:cubicBezTo>
                  <a:pt x="2406475" y="271352"/>
                  <a:pt x="2397388" y="268239"/>
                  <a:pt x="2389312" y="266724"/>
                </a:cubicBezTo>
                <a:cubicBezTo>
                  <a:pt x="2381234" y="265210"/>
                  <a:pt x="2374335" y="264452"/>
                  <a:pt x="2368614" y="264452"/>
                </a:cubicBezTo>
                <a:cubicBezTo>
                  <a:pt x="2356498" y="264452"/>
                  <a:pt x="2347832" y="267902"/>
                  <a:pt x="2342615" y="274801"/>
                </a:cubicBezTo>
                <a:cubicBezTo>
                  <a:pt x="2337398" y="281701"/>
                  <a:pt x="2334790" y="292218"/>
                  <a:pt x="2334790" y="306353"/>
                </a:cubicBezTo>
                <a:lnTo>
                  <a:pt x="2334790" y="453257"/>
                </a:lnTo>
                <a:close/>
                <a:moveTo>
                  <a:pt x="1088092" y="457800"/>
                </a:moveTo>
                <a:cubicBezTo>
                  <a:pt x="1064870" y="457800"/>
                  <a:pt x="1044593" y="455949"/>
                  <a:pt x="1027260" y="452247"/>
                </a:cubicBezTo>
                <a:cubicBezTo>
                  <a:pt x="1009928" y="448545"/>
                  <a:pt x="993016" y="443665"/>
                  <a:pt x="976526" y="437607"/>
                </a:cubicBezTo>
                <a:lnTo>
                  <a:pt x="976526" y="215989"/>
                </a:lnTo>
                <a:lnTo>
                  <a:pt x="1039124" y="215989"/>
                </a:lnTo>
                <a:lnTo>
                  <a:pt x="1039124" y="392173"/>
                </a:lnTo>
                <a:cubicBezTo>
                  <a:pt x="1047874" y="394529"/>
                  <a:pt x="1056456" y="396128"/>
                  <a:pt x="1064870" y="396969"/>
                </a:cubicBezTo>
                <a:cubicBezTo>
                  <a:pt x="1073284" y="397810"/>
                  <a:pt x="1081866" y="398231"/>
                  <a:pt x="1090616" y="398231"/>
                </a:cubicBezTo>
                <a:cubicBezTo>
                  <a:pt x="1094318" y="398231"/>
                  <a:pt x="1098861" y="398063"/>
                  <a:pt x="1104246" y="397726"/>
                </a:cubicBezTo>
                <a:cubicBezTo>
                  <a:pt x="1109631" y="397390"/>
                  <a:pt x="1115184" y="396801"/>
                  <a:pt x="1120905" y="395959"/>
                </a:cubicBezTo>
                <a:cubicBezTo>
                  <a:pt x="1126627" y="395118"/>
                  <a:pt x="1132264" y="394192"/>
                  <a:pt x="1137817" y="393183"/>
                </a:cubicBezTo>
                <a:cubicBezTo>
                  <a:pt x="1143370" y="392173"/>
                  <a:pt x="1148166" y="391164"/>
                  <a:pt x="1152205" y="390154"/>
                </a:cubicBezTo>
                <a:lnTo>
                  <a:pt x="1163311" y="447704"/>
                </a:lnTo>
                <a:cubicBezTo>
                  <a:pt x="1157589" y="449723"/>
                  <a:pt x="1151111" y="451322"/>
                  <a:pt x="1143875" y="452500"/>
                </a:cubicBezTo>
                <a:cubicBezTo>
                  <a:pt x="1136639" y="453678"/>
                  <a:pt x="1129487" y="454687"/>
                  <a:pt x="1122420" y="455529"/>
                </a:cubicBezTo>
                <a:cubicBezTo>
                  <a:pt x="1115352" y="456370"/>
                  <a:pt x="1108706" y="456959"/>
                  <a:pt x="1102479" y="457296"/>
                </a:cubicBezTo>
                <a:cubicBezTo>
                  <a:pt x="1096253" y="457632"/>
                  <a:pt x="1091457" y="457800"/>
                  <a:pt x="1088092" y="457800"/>
                </a:cubicBezTo>
                <a:close/>
                <a:moveTo>
                  <a:pt x="2572782" y="459315"/>
                </a:moveTo>
                <a:cubicBezTo>
                  <a:pt x="2556628" y="459315"/>
                  <a:pt x="2541651" y="456370"/>
                  <a:pt x="2527852" y="450480"/>
                </a:cubicBezTo>
                <a:cubicBezTo>
                  <a:pt x="2514054" y="444591"/>
                  <a:pt x="2502190" y="436177"/>
                  <a:pt x="2492262" y="425239"/>
                </a:cubicBezTo>
                <a:cubicBezTo>
                  <a:pt x="2482334" y="414301"/>
                  <a:pt x="2474594" y="401176"/>
                  <a:pt x="2469040" y="385863"/>
                </a:cubicBezTo>
                <a:cubicBezTo>
                  <a:pt x="2463487" y="370550"/>
                  <a:pt x="2460711" y="353638"/>
                  <a:pt x="2460711" y="335128"/>
                </a:cubicBezTo>
                <a:cubicBezTo>
                  <a:pt x="2460711" y="316281"/>
                  <a:pt x="2463403" y="299201"/>
                  <a:pt x="2468788" y="283888"/>
                </a:cubicBezTo>
                <a:cubicBezTo>
                  <a:pt x="2474173" y="268575"/>
                  <a:pt x="2481829" y="255366"/>
                  <a:pt x="2491758" y="244259"/>
                </a:cubicBezTo>
                <a:cubicBezTo>
                  <a:pt x="2501686" y="233153"/>
                  <a:pt x="2513465" y="224571"/>
                  <a:pt x="2527095" y="218513"/>
                </a:cubicBezTo>
                <a:cubicBezTo>
                  <a:pt x="2540726" y="212455"/>
                  <a:pt x="2555954" y="209427"/>
                  <a:pt x="2572782" y="209427"/>
                </a:cubicBezTo>
                <a:cubicBezTo>
                  <a:pt x="2589609" y="209427"/>
                  <a:pt x="2604838" y="212455"/>
                  <a:pt x="2618468" y="218513"/>
                </a:cubicBezTo>
                <a:cubicBezTo>
                  <a:pt x="2632098" y="224571"/>
                  <a:pt x="2643794" y="233153"/>
                  <a:pt x="2653554" y="244259"/>
                </a:cubicBezTo>
                <a:cubicBezTo>
                  <a:pt x="2663314" y="255366"/>
                  <a:pt x="2670886" y="268575"/>
                  <a:pt x="2676271" y="283888"/>
                </a:cubicBezTo>
                <a:cubicBezTo>
                  <a:pt x="2681656" y="299201"/>
                  <a:pt x="2684348" y="316281"/>
                  <a:pt x="2684348" y="335128"/>
                </a:cubicBezTo>
                <a:cubicBezTo>
                  <a:pt x="2684348" y="353638"/>
                  <a:pt x="2681656" y="370550"/>
                  <a:pt x="2676271" y="385863"/>
                </a:cubicBezTo>
                <a:cubicBezTo>
                  <a:pt x="2670886" y="401176"/>
                  <a:pt x="2663230" y="414301"/>
                  <a:pt x="2653302" y="425239"/>
                </a:cubicBezTo>
                <a:cubicBezTo>
                  <a:pt x="2643373" y="436177"/>
                  <a:pt x="2631594" y="444591"/>
                  <a:pt x="2617964" y="450480"/>
                </a:cubicBezTo>
                <a:cubicBezTo>
                  <a:pt x="2604334" y="456370"/>
                  <a:pt x="2589273" y="459315"/>
                  <a:pt x="2572782" y="459315"/>
                </a:cubicBezTo>
                <a:close/>
                <a:moveTo>
                  <a:pt x="1810782" y="459315"/>
                </a:moveTo>
                <a:cubicBezTo>
                  <a:pt x="1794628" y="459315"/>
                  <a:pt x="1779651" y="456370"/>
                  <a:pt x="1765853" y="450480"/>
                </a:cubicBezTo>
                <a:cubicBezTo>
                  <a:pt x="1752054" y="444591"/>
                  <a:pt x="1740191" y="436177"/>
                  <a:pt x="1730262" y="425239"/>
                </a:cubicBezTo>
                <a:cubicBezTo>
                  <a:pt x="1720334" y="414301"/>
                  <a:pt x="1712594" y="401176"/>
                  <a:pt x="1707040" y="385863"/>
                </a:cubicBezTo>
                <a:cubicBezTo>
                  <a:pt x="1701488" y="370550"/>
                  <a:pt x="1698711" y="353638"/>
                  <a:pt x="1698711" y="335128"/>
                </a:cubicBezTo>
                <a:cubicBezTo>
                  <a:pt x="1698711" y="316281"/>
                  <a:pt x="1701403" y="299201"/>
                  <a:pt x="1706788" y="283888"/>
                </a:cubicBezTo>
                <a:cubicBezTo>
                  <a:pt x="1712173" y="268575"/>
                  <a:pt x="1719829" y="255366"/>
                  <a:pt x="1729758" y="244259"/>
                </a:cubicBezTo>
                <a:cubicBezTo>
                  <a:pt x="1739686" y="233153"/>
                  <a:pt x="1751465" y="224571"/>
                  <a:pt x="1765095" y="218513"/>
                </a:cubicBezTo>
                <a:cubicBezTo>
                  <a:pt x="1778726" y="212455"/>
                  <a:pt x="1793954" y="209427"/>
                  <a:pt x="1810782" y="209427"/>
                </a:cubicBezTo>
                <a:cubicBezTo>
                  <a:pt x="1827610" y="209427"/>
                  <a:pt x="1842838" y="212455"/>
                  <a:pt x="1856469" y="218513"/>
                </a:cubicBezTo>
                <a:cubicBezTo>
                  <a:pt x="1870099" y="224571"/>
                  <a:pt x="1881794" y="233153"/>
                  <a:pt x="1891554" y="244259"/>
                </a:cubicBezTo>
                <a:cubicBezTo>
                  <a:pt x="1901314" y="255366"/>
                  <a:pt x="1908886" y="268575"/>
                  <a:pt x="1914271" y="283888"/>
                </a:cubicBezTo>
                <a:cubicBezTo>
                  <a:pt x="1919656" y="299201"/>
                  <a:pt x="1922348" y="316281"/>
                  <a:pt x="1922348" y="335128"/>
                </a:cubicBezTo>
                <a:cubicBezTo>
                  <a:pt x="1922348" y="353638"/>
                  <a:pt x="1919656" y="370550"/>
                  <a:pt x="1914271" y="385863"/>
                </a:cubicBezTo>
                <a:cubicBezTo>
                  <a:pt x="1908886" y="401176"/>
                  <a:pt x="1901230" y="414301"/>
                  <a:pt x="1891302" y="425239"/>
                </a:cubicBezTo>
                <a:cubicBezTo>
                  <a:pt x="1881374" y="436177"/>
                  <a:pt x="1869594" y="444591"/>
                  <a:pt x="1855964" y="450480"/>
                </a:cubicBezTo>
                <a:cubicBezTo>
                  <a:pt x="1842334" y="456370"/>
                  <a:pt x="1827273" y="459315"/>
                  <a:pt x="1810782" y="459315"/>
                </a:cubicBezTo>
                <a:close/>
                <a:moveTo>
                  <a:pt x="810657" y="459315"/>
                </a:moveTo>
                <a:cubicBezTo>
                  <a:pt x="794503" y="459315"/>
                  <a:pt x="779526" y="456370"/>
                  <a:pt x="765728" y="450480"/>
                </a:cubicBezTo>
                <a:cubicBezTo>
                  <a:pt x="751929" y="444591"/>
                  <a:pt x="740066" y="436177"/>
                  <a:pt x="730138" y="425239"/>
                </a:cubicBezTo>
                <a:cubicBezTo>
                  <a:pt x="720209" y="414301"/>
                  <a:pt x="712469" y="401176"/>
                  <a:pt x="706916" y="385863"/>
                </a:cubicBezTo>
                <a:cubicBezTo>
                  <a:pt x="701362" y="370550"/>
                  <a:pt x="698586" y="353638"/>
                  <a:pt x="698586" y="335128"/>
                </a:cubicBezTo>
                <a:cubicBezTo>
                  <a:pt x="698586" y="316281"/>
                  <a:pt x="701278" y="299201"/>
                  <a:pt x="706663" y="283888"/>
                </a:cubicBezTo>
                <a:cubicBezTo>
                  <a:pt x="712048" y="268575"/>
                  <a:pt x="719704" y="255366"/>
                  <a:pt x="729633" y="244259"/>
                </a:cubicBezTo>
                <a:cubicBezTo>
                  <a:pt x="739561" y="233153"/>
                  <a:pt x="751340" y="224571"/>
                  <a:pt x="764970" y="218513"/>
                </a:cubicBezTo>
                <a:cubicBezTo>
                  <a:pt x="778601" y="212455"/>
                  <a:pt x="793830" y="209427"/>
                  <a:pt x="810657" y="209427"/>
                </a:cubicBezTo>
                <a:cubicBezTo>
                  <a:pt x="827485" y="209427"/>
                  <a:pt x="842713" y="212455"/>
                  <a:pt x="856344" y="218513"/>
                </a:cubicBezTo>
                <a:cubicBezTo>
                  <a:pt x="869974" y="224571"/>
                  <a:pt x="881669" y="233153"/>
                  <a:pt x="891429" y="244259"/>
                </a:cubicBezTo>
                <a:cubicBezTo>
                  <a:pt x="901189" y="255366"/>
                  <a:pt x="908761" y="268575"/>
                  <a:pt x="914146" y="283888"/>
                </a:cubicBezTo>
                <a:cubicBezTo>
                  <a:pt x="919531" y="299201"/>
                  <a:pt x="922223" y="316281"/>
                  <a:pt x="922223" y="335128"/>
                </a:cubicBezTo>
                <a:cubicBezTo>
                  <a:pt x="922223" y="353638"/>
                  <a:pt x="919531" y="370550"/>
                  <a:pt x="914146" y="385863"/>
                </a:cubicBezTo>
                <a:cubicBezTo>
                  <a:pt x="908761" y="401176"/>
                  <a:pt x="901105" y="414301"/>
                  <a:pt x="891177" y="425239"/>
                </a:cubicBezTo>
                <a:cubicBezTo>
                  <a:pt x="881248" y="436177"/>
                  <a:pt x="869469" y="444591"/>
                  <a:pt x="855839" y="450480"/>
                </a:cubicBezTo>
                <a:cubicBezTo>
                  <a:pt x="842209" y="456370"/>
                  <a:pt x="827148" y="459315"/>
                  <a:pt x="810657" y="459315"/>
                </a:cubicBezTo>
                <a:close/>
                <a:moveTo>
                  <a:pt x="546919" y="477993"/>
                </a:moveTo>
                <a:cubicBezTo>
                  <a:pt x="563410" y="477993"/>
                  <a:pt x="576620" y="474207"/>
                  <a:pt x="586548" y="466635"/>
                </a:cubicBezTo>
                <a:cubicBezTo>
                  <a:pt x="596476" y="459062"/>
                  <a:pt x="601441" y="446189"/>
                  <a:pt x="601441" y="428016"/>
                </a:cubicBezTo>
                <a:cubicBezTo>
                  <a:pt x="601441" y="408832"/>
                  <a:pt x="596392" y="395286"/>
                  <a:pt x="586296" y="387377"/>
                </a:cubicBezTo>
                <a:cubicBezTo>
                  <a:pt x="576199" y="379468"/>
                  <a:pt x="561223" y="375514"/>
                  <a:pt x="541366" y="375514"/>
                </a:cubicBezTo>
                <a:lnTo>
                  <a:pt x="516125" y="375514"/>
                </a:lnTo>
                <a:lnTo>
                  <a:pt x="516125" y="476479"/>
                </a:lnTo>
                <a:cubicBezTo>
                  <a:pt x="519827" y="477152"/>
                  <a:pt x="524960" y="477573"/>
                  <a:pt x="531522" y="477741"/>
                </a:cubicBezTo>
                <a:cubicBezTo>
                  <a:pt x="538085" y="477909"/>
                  <a:pt x="543217" y="477993"/>
                  <a:pt x="546919" y="477993"/>
                </a:cubicBezTo>
                <a:close/>
                <a:moveTo>
                  <a:pt x="3324752" y="482537"/>
                </a:moveTo>
                <a:cubicBezTo>
                  <a:pt x="3341916" y="482537"/>
                  <a:pt x="3354958" y="473198"/>
                  <a:pt x="3363876" y="454519"/>
                </a:cubicBezTo>
                <a:cubicBezTo>
                  <a:pt x="3372794" y="435841"/>
                  <a:pt x="3377254" y="408664"/>
                  <a:pt x="3377254" y="372990"/>
                </a:cubicBezTo>
                <a:cubicBezTo>
                  <a:pt x="3377254" y="336979"/>
                  <a:pt x="3372794" y="309634"/>
                  <a:pt x="3363876" y="290956"/>
                </a:cubicBezTo>
                <a:cubicBezTo>
                  <a:pt x="3354958" y="272277"/>
                  <a:pt x="3341916" y="262938"/>
                  <a:pt x="3324752" y="262938"/>
                </a:cubicBezTo>
                <a:cubicBezTo>
                  <a:pt x="3307924" y="262938"/>
                  <a:pt x="3294968" y="272277"/>
                  <a:pt x="3285880" y="290956"/>
                </a:cubicBezTo>
                <a:cubicBezTo>
                  <a:pt x="3276794" y="309634"/>
                  <a:pt x="3272250" y="336979"/>
                  <a:pt x="3272250" y="372990"/>
                </a:cubicBezTo>
                <a:cubicBezTo>
                  <a:pt x="3272250" y="408664"/>
                  <a:pt x="3276794" y="435841"/>
                  <a:pt x="3285880" y="454519"/>
                </a:cubicBezTo>
                <a:cubicBezTo>
                  <a:pt x="3294968" y="473198"/>
                  <a:pt x="3307924" y="482537"/>
                  <a:pt x="3324752" y="482537"/>
                </a:cubicBezTo>
                <a:close/>
                <a:moveTo>
                  <a:pt x="1323054" y="522923"/>
                </a:moveTo>
                <a:lnTo>
                  <a:pt x="1260961" y="512826"/>
                </a:lnTo>
                <a:lnTo>
                  <a:pt x="1260961" y="453257"/>
                </a:lnTo>
                <a:lnTo>
                  <a:pt x="1206945" y="453257"/>
                </a:lnTo>
                <a:lnTo>
                  <a:pt x="1206945" y="401765"/>
                </a:lnTo>
                <a:lnTo>
                  <a:pt x="1260961" y="401765"/>
                </a:lnTo>
                <a:lnTo>
                  <a:pt x="1260961" y="304334"/>
                </a:lnTo>
                <a:cubicBezTo>
                  <a:pt x="1260961" y="284477"/>
                  <a:pt x="1262980" y="268407"/>
                  <a:pt x="1267019" y="256123"/>
                </a:cubicBezTo>
                <a:cubicBezTo>
                  <a:pt x="1271057" y="243839"/>
                  <a:pt x="1276947" y="234331"/>
                  <a:pt x="1284688" y="227600"/>
                </a:cubicBezTo>
                <a:cubicBezTo>
                  <a:pt x="1292428" y="220869"/>
                  <a:pt x="1301852" y="216326"/>
                  <a:pt x="1312958" y="213970"/>
                </a:cubicBezTo>
                <a:cubicBezTo>
                  <a:pt x="1324064" y="211614"/>
                  <a:pt x="1336853" y="210436"/>
                  <a:pt x="1351325" y="210436"/>
                </a:cubicBezTo>
                <a:cubicBezTo>
                  <a:pt x="1363777" y="210436"/>
                  <a:pt x="1376650" y="211446"/>
                  <a:pt x="1389944" y="213465"/>
                </a:cubicBezTo>
                <a:cubicBezTo>
                  <a:pt x="1403238" y="215484"/>
                  <a:pt x="1415606" y="218850"/>
                  <a:pt x="1427048" y="223562"/>
                </a:cubicBezTo>
                <a:lnTo>
                  <a:pt x="1418466" y="277073"/>
                </a:lnTo>
                <a:cubicBezTo>
                  <a:pt x="1412745" y="274381"/>
                  <a:pt x="1407444" y="272193"/>
                  <a:pt x="1402564" y="270510"/>
                </a:cubicBezTo>
                <a:cubicBezTo>
                  <a:pt x="1397684" y="268828"/>
                  <a:pt x="1392973" y="267566"/>
                  <a:pt x="1388429" y="266724"/>
                </a:cubicBezTo>
                <a:cubicBezTo>
                  <a:pt x="1383886" y="265883"/>
                  <a:pt x="1379174" y="265294"/>
                  <a:pt x="1374294" y="264957"/>
                </a:cubicBezTo>
                <a:cubicBezTo>
                  <a:pt x="1369414" y="264621"/>
                  <a:pt x="1364114" y="264452"/>
                  <a:pt x="1358392" y="264452"/>
                </a:cubicBezTo>
                <a:cubicBezTo>
                  <a:pt x="1353007" y="264452"/>
                  <a:pt x="1348127" y="264957"/>
                  <a:pt x="1343752" y="265967"/>
                </a:cubicBezTo>
                <a:cubicBezTo>
                  <a:pt x="1339377" y="266977"/>
                  <a:pt x="1335675" y="268996"/>
                  <a:pt x="1332646" y="272025"/>
                </a:cubicBezTo>
                <a:cubicBezTo>
                  <a:pt x="1329617" y="275054"/>
                  <a:pt x="1327261" y="279261"/>
                  <a:pt x="1325579" y="284645"/>
                </a:cubicBezTo>
                <a:cubicBezTo>
                  <a:pt x="1323896" y="290030"/>
                  <a:pt x="1323054" y="297098"/>
                  <a:pt x="1323054" y="305848"/>
                </a:cubicBezTo>
                <a:lnTo>
                  <a:pt x="1323054" y="401765"/>
                </a:lnTo>
                <a:lnTo>
                  <a:pt x="1422505" y="401765"/>
                </a:lnTo>
                <a:lnTo>
                  <a:pt x="1422505" y="453257"/>
                </a:lnTo>
                <a:lnTo>
                  <a:pt x="1323054" y="453257"/>
                </a:lnTo>
                <a:close/>
                <a:moveTo>
                  <a:pt x="539852" y="532010"/>
                </a:moveTo>
                <a:cubicBezTo>
                  <a:pt x="534131" y="532010"/>
                  <a:pt x="527568" y="531841"/>
                  <a:pt x="520164" y="531505"/>
                </a:cubicBezTo>
                <a:cubicBezTo>
                  <a:pt x="512760" y="531168"/>
                  <a:pt x="505187" y="530748"/>
                  <a:pt x="497447" y="530243"/>
                </a:cubicBezTo>
                <a:cubicBezTo>
                  <a:pt x="489706" y="529738"/>
                  <a:pt x="482049" y="528981"/>
                  <a:pt x="474477" y="527971"/>
                </a:cubicBezTo>
                <a:cubicBezTo>
                  <a:pt x="466905" y="526961"/>
                  <a:pt x="460090" y="525784"/>
                  <a:pt x="454032" y="524437"/>
                </a:cubicBezTo>
                <a:lnTo>
                  <a:pt x="454032" y="215989"/>
                </a:lnTo>
                <a:lnTo>
                  <a:pt x="516125" y="215989"/>
                </a:lnTo>
                <a:lnTo>
                  <a:pt x="516125" y="321498"/>
                </a:lnTo>
                <a:lnTo>
                  <a:pt x="538337" y="321498"/>
                </a:lnTo>
                <a:cubicBezTo>
                  <a:pt x="578723" y="321498"/>
                  <a:pt x="609938" y="329827"/>
                  <a:pt x="631982" y="346486"/>
                </a:cubicBezTo>
                <a:cubicBezTo>
                  <a:pt x="654026" y="363146"/>
                  <a:pt x="665048" y="390154"/>
                  <a:pt x="665048" y="427511"/>
                </a:cubicBezTo>
                <a:cubicBezTo>
                  <a:pt x="665048" y="464531"/>
                  <a:pt x="654111" y="491203"/>
                  <a:pt x="632235" y="507526"/>
                </a:cubicBezTo>
                <a:cubicBezTo>
                  <a:pt x="610359" y="523848"/>
                  <a:pt x="579565" y="532010"/>
                  <a:pt x="539852" y="532010"/>
                </a:cubicBezTo>
                <a:close/>
                <a:moveTo>
                  <a:pt x="3816452" y="535544"/>
                </a:moveTo>
                <a:cubicBezTo>
                  <a:pt x="3797604" y="535544"/>
                  <a:pt x="3780694" y="532430"/>
                  <a:pt x="3765716" y="526204"/>
                </a:cubicBezTo>
                <a:cubicBezTo>
                  <a:pt x="3750740" y="519978"/>
                  <a:pt x="3738708" y="513836"/>
                  <a:pt x="3729622" y="507778"/>
                </a:cubicBezTo>
                <a:lnTo>
                  <a:pt x="3751834" y="462344"/>
                </a:lnTo>
                <a:cubicBezTo>
                  <a:pt x="3760248" y="468065"/>
                  <a:pt x="3770260" y="472861"/>
                  <a:pt x="3781872" y="476731"/>
                </a:cubicBezTo>
                <a:cubicBezTo>
                  <a:pt x="3793482" y="480602"/>
                  <a:pt x="3805178" y="482537"/>
                  <a:pt x="3816956" y="482537"/>
                </a:cubicBezTo>
                <a:cubicBezTo>
                  <a:pt x="3829072" y="482537"/>
                  <a:pt x="3838580" y="479255"/>
                  <a:pt x="3845480" y="472693"/>
                </a:cubicBezTo>
                <a:cubicBezTo>
                  <a:pt x="3852378" y="466130"/>
                  <a:pt x="3855828" y="457127"/>
                  <a:pt x="3855828" y="445685"/>
                </a:cubicBezTo>
                <a:cubicBezTo>
                  <a:pt x="3855828" y="437944"/>
                  <a:pt x="3854230" y="431550"/>
                  <a:pt x="3851032" y="426501"/>
                </a:cubicBezTo>
                <a:cubicBezTo>
                  <a:pt x="3847836" y="421453"/>
                  <a:pt x="3843712" y="417414"/>
                  <a:pt x="3838664" y="414385"/>
                </a:cubicBezTo>
                <a:cubicBezTo>
                  <a:pt x="3833616" y="411357"/>
                  <a:pt x="3827894" y="409169"/>
                  <a:pt x="3821500" y="407823"/>
                </a:cubicBezTo>
                <a:cubicBezTo>
                  <a:pt x="3815106" y="406477"/>
                  <a:pt x="3808712" y="405803"/>
                  <a:pt x="3802316" y="405803"/>
                </a:cubicBezTo>
                <a:lnTo>
                  <a:pt x="3779094" y="405803"/>
                </a:lnTo>
                <a:lnTo>
                  <a:pt x="3779094" y="354311"/>
                </a:lnTo>
                <a:lnTo>
                  <a:pt x="3798278" y="354311"/>
                </a:lnTo>
                <a:cubicBezTo>
                  <a:pt x="3818470" y="354311"/>
                  <a:pt x="3835130" y="351030"/>
                  <a:pt x="3848256" y="344467"/>
                </a:cubicBezTo>
                <a:cubicBezTo>
                  <a:pt x="3861380" y="337904"/>
                  <a:pt x="3867944" y="326378"/>
                  <a:pt x="3867944" y="309887"/>
                </a:cubicBezTo>
                <a:cubicBezTo>
                  <a:pt x="3867944" y="296425"/>
                  <a:pt x="3863652" y="285150"/>
                  <a:pt x="3855072" y="276063"/>
                </a:cubicBezTo>
                <a:cubicBezTo>
                  <a:pt x="3846488" y="266977"/>
                  <a:pt x="3831596" y="262433"/>
                  <a:pt x="3810394" y="262433"/>
                </a:cubicBezTo>
                <a:cubicBezTo>
                  <a:pt x="3793230" y="262433"/>
                  <a:pt x="3778506" y="264284"/>
                  <a:pt x="3766222" y="267986"/>
                </a:cubicBezTo>
                <a:cubicBezTo>
                  <a:pt x="3753938" y="271688"/>
                  <a:pt x="3743924" y="275222"/>
                  <a:pt x="3736184" y="278588"/>
                </a:cubicBezTo>
                <a:lnTo>
                  <a:pt x="3724068" y="226591"/>
                </a:lnTo>
                <a:cubicBezTo>
                  <a:pt x="3727770" y="224908"/>
                  <a:pt x="3732988" y="223057"/>
                  <a:pt x="3739718" y="221037"/>
                </a:cubicBezTo>
                <a:cubicBezTo>
                  <a:pt x="3746450" y="219018"/>
                  <a:pt x="3753770" y="217167"/>
                  <a:pt x="3761678" y="215484"/>
                </a:cubicBezTo>
                <a:cubicBezTo>
                  <a:pt x="3769588" y="213802"/>
                  <a:pt x="3777832" y="212371"/>
                  <a:pt x="3786414" y="211193"/>
                </a:cubicBezTo>
                <a:cubicBezTo>
                  <a:pt x="3794996" y="210015"/>
                  <a:pt x="3803158" y="209427"/>
                  <a:pt x="3810898" y="209427"/>
                </a:cubicBezTo>
                <a:cubicBezTo>
                  <a:pt x="3831764" y="209427"/>
                  <a:pt x="3849770" y="211867"/>
                  <a:pt x="3864916" y="216746"/>
                </a:cubicBezTo>
                <a:cubicBezTo>
                  <a:pt x="3880060" y="221626"/>
                  <a:pt x="3892512" y="228526"/>
                  <a:pt x="3902272" y="237444"/>
                </a:cubicBezTo>
                <a:cubicBezTo>
                  <a:pt x="3912032" y="246363"/>
                  <a:pt x="3919268" y="256880"/>
                  <a:pt x="3923980" y="268996"/>
                </a:cubicBezTo>
                <a:cubicBezTo>
                  <a:pt x="3928692" y="281112"/>
                  <a:pt x="3931048" y="294405"/>
                  <a:pt x="3931048" y="308877"/>
                </a:cubicBezTo>
                <a:cubicBezTo>
                  <a:pt x="3931048" y="327051"/>
                  <a:pt x="3926588" y="342700"/>
                  <a:pt x="3917668" y="355826"/>
                </a:cubicBezTo>
                <a:cubicBezTo>
                  <a:pt x="3908750" y="368951"/>
                  <a:pt x="3896214" y="378879"/>
                  <a:pt x="3880060" y="385610"/>
                </a:cubicBezTo>
                <a:cubicBezTo>
                  <a:pt x="3891840" y="391668"/>
                  <a:pt x="3901262" y="400419"/>
                  <a:pt x="3908330" y="411861"/>
                </a:cubicBezTo>
                <a:cubicBezTo>
                  <a:pt x="3915398" y="423304"/>
                  <a:pt x="3918932" y="435252"/>
                  <a:pt x="3918932" y="447704"/>
                </a:cubicBezTo>
                <a:cubicBezTo>
                  <a:pt x="3918932" y="460156"/>
                  <a:pt x="3916912" y="471767"/>
                  <a:pt x="3912874" y="482537"/>
                </a:cubicBezTo>
                <a:cubicBezTo>
                  <a:pt x="3908834" y="493306"/>
                  <a:pt x="3902608" y="502646"/>
                  <a:pt x="3894196" y="510555"/>
                </a:cubicBezTo>
                <a:cubicBezTo>
                  <a:pt x="3885780" y="518464"/>
                  <a:pt x="3875096" y="524606"/>
                  <a:pt x="3862138" y="528981"/>
                </a:cubicBezTo>
                <a:cubicBezTo>
                  <a:pt x="3849180" y="533356"/>
                  <a:pt x="3833952" y="535544"/>
                  <a:pt x="3816452" y="535544"/>
                </a:cubicBezTo>
                <a:close/>
                <a:moveTo>
                  <a:pt x="3567354" y="535544"/>
                </a:moveTo>
                <a:cubicBezTo>
                  <a:pt x="3549854" y="535544"/>
                  <a:pt x="3532268" y="532178"/>
                  <a:pt x="3514600" y="525447"/>
                </a:cubicBezTo>
                <a:cubicBezTo>
                  <a:pt x="3496930" y="518716"/>
                  <a:pt x="3481366" y="508283"/>
                  <a:pt x="3467904" y="494148"/>
                </a:cubicBezTo>
                <a:lnTo>
                  <a:pt x="3498698" y="450733"/>
                </a:lnTo>
                <a:cubicBezTo>
                  <a:pt x="3509130" y="461839"/>
                  <a:pt x="3519732" y="469748"/>
                  <a:pt x="3530502" y="474460"/>
                </a:cubicBezTo>
                <a:cubicBezTo>
                  <a:pt x="3541272" y="479171"/>
                  <a:pt x="3551536" y="481527"/>
                  <a:pt x="3561296" y="481527"/>
                </a:cubicBezTo>
                <a:cubicBezTo>
                  <a:pt x="3573076" y="481527"/>
                  <a:pt x="3582836" y="478078"/>
                  <a:pt x="3590576" y="471178"/>
                </a:cubicBezTo>
                <a:cubicBezTo>
                  <a:pt x="3598316" y="464279"/>
                  <a:pt x="3602186" y="454435"/>
                  <a:pt x="3602188" y="441646"/>
                </a:cubicBezTo>
                <a:cubicBezTo>
                  <a:pt x="3602186" y="432559"/>
                  <a:pt x="3599074" y="423641"/>
                  <a:pt x="3592848" y="414890"/>
                </a:cubicBezTo>
                <a:cubicBezTo>
                  <a:pt x="3586622" y="406140"/>
                  <a:pt x="3578712" y="397053"/>
                  <a:pt x="3569120" y="387630"/>
                </a:cubicBezTo>
                <a:cubicBezTo>
                  <a:pt x="3559528" y="378206"/>
                  <a:pt x="3549264" y="368362"/>
                  <a:pt x="3538326" y="358097"/>
                </a:cubicBezTo>
                <a:cubicBezTo>
                  <a:pt x="3527388" y="347833"/>
                  <a:pt x="3517124" y="336727"/>
                  <a:pt x="3507532" y="324779"/>
                </a:cubicBezTo>
                <a:cubicBezTo>
                  <a:pt x="3497940" y="312831"/>
                  <a:pt x="3490032" y="299790"/>
                  <a:pt x="3483806" y="285655"/>
                </a:cubicBezTo>
                <a:cubicBezTo>
                  <a:pt x="3477580" y="271520"/>
                  <a:pt x="3474466" y="256039"/>
                  <a:pt x="3474466" y="239211"/>
                </a:cubicBezTo>
                <a:cubicBezTo>
                  <a:pt x="3474466" y="237192"/>
                  <a:pt x="3474382" y="233658"/>
                  <a:pt x="3474214" y="228610"/>
                </a:cubicBezTo>
                <a:cubicBezTo>
                  <a:pt x="3474046" y="223562"/>
                  <a:pt x="3474466" y="219355"/>
                  <a:pt x="3475476" y="215989"/>
                </a:cubicBezTo>
                <a:lnTo>
                  <a:pt x="3679426" y="215989"/>
                </a:lnTo>
                <a:lnTo>
                  <a:pt x="3679426" y="267481"/>
                </a:lnTo>
                <a:lnTo>
                  <a:pt x="3545142" y="267481"/>
                </a:lnTo>
                <a:cubicBezTo>
                  <a:pt x="3545142" y="272530"/>
                  <a:pt x="3546908" y="278083"/>
                  <a:pt x="3550442" y="284141"/>
                </a:cubicBezTo>
                <a:cubicBezTo>
                  <a:pt x="3553976" y="290198"/>
                  <a:pt x="3558268" y="296172"/>
                  <a:pt x="3563316" y="302062"/>
                </a:cubicBezTo>
                <a:cubicBezTo>
                  <a:pt x="3568364" y="307952"/>
                  <a:pt x="3573748" y="313673"/>
                  <a:pt x="3579470" y="319226"/>
                </a:cubicBezTo>
                <a:cubicBezTo>
                  <a:pt x="3585190" y="324779"/>
                  <a:pt x="3590240" y="329575"/>
                  <a:pt x="3594614" y="333613"/>
                </a:cubicBezTo>
                <a:cubicBezTo>
                  <a:pt x="3603364" y="341691"/>
                  <a:pt x="3611946" y="350104"/>
                  <a:pt x="3620360" y="358855"/>
                </a:cubicBezTo>
                <a:cubicBezTo>
                  <a:pt x="3628774" y="367605"/>
                  <a:pt x="3636346" y="376692"/>
                  <a:pt x="3643078" y="386115"/>
                </a:cubicBezTo>
                <a:cubicBezTo>
                  <a:pt x="3649808" y="395539"/>
                  <a:pt x="3655194" y="405214"/>
                  <a:pt x="3659232" y="415143"/>
                </a:cubicBezTo>
                <a:cubicBezTo>
                  <a:pt x="3663270" y="425071"/>
                  <a:pt x="3665290" y="435420"/>
                  <a:pt x="3665290" y="446189"/>
                </a:cubicBezTo>
                <a:cubicBezTo>
                  <a:pt x="3665290" y="460998"/>
                  <a:pt x="3662598" y="474039"/>
                  <a:pt x="3657212" y="485313"/>
                </a:cubicBezTo>
                <a:cubicBezTo>
                  <a:pt x="3651828" y="496588"/>
                  <a:pt x="3644592" y="505927"/>
                  <a:pt x="3635506" y="513331"/>
                </a:cubicBezTo>
                <a:cubicBezTo>
                  <a:pt x="3626418" y="520735"/>
                  <a:pt x="3615986" y="526288"/>
                  <a:pt x="3604206" y="529990"/>
                </a:cubicBezTo>
                <a:cubicBezTo>
                  <a:pt x="3592426" y="533692"/>
                  <a:pt x="3580142" y="535544"/>
                  <a:pt x="3567354" y="535544"/>
                </a:cubicBezTo>
                <a:close/>
                <a:moveTo>
                  <a:pt x="3324752" y="535544"/>
                </a:moveTo>
                <a:cubicBezTo>
                  <a:pt x="3290088" y="535544"/>
                  <a:pt x="3263332" y="522081"/>
                  <a:pt x="3244486" y="495157"/>
                </a:cubicBezTo>
                <a:cubicBezTo>
                  <a:pt x="3225638" y="468233"/>
                  <a:pt x="3216214" y="427511"/>
                  <a:pt x="3216214" y="372990"/>
                </a:cubicBezTo>
                <a:cubicBezTo>
                  <a:pt x="3216214" y="317796"/>
                  <a:pt x="3225470" y="276737"/>
                  <a:pt x="3243980" y="249813"/>
                </a:cubicBezTo>
                <a:cubicBezTo>
                  <a:pt x="3262490" y="222889"/>
                  <a:pt x="3289414" y="209427"/>
                  <a:pt x="3324752" y="209427"/>
                </a:cubicBezTo>
                <a:cubicBezTo>
                  <a:pt x="3360090" y="209427"/>
                  <a:pt x="3387014" y="222889"/>
                  <a:pt x="3405524" y="249813"/>
                </a:cubicBezTo>
                <a:cubicBezTo>
                  <a:pt x="3424034" y="276737"/>
                  <a:pt x="3433290" y="317796"/>
                  <a:pt x="3433290" y="372990"/>
                </a:cubicBezTo>
                <a:cubicBezTo>
                  <a:pt x="3433290" y="427847"/>
                  <a:pt x="3424034" y="468654"/>
                  <a:pt x="3405524" y="495410"/>
                </a:cubicBezTo>
                <a:cubicBezTo>
                  <a:pt x="3387014" y="522166"/>
                  <a:pt x="3360090" y="535544"/>
                  <a:pt x="3324752" y="535544"/>
                </a:cubicBezTo>
                <a:close/>
                <a:moveTo>
                  <a:pt x="3062528" y="535544"/>
                </a:moveTo>
                <a:cubicBezTo>
                  <a:pt x="3045028" y="535544"/>
                  <a:pt x="3027444" y="532178"/>
                  <a:pt x="3009774" y="525447"/>
                </a:cubicBezTo>
                <a:cubicBezTo>
                  <a:pt x="2992106" y="518716"/>
                  <a:pt x="2976540" y="508283"/>
                  <a:pt x="2963078" y="494148"/>
                </a:cubicBezTo>
                <a:lnTo>
                  <a:pt x="2993872" y="450733"/>
                </a:lnTo>
                <a:cubicBezTo>
                  <a:pt x="3004306" y="461839"/>
                  <a:pt x="3014908" y="469748"/>
                  <a:pt x="3025676" y="474460"/>
                </a:cubicBezTo>
                <a:cubicBezTo>
                  <a:pt x="3036446" y="479171"/>
                  <a:pt x="3046712" y="481527"/>
                  <a:pt x="3056472" y="481527"/>
                </a:cubicBezTo>
                <a:cubicBezTo>
                  <a:pt x="3068250" y="481527"/>
                  <a:pt x="3078010" y="478078"/>
                  <a:pt x="3085752" y="471178"/>
                </a:cubicBezTo>
                <a:cubicBezTo>
                  <a:pt x="3093492" y="464279"/>
                  <a:pt x="3097362" y="454435"/>
                  <a:pt x="3097362" y="441646"/>
                </a:cubicBezTo>
                <a:cubicBezTo>
                  <a:pt x="3097362" y="432559"/>
                  <a:pt x="3094248" y="423641"/>
                  <a:pt x="3088022" y="414890"/>
                </a:cubicBezTo>
                <a:cubicBezTo>
                  <a:pt x="3081796" y="406140"/>
                  <a:pt x="3073888" y="397053"/>
                  <a:pt x="3064296" y="387630"/>
                </a:cubicBezTo>
                <a:cubicBezTo>
                  <a:pt x="3054704" y="378206"/>
                  <a:pt x="3044440" y="368362"/>
                  <a:pt x="3033502" y="358097"/>
                </a:cubicBezTo>
                <a:cubicBezTo>
                  <a:pt x="3022564" y="347833"/>
                  <a:pt x="3012298" y="336727"/>
                  <a:pt x="3002708" y="324779"/>
                </a:cubicBezTo>
                <a:cubicBezTo>
                  <a:pt x="2993116" y="312831"/>
                  <a:pt x="2985206" y="299790"/>
                  <a:pt x="2978980" y="285655"/>
                </a:cubicBezTo>
                <a:cubicBezTo>
                  <a:pt x="2972754" y="271520"/>
                  <a:pt x="2969642" y="256039"/>
                  <a:pt x="2969642" y="239211"/>
                </a:cubicBezTo>
                <a:cubicBezTo>
                  <a:pt x="2969642" y="237192"/>
                  <a:pt x="2969558" y="233658"/>
                  <a:pt x="2969388" y="228610"/>
                </a:cubicBezTo>
                <a:cubicBezTo>
                  <a:pt x="2969220" y="223562"/>
                  <a:pt x="2969640" y="219355"/>
                  <a:pt x="2970650" y="215989"/>
                </a:cubicBezTo>
                <a:lnTo>
                  <a:pt x="3174600" y="215989"/>
                </a:lnTo>
                <a:lnTo>
                  <a:pt x="3174600" y="267481"/>
                </a:lnTo>
                <a:lnTo>
                  <a:pt x="3040316" y="267481"/>
                </a:lnTo>
                <a:cubicBezTo>
                  <a:pt x="3040316" y="272530"/>
                  <a:pt x="3042084" y="278083"/>
                  <a:pt x="3045618" y="284141"/>
                </a:cubicBezTo>
                <a:cubicBezTo>
                  <a:pt x="3049152" y="290198"/>
                  <a:pt x="3053442" y="296172"/>
                  <a:pt x="3058490" y="302062"/>
                </a:cubicBezTo>
                <a:cubicBezTo>
                  <a:pt x="3063538" y="307952"/>
                  <a:pt x="3068924" y="313673"/>
                  <a:pt x="3074644" y="319226"/>
                </a:cubicBezTo>
                <a:cubicBezTo>
                  <a:pt x="3080366" y="324779"/>
                  <a:pt x="3085414" y="329575"/>
                  <a:pt x="3089790" y="333613"/>
                </a:cubicBezTo>
                <a:cubicBezTo>
                  <a:pt x="3098540" y="341691"/>
                  <a:pt x="3107122" y="350104"/>
                  <a:pt x="3115536" y="358855"/>
                </a:cubicBezTo>
                <a:cubicBezTo>
                  <a:pt x="3123950" y="367605"/>
                  <a:pt x="3131522" y="376692"/>
                  <a:pt x="3138252" y="386115"/>
                </a:cubicBezTo>
                <a:cubicBezTo>
                  <a:pt x="3144984" y="395539"/>
                  <a:pt x="3150368" y="405214"/>
                  <a:pt x="3154408" y="415143"/>
                </a:cubicBezTo>
                <a:cubicBezTo>
                  <a:pt x="3158446" y="425071"/>
                  <a:pt x="3160464" y="435420"/>
                  <a:pt x="3160464" y="446189"/>
                </a:cubicBezTo>
                <a:cubicBezTo>
                  <a:pt x="3160464" y="460998"/>
                  <a:pt x="3157772" y="474039"/>
                  <a:pt x="3152388" y="485313"/>
                </a:cubicBezTo>
                <a:cubicBezTo>
                  <a:pt x="3147002" y="496588"/>
                  <a:pt x="3139766" y="505927"/>
                  <a:pt x="3130680" y="513331"/>
                </a:cubicBezTo>
                <a:cubicBezTo>
                  <a:pt x="3121594" y="520735"/>
                  <a:pt x="3111160" y="526288"/>
                  <a:pt x="3099382" y="529990"/>
                </a:cubicBezTo>
                <a:cubicBezTo>
                  <a:pt x="3087602" y="533692"/>
                  <a:pt x="3075318" y="535544"/>
                  <a:pt x="3062528" y="535544"/>
                </a:cubicBezTo>
                <a:close/>
                <a:moveTo>
                  <a:pt x="2292890" y="561290"/>
                </a:moveTo>
                <a:cubicBezTo>
                  <a:pt x="2282120" y="561290"/>
                  <a:pt x="2272949" y="557756"/>
                  <a:pt x="2265377" y="550688"/>
                </a:cubicBezTo>
                <a:cubicBezTo>
                  <a:pt x="2257805" y="543621"/>
                  <a:pt x="2254018" y="533861"/>
                  <a:pt x="2254018" y="521408"/>
                </a:cubicBezTo>
                <a:cubicBezTo>
                  <a:pt x="2254018" y="509293"/>
                  <a:pt x="2257805" y="499701"/>
                  <a:pt x="2265377" y="492633"/>
                </a:cubicBezTo>
                <a:cubicBezTo>
                  <a:pt x="2272949" y="485566"/>
                  <a:pt x="2282120" y="482032"/>
                  <a:pt x="2292890" y="482032"/>
                </a:cubicBezTo>
                <a:cubicBezTo>
                  <a:pt x="2303660" y="482032"/>
                  <a:pt x="2312914" y="485566"/>
                  <a:pt x="2320655" y="492633"/>
                </a:cubicBezTo>
                <a:cubicBezTo>
                  <a:pt x="2328396" y="499701"/>
                  <a:pt x="2332266" y="509293"/>
                  <a:pt x="2332266" y="521408"/>
                </a:cubicBezTo>
                <a:cubicBezTo>
                  <a:pt x="2332266" y="533861"/>
                  <a:pt x="2328396" y="543621"/>
                  <a:pt x="2320655" y="550688"/>
                </a:cubicBezTo>
                <a:cubicBezTo>
                  <a:pt x="2312914" y="557756"/>
                  <a:pt x="2303660" y="561290"/>
                  <a:pt x="2292890" y="561290"/>
                </a:cubicBezTo>
                <a:close/>
                <a:moveTo>
                  <a:pt x="1959420" y="563309"/>
                </a:moveTo>
                <a:lnTo>
                  <a:pt x="1959420" y="511817"/>
                </a:lnTo>
                <a:lnTo>
                  <a:pt x="2025047" y="511817"/>
                </a:lnTo>
                <a:lnTo>
                  <a:pt x="2025047" y="310392"/>
                </a:lnTo>
                <a:cubicBezTo>
                  <a:pt x="2025047" y="277746"/>
                  <a:pt x="2031610" y="252926"/>
                  <a:pt x="2044735" y="235930"/>
                </a:cubicBezTo>
                <a:cubicBezTo>
                  <a:pt x="2057860" y="218934"/>
                  <a:pt x="2078727" y="210436"/>
                  <a:pt x="2107333" y="210436"/>
                </a:cubicBezTo>
                <a:cubicBezTo>
                  <a:pt x="2117767" y="210436"/>
                  <a:pt x="2127106" y="211109"/>
                  <a:pt x="2135351" y="212455"/>
                </a:cubicBezTo>
                <a:cubicBezTo>
                  <a:pt x="2143597" y="213802"/>
                  <a:pt x="2150580" y="215400"/>
                  <a:pt x="2156302" y="217251"/>
                </a:cubicBezTo>
                <a:cubicBezTo>
                  <a:pt x="2162023" y="219102"/>
                  <a:pt x="2166650" y="220869"/>
                  <a:pt x="2170184" y="222552"/>
                </a:cubicBezTo>
                <a:cubicBezTo>
                  <a:pt x="2173718" y="224235"/>
                  <a:pt x="2175990" y="225413"/>
                  <a:pt x="2176999" y="226086"/>
                </a:cubicBezTo>
                <a:lnTo>
                  <a:pt x="2168922" y="276063"/>
                </a:lnTo>
                <a:cubicBezTo>
                  <a:pt x="2166230" y="275054"/>
                  <a:pt x="2160677" y="272866"/>
                  <a:pt x="2152263" y="269501"/>
                </a:cubicBezTo>
                <a:cubicBezTo>
                  <a:pt x="2143849" y="266135"/>
                  <a:pt x="2133416" y="264452"/>
                  <a:pt x="2120964" y="264452"/>
                </a:cubicBezTo>
                <a:cubicBezTo>
                  <a:pt x="2111204" y="264452"/>
                  <a:pt x="2103126" y="267313"/>
                  <a:pt x="2096732" y="273034"/>
                </a:cubicBezTo>
                <a:cubicBezTo>
                  <a:pt x="2090338" y="278756"/>
                  <a:pt x="2087140" y="289694"/>
                  <a:pt x="2087140" y="305848"/>
                </a:cubicBezTo>
                <a:lnTo>
                  <a:pt x="2087140" y="563309"/>
                </a:lnTo>
                <a:close/>
                <a:moveTo>
                  <a:pt x="1607052" y="565833"/>
                </a:moveTo>
                <a:cubicBezTo>
                  <a:pt x="1594263" y="565833"/>
                  <a:pt x="1581811" y="564234"/>
                  <a:pt x="1569695" y="561037"/>
                </a:cubicBezTo>
                <a:cubicBezTo>
                  <a:pt x="1557579" y="557840"/>
                  <a:pt x="1546810" y="552455"/>
                  <a:pt x="1537386" y="544883"/>
                </a:cubicBezTo>
                <a:cubicBezTo>
                  <a:pt x="1527963" y="537310"/>
                  <a:pt x="1520474" y="527214"/>
                  <a:pt x="1514921" y="514593"/>
                </a:cubicBezTo>
                <a:cubicBezTo>
                  <a:pt x="1509368" y="501973"/>
                  <a:pt x="1506592" y="486071"/>
                  <a:pt x="1506592" y="466887"/>
                </a:cubicBezTo>
                <a:lnTo>
                  <a:pt x="1506592" y="453257"/>
                </a:lnTo>
                <a:lnTo>
                  <a:pt x="1454595" y="453257"/>
                </a:lnTo>
                <a:lnTo>
                  <a:pt x="1454595" y="401765"/>
                </a:lnTo>
                <a:lnTo>
                  <a:pt x="1506592" y="401765"/>
                </a:lnTo>
                <a:lnTo>
                  <a:pt x="1506592" y="215989"/>
                </a:lnTo>
                <a:lnTo>
                  <a:pt x="1569190" y="215989"/>
                </a:lnTo>
                <a:lnTo>
                  <a:pt x="1569190" y="401765"/>
                </a:lnTo>
                <a:lnTo>
                  <a:pt x="1666621" y="401765"/>
                </a:lnTo>
                <a:lnTo>
                  <a:pt x="1666621" y="453257"/>
                </a:lnTo>
                <a:lnTo>
                  <a:pt x="1569190" y="453257"/>
                </a:lnTo>
                <a:lnTo>
                  <a:pt x="1569190" y="465878"/>
                </a:lnTo>
                <a:cubicBezTo>
                  <a:pt x="1569190" y="475974"/>
                  <a:pt x="1570368" y="484135"/>
                  <a:pt x="1572724" y="490362"/>
                </a:cubicBezTo>
                <a:cubicBezTo>
                  <a:pt x="1575080" y="496588"/>
                  <a:pt x="1578193" y="501384"/>
                  <a:pt x="1582063" y="504749"/>
                </a:cubicBezTo>
                <a:cubicBezTo>
                  <a:pt x="1585933" y="508115"/>
                  <a:pt x="1590477" y="510302"/>
                  <a:pt x="1595693" y="511312"/>
                </a:cubicBezTo>
                <a:cubicBezTo>
                  <a:pt x="1600910" y="512322"/>
                  <a:pt x="1606379" y="512826"/>
                  <a:pt x="1612100" y="512826"/>
                </a:cubicBezTo>
                <a:cubicBezTo>
                  <a:pt x="1622533" y="512826"/>
                  <a:pt x="1633555" y="511396"/>
                  <a:pt x="1645166" y="508535"/>
                </a:cubicBezTo>
                <a:cubicBezTo>
                  <a:pt x="1656777" y="505675"/>
                  <a:pt x="1666453" y="502898"/>
                  <a:pt x="1674194" y="500206"/>
                </a:cubicBezTo>
                <a:lnTo>
                  <a:pt x="1684795" y="550688"/>
                </a:lnTo>
                <a:cubicBezTo>
                  <a:pt x="1673689" y="556073"/>
                  <a:pt x="1661236" y="559943"/>
                  <a:pt x="1647438" y="562299"/>
                </a:cubicBezTo>
                <a:cubicBezTo>
                  <a:pt x="1633639" y="564655"/>
                  <a:pt x="1620178" y="565833"/>
                  <a:pt x="1607052" y="565833"/>
                </a:cubicBezTo>
                <a:close/>
                <a:moveTo>
                  <a:pt x="0" y="796029"/>
                </a:moveTo>
                <a:lnTo>
                  <a:pt x="4876802" y="796029"/>
                </a:lnTo>
                <a:lnTo>
                  <a:pt x="4824822" y="344498"/>
                </a:lnTo>
                <a:cubicBezTo>
                  <a:pt x="4801968" y="145891"/>
                  <a:pt x="4682292" y="207"/>
                  <a:pt x="4541980" y="155"/>
                </a:cubicBezTo>
                <a:lnTo>
                  <a:pt x="0" y="0"/>
                </a:lnTo>
                <a:close/>
              </a:path>
            </a:pathLst>
          </a:custGeom>
          <a:solidFill>
            <a:schemeClr val="bg1"/>
          </a:solidFill>
          <a:ln w="2834" cap="flat">
            <a:noFill/>
            <a:prstDash val="solid"/>
            <a:miter/>
          </a:ln>
        </p:spPr>
        <p:txBody>
          <a:bodyPr wrap="square" rtlCol="0" anchor="ctr">
            <a:noAutofit/>
          </a:bodyPr>
          <a:lstStyle/>
          <a:p>
            <a:endParaRPr lang="en-US"/>
          </a:p>
        </p:txBody>
      </p:sp>
      <p:pic>
        <p:nvPicPr>
          <p:cNvPr id="8" name="Imagen 7" descr="Un dibujo de una cara feliz&#10;&#10;Descripción generada automáticamente con confianza baja">
            <a:extLst>
              <a:ext uri="{FF2B5EF4-FFF2-40B4-BE49-F238E27FC236}">
                <a16:creationId xmlns:a16="http://schemas.microsoft.com/office/drawing/2014/main" id="{A82FAAE7-F450-2EFB-B470-9CA2B285AACF}"/>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55650" y="533400"/>
            <a:ext cx="1801936" cy="934010"/>
          </a:xfrm>
          <a:prstGeom prst="rect">
            <a:avLst/>
          </a:prstGeom>
        </p:spPr>
      </p:pic>
    </p:spTree>
    <p:extLst>
      <p:ext uri="{BB962C8B-B14F-4D97-AF65-F5344CB8AC3E}">
        <p14:creationId xmlns:p14="http://schemas.microsoft.com/office/powerpoint/2010/main" val="326190518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ext with header">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2010B8AA-3007-4109-B528-DD30E7E165B4}"/>
              </a:ext>
            </a:extLst>
          </p:cNvPr>
          <p:cNvSpPr>
            <a:spLocks noGrp="1"/>
          </p:cNvSpPr>
          <p:nvPr>
            <p:ph type="title" hasCustomPrompt="1"/>
          </p:nvPr>
        </p:nvSpPr>
        <p:spPr/>
        <p:txBody>
          <a:bodyPr/>
          <a:lstStyle>
            <a:lvl1pPr>
              <a:defRPr/>
            </a:lvl1pPr>
          </a:lstStyle>
          <a:p>
            <a:r>
              <a:rPr lang="en-US" noProof="0"/>
              <a:t>Modifiez le style du titre</a:t>
            </a:r>
          </a:p>
        </p:txBody>
      </p:sp>
      <p:sp>
        <p:nvSpPr>
          <p:cNvPr id="6" name="Espace réservé du texte 5">
            <a:extLst>
              <a:ext uri="{FF2B5EF4-FFF2-40B4-BE49-F238E27FC236}">
                <a16:creationId xmlns:a16="http://schemas.microsoft.com/office/drawing/2014/main" id="{BC9DC688-D10B-4806-A762-99A72BBC8487}"/>
              </a:ext>
            </a:extLst>
          </p:cNvPr>
          <p:cNvSpPr>
            <a:spLocks noGrp="1"/>
          </p:cNvSpPr>
          <p:nvPr>
            <p:ph type="body" sz="quarter" idx="11" hasCustomPrompt="1"/>
          </p:nvPr>
        </p:nvSpPr>
        <p:spPr>
          <a:xfrm>
            <a:off x="651813" y="3761055"/>
            <a:ext cx="18996000" cy="6764545"/>
          </a:xfrm>
        </p:spPr>
        <p:txBody>
          <a:bodyPr/>
          <a:lstStyle/>
          <a:p>
            <a:pPr lvl="0"/>
            <a:r>
              <a:rPr lang="en-US" noProof="0" dirty="0"/>
              <a:t>Modifier les styles du </a:t>
            </a:r>
            <a:r>
              <a:rPr lang="en-US" noProof="0" dirty="0" err="1"/>
              <a:t>texte</a:t>
            </a:r>
            <a:r>
              <a:rPr lang="en-US" noProof="0" dirty="0"/>
              <a:t> du masque</a:t>
            </a:r>
          </a:p>
          <a:p>
            <a:pPr lvl="1"/>
            <a:r>
              <a:rPr lang="en-US" noProof="0" dirty="0" err="1"/>
              <a:t>Deuxième</a:t>
            </a:r>
            <a:r>
              <a:rPr lang="en-US" noProof="0" dirty="0"/>
              <a:t> </a:t>
            </a:r>
            <a:r>
              <a:rPr lang="en-US" noProof="0" dirty="0" err="1"/>
              <a:t>niveau</a:t>
            </a:r>
            <a:endParaRPr lang="en-US" noProof="0" dirty="0"/>
          </a:p>
          <a:p>
            <a:pPr lvl="2"/>
            <a:r>
              <a:rPr lang="en-US" noProof="0" dirty="0" err="1"/>
              <a:t>Troisième</a:t>
            </a:r>
            <a:r>
              <a:rPr lang="en-US" noProof="0" dirty="0"/>
              <a:t> </a:t>
            </a:r>
            <a:r>
              <a:rPr lang="en-US" noProof="0" dirty="0" err="1"/>
              <a:t>niveau</a:t>
            </a:r>
            <a:endParaRPr lang="en-US" noProof="0" dirty="0"/>
          </a:p>
          <a:p>
            <a:pPr lvl="3"/>
            <a:r>
              <a:rPr lang="en-US" noProof="0" dirty="0" err="1"/>
              <a:t>Quatrième</a:t>
            </a:r>
            <a:r>
              <a:rPr lang="en-US" noProof="0" dirty="0"/>
              <a:t> </a:t>
            </a:r>
            <a:r>
              <a:rPr lang="en-US" noProof="0" dirty="0" err="1"/>
              <a:t>niveau</a:t>
            </a:r>
            <a:endParaRPr lang="en-US" noProof="0" dirty="0"/>
          </a:p>
          <a:p>
            <a:pPr lvl="4"/>
            <a:r>
              <a:rPr lang="en-US" noProof="0" dirty="0" err="1"/>
              <a:t>Cinquième</a:t>
            </a:r>
            <a:r>
              <a:rPr lang="en-US" noProof="0" dirty="0"/>
              <a:t> </a:t>
            </a:r>
            <a:r>
              <a:rPr lang="en-US" noProof="0" dirty="0" err="1"/>
              <a:t>niveau</a:t>
            </a:r>
            <a:endParaRPr lang="en-US" noProof="0" dirty="0"/>
          </a:p>
        </p:txBody>
      </p:sp>
      <p:sp>
        <p:nvSpPr>
          <p:cNvPr id="5" name="Espace réservé du texte 2">
            <a:extLst>
              <a:ext uri="{FF2B5EF4-FFF2-40B4-BE49-F238E27FC236}">
                <a16:creationId xmlns:a16="http://schemas.microsoft.com/office/drawing/2014/main" id="{90BF571A-F98D-4B04-B0C7-2AD4346DCCCC}"/>
              </a:ext>
            </a:extLst>
          </p:cNvPr>
          <p:cNvSpPr>
            <a:spLocks noGrp="1"/>
          </p:cNvSpPr>
          <p:nvPr>
            <p:ph type="body" idx="1" hasCustomPrompt="1"/>
          </p:nvPr>
        </p:nvSpPr>
        <p:spPr>
          <a:xfrm>
            <a:off x="652985" y="2378667"/>
            <a:ext cx="18994828" cy="1144495"/>
          </a:xfrm>
        </p:spPr>
        <p:txBody>
          <a:bodyPr anchor="t"/>
          <a:lstStyle>
            <a:lvl1pPr marL="0" indent="0" algn="l">
              <a:buNone/>
              <a:defRPr sz="2968" b="0">
                <a:solidFill>
                  <a:schemeClr val="accent2"/>
                </a:solidFill>
              </a:defRPr>
            </a:lvl1pPr>
            <a:lvl2pPr marL="753923" indent="0">
              <a:buNone/>
              <a:defRPr sz="3298" b="1"/>
            </a:lvl2pPr>
            <a:lvl3pPr marL="1507846" indent="0">
              <a:buNone/>
              <a:defRPr sz="2968" b="1"/>
            </a:lvl3pPr>
            <a:lvl4pPr marL="2261768" indent="0">
              <a:buNone/>
              <a:defRPr sz="2638" b="1"/>
            </a:lvl4pPr>
            <a:lvl5pPr marL="3015691" indent="0">
              <a:buNone/>
              <a:defRPr sz="2638" b="1"/>
            </a:lvl5pPr>
            <a:lvl6pPr marL="3769614" indent="0">
              <a:buNone/>
              <a:defRPr sz="2638" b="1"/>
            </a:lvl6pPr>
            <a:lvl7pPr marL="4523537" indent="0">
              <a:buNone/>
              <a:defRPr sz="2638" b="1"/>
            </a:lvl7pPr>
            <a:lvl8pPr marL="5277460" indent="0">
              <a:buNone/>
              <a:defRPr sz="2638" b="1"/>
            </a:lvl8pPr>
            <a:lvl9pPr marL="6031382" indent="0">
              <a:buNone/>
              <a:defRPr sz="2638" b="1"/>
            </a:lvl9pPr>
          </a:lstStyle>
          <a:p>
            <a:pPr lvl="0"/>
            <a:r>
              <a:rPr lang="en-US" noProof="0" dirty="0"/>
              <a:t>Modifier les styles du </a:t>
            </a:r>
            <a:r>
              <a:rPr lang="en-US" noProof="0" dirty="0" err="1"/>
              <a:t>texte</a:t>
            </a:r>
            <a:r>
              <a:rPr lang="en-US" noProof="0" dirty="0"/>
              <a:t> du masque</a:t>
            </a:r>
          </a:p>
        </p:txBody>
      </p:sp>
    </p:spTree>
    <p:extLst>
      <p:ext uri="{BB962C8B-B14F-4D97-AF65-F5344CB8AC3E}">
        <p14:creationId xmlns:p14="http://schemas.microsoft.com/office/powerpoint/2010/main" val="75688865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2010B8AA-3007-4109-B528-DD30E7E165B4}"/>
              </a:ext>
            </a:extLst>
          </p:cNvPr>
          <p:cNvSpPr>
            <a:spLocks noGrp="1"/>
          </p:cNvSpPr>
          <p:nvPr>
            <p:ph type="title" hasCustomPrompt="1"/>
          </p:nvPr>
        </p:nvSpPr>
        <p:spPr/>
        <p:txBody>
          <a:bodyPr/>
          <a:lstStyle/>
          <a:p>
            <a:r>
              <a:rPr lang="en-US" noProof="0"/>
              <a:t>Modifiez le style du titre</a:t>
            </a:r>
          </a:p>
        </p:txBody>
      </p:sp>
      <p:sp>
        <p:nvSpPr>
          <p:cNvPr id="6" name="Espace réservé du texte 5">
            <a:extLst>
              <a:ext uri="{FF2B5EF4-FFF2-40B4-BE49-F238E27FC236}">
                <a16:creationId xmlns:a16="http://schemas.microsoft.com/office/drawing/2014/main" id="{BC9DC688-D10B-4806-A762-99A72BBC8487}"/>
              </a:ext>
            </a:extLst>
          </p:cNvPr>
          <p:cNvSpPr>
            <a:spLocks noGrp="1"/>
          </p:cNvSpPr>
          <p:nvPr>
            <p:ph type="body" sz="quarter" idx="11" hasCustomPrompt="1"/>
          </p:nvPr>
        </p:nvSpPr>
        <p:spPr>
          <a:xfrm>
            <a:off x="651813" y="2378667"/>
            <a:ext cx="8904375" cy="8146933"/>
          </a:xfrm>
        </p:spPr>
        <p:txBody>
          <a:body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5" name="Espace réservé du texte 5">
            <a:extLst>
              <a:ext uri="{FF2B5EF4-FFF2-40B4-BE49-F238E27FC236}">
                <a16:creationId xmlns:a16="http://schemas.microsoft.com/office/drawing/2014/main" id="{50795513-6C8B-471F-8A2C-96B5EF9EAC8D}"/>
              </a:ext>
            </a:extLst>
          </p:cNvPr>
          <p:cNvSpPr>
            <a:spLocks noGrp="1"/>
          </p:cNvSpPr>
          <p:nvPr>
            <p:ph type="body" sz="quarter" idx="12" hasCustomPrompt="1"/>
          </p:nvPr>
        </p:nvSpPr>
        <p:spPr>
          <a:xfrm>
            <a:off x="10765183" y="2394772"/>
            <a:ext cx="8904375" cy="8146933"/>
          </a:xfrm>
        </p:spPr>
        <p:txBody>
          <a:body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Tree>
    <p:extLst>
      <p:ext uri="{BB962C8B-B14F-4D97-AF65-F5344CB8AC3E}">
        <p14:creationId xmlns:p14="http://schemas.microsoft.com/office/powerpoint/2010/main" val="196532915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2 columns with header">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2010B8AA-3007-4109-B528-DD30E7E165B4}"/>
              </a:ext>
            </a:extLst>
          </p:cNvPr>
          <p:cNvSpPr>
            <a:spLocks noGrp="1"/>
          </p:cNvSpPr>
          <p:nvPr>
            <p:ph type="title" hasCustomPrompt="1"/>
          </p:nvPr>
        </p:nvSpPr>
        <p:spPr/>
        <p:txBody>
          <a:bodyPr/>
          <a:lstStyle/>
          <a:p>
            <a:r>
              <a:rPr lang="en-US" noProof="0"/>
              <a:t>Modifiez le style du titre</a:t>
            </a:r>
          </a:p>
        </p:txBody>
      </p:sp>
      <p:sp>
        <p:nvSpPr>
          <p:cNvPr id="6" name="Espace réservé du texte 5">
            <a:extLst>
              <a:ext uri="{FF2B5EF4-FFF2-40B4-BE49-F238E27FC236}">
                <a16:creationId xmlns:a16="http://schemas.microsoft.com/office/drawing/2014/main" id="{BC9DC688-D10B-4806-A762-99A72BBC8487}"/>
              </a:ext>
            </a:extLst>
          </p:cNvPr>
          <p:cNvSpPr>
            <a:spLocks noGrp="1"/>
          </p:cNvSpPr>
          <p:nvPr>
            <p:ph type="body" sz="quarter" idx="11" hasCustomPrompt="1"/>
          </p:nvPr>
        </p:nvSpPr>
        <p:spPr>
          <a:xfrm>
            <a:off x="651813" y="3611361"/>
            <a:ext cx="8904375" cy="6914239"/>
          </a:xfrm>
        </p:spPr>
        <p:txBody>
          <a:body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5" name="Espace réservé du texte 5">
            <a:extLst>
              <a:ext uri="{FF2B5EF4-FFF2-40B4-BE49-F238E27FC236}">
                <a16:creationId xmlns:a16="http://schemas.microsoft.com/office/drawing/2014/main" id="{50795513-6C8B-471F-8A2C-96B5EF9EAC8D}"/>
              </a:ext>
            </a:extLst>
          </p:cNvPr>
          <p:cNvSpPr>
            <a:spLocks noGrp="1"/>
          </p:cNvSpPr>
          <p:nvPr>
            <p:ph type="body" sz="quarter" idx="12" hasCustomPrompt="1"/>
          </p:nvPr>
        </p:nvSpPr>
        <p:spPr>
          <a:xfrm>
            <a:off x="10765183" y="3627467"/>
            <a:ext cx="8904375" cy="6914239"/>
          </a:xfrm>
        </p:spPr>
        <p:txBody>
          <a:body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
        <p:nvSpPr>
          <p:cNvPr id="7" name="Espace réservé du texte 2">
            <a:extLst>
              <a:ext uri="{FF2B5EF4-FFF2-40B4-BE49-F238E27FC236}">
                <a16:creationId xmlns:a16="http://schemas.microsoft.com/office/drawing/2014/main" id="{ADD39656-6120-4639-8078-610F4ABE8F5D}"/>
              </a:ext>
            </a:extLst>
          </p:cNvPr>
          <p:cNvSpPr>
            <a:spLocks noGrp="1"/>
          </p:cNvSpPr>
          <p:nvPr>
            <p:ph type="body" idx="1" hasCustomPrompt="1"/>
          </p:nvPr>
        </p:nvSpPr>
        <p:spPr>
          <a:xfrm>
            <a:off x="652986" y="2378667"/>
            <a:ext cx="8904375" cy="951467"/>
          </a:xfrm>
        </p:spPr>
        <p:txBody>
          <a:bodyPr anchor="ctr"/>
          <a:lstStyle>
            <a:lvl1pPr marL="0" indent="0">
              <a:buNone/>
              <a:defRPr sz="2968" b="0">
                <a:solidFill>
                  <a:schemeClr val="accent2"/>
                </a:solidFill>
              </a:defRPr>
            </a:lvl1pPr>
            <a:lvl2pPr marL="753923" indent="0">
              <a:buNone/>
              <a:defRPr sz="3298" b="1"/>
            </a:lvl2pPr>
            <a:lvl3pPr marL="1507846" indent="0">
              <a:buNone/>
              <a:defRPr sz="2968" b="1"/>
            </a:lvl3pPr>
            <a:lvl4pPr marL="2261768" indent="0">
              <a:buNone/>
              <a:defRPr sz="2638" b="1"/>
            </a:lvl4pPr>
            <a:lvl5pPr marL="3015691" indent="0">
              <a:buNone/>
              <a:defRPr sz="2638" b="1"/>
            </a:lvl5pPr>
            <a:lvl6pPr marL="3769614" indent="0">
              <a:buNone/>
              <a:defRPr sz="2638" b="1"/>
            </a:lvl6pPr>
            <a:lvl7pPr marL="4523537" indent="0">
              <a:buNone/>
              <a:defRPr sz="2638" b="1"/>
            </a:lvl7pPr>
            <a:lvl8pPr marL="5277460" indent="0">
              <a:buNone/>
              <a:defRPr sz="2638" b="1"/>
            </a:lvl8pPr>
            <a:lvl9pPr marL="6031382" indent="0">
              <a:buNone/>
              <a:defRPr sz="2638" b="1"/>
            </a:lvl9pPr>
          </a:lstStyle>
          <a:p>
            <a:pPr lvl="0"/>
            <a:r>
              <a:rPr lang="en-US" noProof="0"/>
              <a:t>Modifier les styles du texte du masque</a:t>
            </a:r>
          </a:p>
        </p:txBody>
      </p:sp>
      <p:sp>
        <p:nvSpPr>
          <p:cNvPr id="8" name="Espace réservé du texte 4">
            <a:extLst>
              <a:ext uri="{FF2B5EF4-FFF2-40B4-BE49-F238E27FC236}">
                <a16:creationId xmlns:a16="http://schemas.microsoft.com/office/drawing/2014/main" id="{CBE5EEAC-C5CA-4145-BC80-A32F86DFD974}"/>
              </a:ext>
            </a:extLst>
          </p:cNvPr>
          <p:cNvSpPr>
            <a:spLocks noGrp="1"/>
          </p:cNvSpPr>
          <p:nvPr>
            <p:ph type="body" sz="quarter" idx="3" hasCustomPrompt="1"/>
          </p:nvPr>
        </p:nvSpPr>
        <p:spPr>
          <a:xfrm>
            <a:off x="10765183" y="2378667"/>
            <a:ext cx="8904375" cy="951467"/>
          </a:xfrm>
        </p:spPr>
        <p:txBody>
          <a:bodyPr anchor="ctr"/>
          <a:lstStyle>
            <a:lvl1pPr marL="0" indent="0">
              <a:buNone/>
              <a:defRPr sz="2968" b="0">
                <a:solidFill>
                  <a:schemeClr val="accent2"/>
                </a:solidFill>
              </a:defRPr>
            </a:lvl1pPr>
            <a:lvl2pPr marL="753923" indent="0">
              <a:buNone/>
              <a:defRPr sz="3298" b="1"/>
            </a:lvl2pPr>
            <a:lvl3pPr marL="1507846" indent="0">
              <a:buNone/>
              <a:defRPr sz="2968" b="1"/>
            </a:lvl3pPr>
            <a:lvl4pPr marL="2261768" indent="0">
              <a:buNone/>
              <a:defRPr sz="2638" b="1"/>
            </a:lvl4pPr>
            <a:lvl5pPr marL="3015691" indent="0">
              <a:buNone/>
              <a:defRPr sz="2638" b="1"/>
            </a:lvl5pPr>
            <a:lvl6pPr marL="3769614" indent="0">
              <a:buNone/>
              <a:defRPr sz="2638" b="1"/>
            </a:lvl6pPr>
            <a:lvl7pPr marL="4523537" indent="0">
              <a:buNone/>
              <a:defRPr sz="2638" b="1"/>
            </a:lvl7pPr>
            <a:lvl8pPr marL="5277460" indent="0">
              <a:buNone/>
              <a:defRPr sz="2638" b="1"/>
            </a:lvl8pPr>
            <a:lvl9pPr marL="6031382" indent="0">
              <a:buNone/>
              <a:defRPr sz="2638" b="1"/>
            </a:lvl9pPr>
          </a:lstStyle>
          <a:p>
            <a:pPr lvl="0"/>
            <a:r>
              <a:rPr lang="en-US" noProof="0"/>
              <a:t>Modifier les styles du texte du masque</a:t>
            </a:r>
          </a:p>
        </p:txBody>
      </p:sp>
    </p:spTree>
    <p:extLst>
      <p:ext uri="{BB962C8B-B14F-4D97-AF65-F5344CB8AC3E}">
        <p14:creationId xmlns:p14="http://schemas.microsoft.com/office/powerpoint/2010/main" val="318283080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3 columns with Conten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17D633B-0BFE-4D58-A316-29342A929DF8}"/>
              </a:ext>
            </a:extLst>
          </p:cNvPr>
          <p:cNvSpPr/>
          <p:nvPr userDrawn="1"/>
        </p:nvSpPr>
        <p:spPr bwMode="ltGray">
          <a:xfrm>
            <a:off x="0" y="6734719"/>
            <a:ext cx="20104100" cy="4593681"/>
          </a:xfrm>
          <a:prstGeom prst="rect">
            <a:avLst/>
          </a:prstGeom>
          <a:solidFill>
            <a:schemeClr val="tx1">
              <a:alpha val="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p>
        </p:txBody>
      </p:sp>
      <p:sp>
        <p:nvSpPr>
          <p:cNvPr id="2" name="Titre 1">
            <a:extLst>
              <a:ext uri="{FF2B5EF4-FFF2-40B4-BE49-F238E27FC236}">
                <a16:creationId xmlns:a16="http://schemas.microsoft.com/office/drawing/2014/main" id="{2FF2BFA1-3446-44BB-89B6-E47BC38E10DD}"/>
              </a:ext>
            </a:extLst>
          </p:cNvPr>
          <p:cNvSpPr>
            <a:spLocks noGrp="1"/>
          </p:cNvSpPr>
          <p:nvPr>
            <p:ph type="title" hasCustomPrompt="1"/>
          </p:nvPr>
        </p:nvSpPr>
        <p:spPr/>
        <p:txBody>
          <a:bodyPr/>
          <a:lstStyle>
            <a:lvl1pPr>
              <a:defRPr/>
            </a:lvl1pPr>
          </a:lstStyle>
          <a:p>
            <a:r>
              <a:rPr lang="en-US" noProof="0"/>
              <a:t>Modifiez le style du titre</a:t>
            </a:r>
          </a:p>
        </p:txBody>
      </p:sp>
      <p:sp>
        <p:nvSpPr>
          <p:cNvPr id="23" name="Text Placeholder 4">
            <a:extLst>
              <a:ext uri="{FF2B5EF4-FFF2-40B4-BE49-F238E27FC236}">
                <a16:creationId xmlns:a16="http://schemas.microsoft.com/office/drawing/2014/main" id="{90401A7E-940D-4E34-AE04-1569095E0369}"/>
              </a:ext>
            </a:extLst>
          </p:cNvPr>
          <p:cNvSpPr>
            <a:spLocks noGrp="1"/>
          </p:cNvSpPr>
          <p:nvPr>
            <p:ph type="body" sz="quarter" idx="13" hasCustomPrompt="1"/>
          </p:nvPr>
        </p:nvSpPr>
        <p:spPr>
          <a:xfrm>
            <a:off x="652986" y="2378667"/>
            <a:ext cx="5936250" cy="681163"/>
          </a:xfrm>
          <a:prstGeom prst="rect">
            <a:avLst/>
          </a:prstGeom>
          <a:noFill/>
        </p:spPr>
        <p:txBody>
          <a:bodyPr anchor="ctr">
            <a:noAutofit/>
          </a:bodyPr>
          <a:lstStyle>
            <a:lvl1pPr algn="l">
              <a:defRPr sz="2968" b="0">
                <a:solidFill>
                  <a:srgbClr val="12ABDB"/>
                </a:solidFill>
              </a:defRPr>
            </a:lvl1pPr>
            <a:lvl2pPr>
              <a:defRPr sz="2309"/>
            </a:lvl2pPr>
            <a:lvl3pPr>
              <a:defRPr sz="1979"/>
            </a:lvl3pPr>
            <a:lvl4pPr>
              <a:defRPr sz="1814"/>
            </a:lvl4pPr>
            <a:lvl5pPr>
              <a:defRPr sz="1814"/>
            </a:lvl5pPr>
          </a:lstStyle>
          <a:p>
            <a:pPr lvl="0"/>
            <a:r>
              <a:rPr lang="en-US" noProof="0"/>
              <a:t>Click to insert title</a:t>
            </a:r>
          </a:p>
        </p:txBody>
      </p:sp>
      <p:sp>
        <p:nvSpPr>
          <p:cNvPr id="24" name="Text Placeholder 4">
            <a:extLst>
              <a:ext uri="{FF2B5EF4-FFF2-40B4-BE49-F238E27FC236}">
                <a16:creationId xmlns:a16="http://schemas.microsoft.com/office/drawing/2014/main" id="{F902169D-8617-4138-89F9-A6FA7F06622A}"/>
              </a:ext>
            </a:extLst>
          </p:cNvPr>
          <p:cNvSpPr>
            <a:spLocks noGrp="1"/>
          </p:cNvSpPr>
          <p:nvPr>
            <p:ph type="body" sz="quarter" idx="27" hasCustomPrompt="1"/>
          </p:nvPr>
        </p:nvSpPr>
        <p:spPr>
          <a:xfrm>
            <a:off x="13732934" y="2378667"/>
            <a:ext cx="5936250" cy="681163"/>
          </a:xfrm>
          <a:prstGeom prst="rect">
            <a:avLst/>
          </a:prstGeom>
          <a:noFill/>
        </p:spPr>
        <p:txBody>
          <a:bodyPr anchor="ctr">
            <a:noAutofit/>
          </a:bodyPr>
          <a:lstStyle>
            <a:lvl1pPr algn="l">
              <a:defRPr sz="2968" b="0">
                <a:solidFill>
                  <a:srgbClr val="12ABDB"/>
                </a:solidFill>
              </a:defRPr>
            </a:lvl1pPr>
            <a:lvl2pPr>
              <a:defRPr sz="2309"/>
            </a:lvl2pPr>
            <a:lvl3pPr>
              <a:defRPr sz="1979"/>
            </a:lvl3pPr>
            <a:lvl4pPr>
              <a:defRPr sz="1814"/>
            </a:lvl4pPr>
            <a:lvl5pPr>
              <a:defRPr sz="1814"/>
            </a:lvl5pPr>
          </a:lstStyle>
          <a:p>
            <a:pPr lvl="0"/>
            <a:r>
              <a:rPr lang="en-US" noProof="0"/>
              <a:t>Click to insert title</a:t>
            </a:r>
          </a:p>
        </p:txBody>
      </p:sp>
      <p:sp>
        <p:nvSpPr>
          <p:cNvPr id="25" name="Text Placeholder 4">
            <a:extLst>
              <a:ext uri="{FF2B5EF4-FFF2-40B4-BE49-F238E27FC236}">
                <a16:creationId xmlns:a16="http://schemas.microsoft.com/office/drawing/2014/main" id="{34544FEB-328F-4B0A-B598-69DFCF9F59B2}"/>
              </a:ext>
            </a:extLst>
          </p:cNvPr>
          <p:cNvSpPr>
            <a:spLocks noGrp="1"/>
          </p:cNvSpPr>
          <p:nvPr>
            <p:ph type="body" sz="quarter" idx="29" hasCustomPrompt="1"/>
          </p:nvPr>
        </p:nvSpPr>
        <p:spPr>
          <a:xfrm>
            <a:off x="7258794" y="2378667"/>
            <a:ext cx="5936250" cy="681163"/>
          </a:xfrm>
          <a:prstGeom prst="rect">
            <a:avLst/>
          </a:prstGeom>
          <a:noFill/>
        </p:spPr>
        <p:txBody>
          <a:bodyPr anchor="ctr">
            <a:noAutofit/>
          </a:bodyPr>
          <a:lstStyle>
            <a:lvl1pPr algn="l">
              <a:defRPr sz="2968" b="0">
                <a:solidFill>
                  <a:srgbClr val="12ABDB"/>
                </a:solidFill>
              </a:defRPr>
            </a:lvl1pPr>
            <a:lvl2pPr>
              <a:defRPr sz="2309"/>
            </a:lvl2pPr>
            <a:lvl3pPr>
              <a:defRPr sz="1979"/>
            </a:lvl3pPr>
            <a:lvl4pPr>
              <a:defRPr sz="1814"/>
            </a:lvl4pPr>
            <a:lvl5pPr>
              <a:defRPr sz="1814"/>
            </a:lvl5pPr>
          </a:lstStyle>
          <a:p>
            <a:pPr lvl="0"/>
            <a:r>
              <a:rPr lang="en-US" noProof="0"/>
              <a:t>Click to insert title</a:t>
            </a:r>
          </a:p>
        </p:txBody>
      </p:sp>
      <p:sp>
        <p:nvSpPr>
          <p:cNvPr id="26" name="Text Placeholder 4">
            <a:extLst>
              <a:ext uri="{FF2B5EF4-FFF2-40B4-BE49-F238E27FC236}">
                <a16:creationId xmlns:a16="http://schemas.microsoft.com/office/drawing/2014/main" id="{1616D9A8-5891-44FB-BF3D-E4EEFE88D97C}"/>
              </a:ext>
            </a:extLst>
          </p:cNvPr>
          <p:cNvSpPr>
            <a:spLocks noGrp="1"/>
          </p:cNvSpPr>
          <p:nvPr>
            <p:ph type="body" sz="quarter" idx="31" hasCustomPrompt="1"/>
          </p:nvPr>
        </p:nvSpPr>
        <p:spPr>
          <a:xfrm>
            <a:off x="652986" y="6990631"/>
            <a:ext cx="18996000" cy="6811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dirty="0"/>
              <a:t>Click to insert section title</a:t>
            </a:r>
          </a:p>
        </p:txBody>
      </p:sp>
      <p:sp>
        <p:nvSpPr>
          <p:cNvPr id="27" name="Text Placeholder 7">
            <a:extLst>
              <a:ext uri="{FF2B5EF4-FFF2-40B4-BE49-F238E27FC236}">
                <a16:creationId xmlns:a16="http://schemas.microsoft.com/office/drawing/2014/main" id="{20A5D04E-30DA-4CE3-9AB4-BE54BD09D9E3}"/>
              </a:ext>
            </a:extLst>
          </p:cNvPr>
          <p:cNvSpPr>
            <a:spLocks noGrp="1"/>
          </p:cNvSpPr>
          <p:nvPr>
            <p:ph type="body" sz="quarter" idx="32" hasCustomPrompt="1"/>
          </p:nvPr>
        </p:nvSpPr>
        <p:spPr>
          <a:xfrm>
            <a:off x="652988" y="3151734"/>
            <a:ext cx="5936250" cy="3294607"/>
          </a:xfrm>
          <a:prstGeom prst="rect">
            <a:avLst/>
          </a:prstGeom>
        </p:spPr>
        <p:txBody>
          <a:bodyPr>
            <a:noAutofit/>
          </a:bodyPr>
          <a:lstStyle>
            <a:lvl1pPr>
              <a:lnSpc>
                <a:spcPts val="2638"/>
              </a:lnSpc>
              <a:defRPr sz="2309">
                <a:solidFill>
                  <a:schemeClr val="tx1"/>
                </a:solidFill>
              </a:defRPr>
            </a:lvl1pPr>
            <a:lvl2pPr marL="285340" indent="-277485">
              <a:lnSpc>
                <a:spcPts val="2309"/>
              </a:lnSpc>
              <a:defRPr sz="1979">
                <a:solidFill>
                  <a:schemeClr val="tx1"/>
                </a:solidFill>
              </a:defRPr>
            </a:lvl2pPr>
            <a:lvl3pPr marL="573296" indent="-287957">
              <a:lnSpc>
                <a:spcPts val="2309"/>
              </a:lnSpc>
              <a:defRPr sz="1979">
                <a:solidFill>
                  <a:schemeClr val="tx1"/>
                </a:solidFill>
              </a:defRPr>
            </a:lvl3pPr>
            <a:lvl4pPr marL="840311" indent="-267014">
              <a:lnSpc>
                <a:spcPts val="1979"/>
              </a:lnSpc>
              <a:defRPr sz="1814">
                <a:solidFill>
                  <a:schemeClr val="tx1"/>
                </a:solidFill>
              </a:defRPr>
            </a:lvl4pPr>
            <a:lvl5pPr>
              <a:lnSpc>
                <a:spcPct val="100000"/>
              </a:lnSpc>
              <a:defRPr sz="1979">
                <a:solidFill>
                  <a:schemeClr val="tx1"/>
                </a:solidFill>
              </a:defRPr>
            </a:lvl5pPr>
          </a:lstStyle>
          <a:p>
            <a:pPr lvl="0"/>
            <a:r>
              <a:rPr lang="en-US" dirty="0"/>
              <a:t>Click to insert text</a:t>
            </a:r>
          </a:p>
        </p:txBody>
      </p:sp>
      <p:sp>
        <p:nvSpPr>
          <p:cNvPr id="28" name="Text Placeholder 7">
            <a:extLst>
              <a:ext uri="{FF2B5EF4-FFF2-40B4-BE49-F238E27FC236}">
                <a16:creationId xmlns:a16="http://schemas.microsoft.com/office/drawing/2014/main" id="{D41AA623-196A-443E-894B-4DFC49358122}"/>
              </a:ext>
            </a:extLst>
          </p:cNvPr>
          <p:cNvSpPr>
            <a:spLocks noGrp="1"/>
          </p:cNvSpPr>
          <p:nvPr>
            <p:ph type="body" sz="quarter" idx="33" hasCustomPrompt="1"/>
          </p:nvPr>
        </p:nvSpPr>
        <p:spPr>
          <a:xfrm>
            <a:off x="7258794" y="3151734"/>
            <a:ext cx="5936250" cy="3294607"/>
          </a:xfrm>
          <a:prstGeom prst="rect">
            <a:avLst/>
          </a:prstGeom>
        </p:spPr>
        <p:txBody>
          <a:bodyPr>
            <a:noAutofit/>
          </a:bodyPr>
          <a:lstStyle>
            <a:lvl1pPr>
              <a:lnSpc>
                <a:spcPts val="2638"/>
              </a:lnSpc>
              <a:defRPr sz="2309">
                <a:solidFill>
                  <a:schemeClr val="tx1"/>
                </a:solidFill>
              </a:defRPr>
            </a:lvl1pPr>
            <a:lvl2pPr marL="285340" indent="-277485">
              <a:lnSpc>
                <a:spcPts val="2309"/>
              </a:lnSpc>
              <a:defRPr sz="1979">
                <a:solidFill>
                  <a:schemeClr val="tx1"/>
                </a:solidFill>
              </a:defRPr>
            </a:lvl2pPr>
            <a:lvl3pPr marL="573296" indent="-287957">
              <a:lnSpc>
                <a:spcPts val="2309"/>
              </a:lnSpc>
              <a:defRPr sz="1979">
                <a:solidFill>
                  <a:schemeClr val="tx1"/>
                </a:solidFill>
              </a:defRPr>
            </a:lvl3pPr>
            <a:lvl4pPr marL="840311" indent="-267014">
              <a:lnSpc>
                <a:spcPts val="1979"/>
              </a:lnSpc>
              <a:defRPr sz="1814">
                <a:solidFill>
                  <a:schemeClr val="tx1"/>
                </a:solidFill>
              </a:defRPr>
            </a:lvl4pPr>
            <a:lvl5pPr>
              <a:lnSpc>
                <a:spcPct val="100000"/>
              </a:lnSpc>
              <a:defRPr sz="1979">
                <a:solidFill>
                  <a:schemeClr val="tx1"/>
                </a:solidFill>
              </a:defRPr>
            </a:lvl5pPr>
          </a:lstStyle>
          <a:p>
            <a:pPr lvl="0"/>
            <a:r>
              <a:rPr lang="en-US" dirty="0"/>
              <a:t>Click to insert text</a:t>
            </a:r>
          </a:p>
        </p:txBody>
      </p:sp>
      <p:sp>
        <p:nvSpPr>
          <p:cNvPr id="29" name="Text Placeholder 7">
            <a:extLst>
              <a:ext uri="{FF2B5EF4-FFF2-40B4-BE49-F238E27FC236}">
                <a16:creationId xmlns:a16="http://schemas.microsoft.com/office/drawing/2014/main" id="{D80E12C0-6E1E-43DD-A338-A4D7F5D6D138}"/>
              </a:ext>
            </a:extLst>
          </p:cNvPr>
          <p:cNvSpPr>
            <a:spLocks noGrp="1"/>
          </p:cNvSpPr>
          <p:nvPr>
            <p:ph type="body" sz="quarter" idx="34" hasCustomPrompt="1"/>
          </p:nvPr>
        </p:nvSpPr>
        <p:spPr>
          <a:xfrm>
            <a:off x="13732934" y="3151734"/>
            <a:ext cx="5936250" cy="3294607"/>
          </a:xfrm>
          <a:prstGeom prst="rect">
            <a:avLst/>
          </a:prstGeom>
        </p:spPr>
        <p:txBody>
          <a:bodyPr>
            <a:noAutofit/>
          </a:bodyPr>
          <a:lstStyle>
            <a:lvl1pPr>
              <a:lnSpc>
                <a:spcPts val="2638"/>
              </a:lnSpc>
              <a:defRPr sz="2309">
                <a:solidFill>
                  <a:schemeClr val="tx1"/>
                </a:solidFill>
              </a:defRPr>
            </a:lvl1pPr>
            <a:lvl2pPr marL="285340" indent="-277485">
              <a:lnSpc>
                <a:spcPts val="2309"/>
              </a:lnSpc>
              <a:defRPr sz="1979">
                <a:solidFill>
                  <a:schemeClr val="tx1"/>
                </a:solidFill>
              </a:defRPr>
            </a:lvl2pPr>
            <a:lvl3pPr marL="573296" indent="-287957">
              <a:lnSpc>
                <a:spcPts val="2309"/>
              </a:lnSpc>
              <a:defRPr sz="1979">
                <a:solidFill>
                  <a:schemeClr val="tx1"/>
                </a:solidFill>
              </a:defRPr>
            </a:lvl3pPr>
            <a:lvl4pPr marL="840311" indent="-267014">
              <a:lnSpc>
                <a:spcPts val="1979"/>
              </a:lnSpc>
              <a:defRPr sz="1814">
                <a:solidFill>
                  <a:schemeClr val="tx1"/>
                </a:solidFill>
              </a:defRPr>
            </a:lvl4pPr>
            <a:lvl5pPr>
              <a:lnSpc>
                <a:spcPct val="100000"/>
              </a:lnSpc>
              <a:defRPr sz="1979">
                <a:solidFill>
                  <a:schemeClr val="tx1"/>
                </a:solidFill>
              </a:defRPr>
            </a:lvl5pPr>
          </a:lstStyle>
          <a:p>
            <a:pPr lvl="0"/>
            <a:r>
              <a:rPr lang="en-US" dirty="0"/>
              <a:t>Click to insert text</a:t>
            </a:r>
          </a:p>
        </p:txBody>
      </p:sp>
      <p:sp>
        <p:nvSpPr>
          <p:cNvPr id="30" name="Text Placeholder 3">
            <a:extLst>
              <a:ext uri="{FF2B5EF4-FFF2-40B4-BE49-F238E27FC236}">
                <a16:creationId xmlns:a16="http://schemas.microsoft.com/office/drawing/2014/main" id="{7870C889-9BBC-4888-812F-9FFA8DFE267E}"/>
              </a:ext>
            </a:extLst>
          </p:cNvPr>
          <p:cNvSpPr>
            <a:spLocks noGrp="1"/>
          </p:cNvSpPr>
          <p:nvPr>
            <p:ph type="body" sz="quarter" idx="10" hasCustomPrompt="1"/>
          </p:nvPr>
        </p:nvSpPr>
        <p:spPr>
          <a:xfrm>
            <a:off x="672754" y="7781124"/>
            <a:ext cx="18996000" cy="2760581"/>
          </a:xfrm>
          <a:prstGeom prst="rect">
            <a:avLst/>
          </a:prstGeom>
        </p:spPr>
        <p:txBody>
          <a:bodyPr/>
          <a:lstStyle>
            <a:lvl2pPr>
              <a:defRPr/>
            </a:lvl2pPr>
            <a:lvl5pPr marL="1507846" indent="-382197">
              <a:defRPr/>
            </a:lvl5pPr>
          </a:lstStyle>
          <a:p>
            <a:pPr lvl="1"/>
            <a:r>
              <a:rPr lang="en-US" dirty="0"/>
              <a:t>Placeholder</a:t>
            </a:r>
          </a:p>
          <a:p>
            <a:pPr lvl="2"/>
            <a:r>
              <a:rPr lang="en-US" dirty="0"/>
              <a:t>Placeholder</a:t>
            </a:r>
          </a:p>
          <a:p>
            <a:pPr lvl="3"/>
            <a:r>
              <a:rPr lang="en-US" dirty="0"/>
              <a:t>Placeholder</a:t>
            </a:r>
          </a:p>
          <a:p>
            <a:pPr lvl="3"/>
            <a:endParaRPr lang="en-US" dirty="0"/>
          </a:p>
        </p:txBody>
      </p:sp>
    </p:spTree>
    <p:extLst>
      <p:ext uri="{BB962C8B-B14F-4D97-AF65-F5344CB8AC3E}">
        <p14:creationId xmlns:p14="http://schemas.microsoft.com/office/powerpoint/2010/main" val="167379197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able of Content 1">
    <p:spTree>
      <p:nvGrpSpPr>
        <p:cNvPr id="1" name=""/>
        <p:cNvGrpSpPr/>
        <p:nvPr/>
      </p:nvGrpSpPr>
      <p:grpSpPr>
        <a:xfrm>
          <a:off x="0" y="0"/>
          <a:ext cx="0" cy="0"/>
          <a:chOff x="0" y="0"/>
          <a:chExt cx="0" cy="0"/>
        </a:xfrm>
      </p:grpSpPr>
      <p:sp>
        <p:nvSpPr>
          <p:cNvPr id="13" name="Freeform 10">
            <a:extLst>
              <a:ext uri="{FF2B5EF4-FFF2-40B4-BE49-F238E27FC236}">
                <a16:creationId xmlns:a16="http://schemas.microsoft.com/office/drawing/2014/main" id="{CC19F88E-D469-46FF-8BE9-FEB21662F4F4}"/>
              </a:ext>
            </a:extLst>
          </p:cNvPr>
          <p:cNvSpPr>
            <a:spLocks/>
          </p:cNvSpPr>
          <p:nvPr userDrawn="1"/>
        </p:nvSpPr>
        <p:spPr bwMode="auto">
          <a:xfrm flipV="1">
            <a:off x="0" y="668690"/>
            <a:ext cx="7413387" cy="10659709"/>
          </a:xfrm>
          <a:custGeom>
            <a:avLst/>
            <a:gdLst>
              <a:gd name="T0" fmla="*/ 0 w 532"/>
              <a:gd name="T1" fmla="*/ 0 h 861"/>
              <a:gd name="T2" fmla="*/ 0 w 532"/>
              <a:gd name="T3" fmla="*/ 727 h 861"/>
              <a:gd name="T4" fmla="*/ 532 w 532"/>
              <a:gd name="T5" fmla="*/ 616 h 861"/>
              <a:gd name="T6" fmla="*/ 532 w 532"/>
              <a:gd name="T7" fmla="*/ 0 h 861"/>
              <a:gd name="T8" fmla="*/ 0 w 532"/>
              <a:gd name="T9" fmla="*/ 0 h 861"/>
            </a:gdLst>
            <a:ahLst/>
            <a:cxnLst>
              <a:cxn ang="0">
                <a:pos x="T0" y="T1"/>
              </a:cxn>
              <a:cxn ang="0">
                <a:pos x="T2" y="T3"/>
              </a:cxn>
              <a:cxn ang="0">
                <a:pos x="T4" y="T5"/>
              </a:cxn>
              <a:cxn ang="0">
                <a:pos x="T6" y="T7"/>
              </a:cxn>
              <a:cxn ang="0">
                <a:pos x="T8" y="T9"/>
              </a:cxn>
            </a:cxnLst>
            <a:rect l="0" t="0" r="r" b="b"/>
            <a:pathLst>
              <a:path w="532" h="861">
                <a:moveTo>
                  <a:pt x="0" y="0"/>
                </a:moveTo>
                <a:cubicBezTo>
                  <a:pt x="0" y="727"/>
                  <a:pt x="0" y="727"/>
                  <a:pt x="0" y="727"/>
                </a:cubicBezTo>
                <a:cubicBezTo>
                  <a:pt x="63" y="743"/>
                  <a:pt x="532" y="861"/>
                  <a:pt x="532" y="616"/>
                </a:cubicBezTo>
                <a:cubicBezTo>
                  <a:pt x="532" y="0"/>
                  <a:pt x="532" y="0"/>
                  <a:pt x="532" y="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solidFill>
                <a:schemeClr val="lt1"/>
              </a:solidFill>
            </a:endParaRPr>
          </a:p>
        </p:txBody>
      </p:sp>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noProof="0"/>
              <a:t>Modifiez le style du titre</a:t>
            </a:r>
          </a:p>
        </p:txBody>
      </p:sp>
      <p:sp>
        <p:nvSpPr>
          <p:cNvPr id="6" name="Text Placeholder 7">
            <a:extLst>
              <a:ext uri="{FF2B5EF4-FFF2-40B4-BE49-F238E27FC236}">
                <a16:creationId xmlns:a16="http://schemas.microsoft.com/office/drawing/2014/main" id="{347C135E-A81D-400B-81F6-12EEF07DA9CA}"/>
              </a:ext>
            </a:extLst>
          </p:cNvPr>
          <p:cNvSpPr>
            <a:spLocks noGrp="1"/>
          </p:cNvSpPr>
          <p:nvPr>
            <p:ph type="body" sz="quarter" idx="11" hasCustomPrompt="1"/>
          </p:nvPr>
        </p:nvSpPr>
        <p:spPr>
          <a:xfrm>
            <a:off x="8544242" y="2757027"/>
            <a:ext cx="9172496" cy="917518"/>
          </a:xfrm>
          <a:prstGeom prst="rect">
            <a:avLst/>
          </a:prstGeom>
        </p:spPr>
        <p:txBody>
          <a:bodyPr anchor="ctr">
            <a:noAutofit/>
          </a:bodyPr>
          <a:lstStyle>
            <a:lvl1pPr>
              <a:lnSpc>
                <a:spcPct val="100000"/>
              </a:lnSpc>
              <a:defRPr sz="2309"/>
            </a:lvl1pPr>
            <a:lvl2pPr>
              <a:lnSpc>
                <a:spcPct val="100000"/>
              </a:lnSpc>
              <a:defRPr sz="2309"/>
            </a:lvl2pPr>
            <a:lvl3pPr>
              <a:lnSpc>
                <a:spcPct val="100000"/>
              </a:lnSpc>
              <a:defRPr sz="2309"/>
            </a:lvl3pPr>
            <a:lvl4pPr>
              <a:lnSpc>
                <a:spcPct val="100000"/>
              </a:lnSpc>
              <a:defRPr sz="2309"/>
            </a:lvl4pPr>
            <a:lvl5pPr>
              <a:lnSpc>
                <a:spcPct val="100000"/>
              </a:lnSpc>
              <a:defRPr sz="2309"/>
            </a:lvl5pPr>
          </a:lstStyle>
          <a:p>
            <a:pPr lvl="0"/>
            <a:r>
              <a:rPr lang="en-US" dirty="0"/>
              <a:t>Click to insert text</a:t>
            </a:r>
          </a:p>
        </p:txBody>
      </p:sp>
      <p:sp>
        <p:nvSpPr>
          <p:cNvPr id="7" name="Text Placeholder 7">
            <a:extLst>
              <a:ext uri="{FF2B5EF4-FFF2-40B4-BE49-F238E27FC236}">
                <a16:creationId xmlns:a16="http://schemas.microsoft.com/office/drawing/2014/main" id="{279FD77C-BB56-44E3-A115-D44F4B8D409C}"/>
              </a:ext>
            </a:extLst>
          </p:cNvPr>
          <p:cNvSpPr>
            <a:spLocks noGrp="1"/>
          </p:cNvSpPr>
          <p:nvPr>
            <p:ph type="body" sz="quarter" idx="12" hasCustomPrompt="1"/>
          </p:nvPr>
        </p:nvSpPr>
        <p:spPr>
          <a:xfrm>
            <a:off x="8544242" y="3890607"/>
            <a:ext cx="9172496" cy="917518"/>
          </a:xfrm>
          <a:prstGeom prst="rect">
            <a:avLst/>
          </a:prstGeom>
        </p:spPr>
        <p:txBody>
          <a:bodyPr anchor="ctr">
            <a:noAutofit/>
          </a:bodyPr>
          <a:lstStyle>
            <a:lvl1pPr marL="0" marR="0" indent="0" algn="l" defTabSz="1507846" rtl="0" eaLnBrk="1" fontAlgn="auto" latinLnBrk="0" hangingPunct="1">
              <a:lnSpc>
                <a:spcPct val="100000"/>
              </a:lnSpc>
              <a:spcBef>
                <a:spcPts val="1649"/>
              </a:spcBef>
              <a:spcAft>
                <a:spcPts val="0"/>
              </a:spcAft>
              <a:buClrTx/>
              <a:buSzTx/>
              <a:buFont typeface="Arial" panose="020B0604020202020204" pitchFamily="34" charset="0"/>
              <a:buNone/>
              <a:tabLst/>
              <a:defRPr sz="2309"/>
            </a:lvl1pPr>
            <a:lvl2pPr>
              <a:lnSpc>
                <a:spcPct val="100000"/>
              </a:lnSpc>
              <a:defRPr sz="2309"/>
            </a:lvl2pPr>
            <a:lvl3pPr>
              <a:lnSpc>
                <a:spcPct val="100000"/>
              </a:lnSpc>
              <a:defRPr sz="2309"/>
            </a:lvl3pPr>
            <a:lvl4pPr>
              <a:lnSpc>
                <a:spcPct val="100000"/>
              </a:lnSpc>
              <a:defRPr sz="2309"/>
            </a:lvl4pPr>
            <a:lvl5pPr>
              <a:lnSpc>
                <a:spcPct val="100000"/>
              </a:lnSpc>
              <a:defRPr sz="2309"/>
            </a:lvl5pPr>
          </a:lstStyle>
          <a:p>
            <a:pPr marL="0" marR="0" lvl="0" indent="0" algn="l" defTabSz="1507846" rtl="0" eaLnBrk="1" fontAlgn="auto" latinLnBrk="0" hangingPunct="1">
              <a:lnSpc>
                <a:spcPct val="100000"/>
              </a:lnSpc>
              <a:spcBef>
                <a:spcPts val="1649"/>
              </a:spcBef>
              <a:spcAft>
                <a:spcPts val="0"/>
              </a:spcAft>
              <a:buClrTx/>
              <a:buSzTx/>
              <a:buFont typeface="Arial" panose="020B0604020202020204" pitchFamily="34" charset="0"/>
              <a:buNone/>
              <a:tabLst/>
              <a:defRPr/>
            </a:pPr>
            <a:r>
              <a:rPr lang="en-US" dirty="0"/>
              <a:t>Click to insert text</a:t>
            </a:r>
          </a:p>
        </p:txBody>
      </p:sp>
      <p:sp>
        <p:nvSpPr>
          <p:cNvPr id="8" name="Text Placeholder 7">
            <a:extLst>
              <a:ext uri="{FF2B5EF4-FFF2-40B4-BE49-F238E27FC236}">
                <a16:creationId xmlns:a16="http://schemas.microsoft.com/office/drawing/2014/main" id="{0AB83DF8-5D0B-4178-8475-CAD51218759F}"/>
              </a:ext>
            </a:extLst>
          </p:cNvPr>
          <p:cNvSpPr>
            <a:spLocks noGrp="1"/>
          </p:cNvSpPr>
          <p:nvPr>
            <p:ph type="body" sz="quarter" idx="13" hasCustomPrompt="1"/>
          </p:nvPr>
        </p:nvSpPr>
        <p:spPr>
          <a:xfrm>
            <a:off x="8544242" y="5014612"/>
            <a:ext cx="9172496" cy="917518"/>
          </a:xfrm>
          <a:prstGeom prst="rect">
            <a:avLst/>
          </a:prstGeom>
        </p:spPr>
        <p:txBody>
          <a:bodyPr anchor="ctr">
            <a:noAutofit/>
          </a:bodyPr>
          <a:lstStyle>
            <a:lvl1pPr>
              <a:lnSpc>
                <a:spcPct val="100000"/>
              </a:lnSpc>
              <a:defRPr sz="2309"/>
            </a:lvl1pPr>
            <a:lvl2pPr>
              <a:lnSpc>
                <a:spcPct val="100000"/>
              </a:lnSpc>
              <a:defRPr sz="2309"/>
            </a:lvl2pPr>
            <a:lvl3pPr>
              <a:lnSpc>
                <a:spcPct val="100000"/>
              </a:lnSpc>
              <a:defRPr sz="2309"/>
            </a:lvl3pPr>
            <a:lvl4pPr>
              <a:lnSpc>
                <a:spcPct val="100000"/>
              </a:lnSpc>
              <a:defRPr sz="2309"/>
            </a:lvl4pPr>
            <a:lvl5pPr>
              <a:lnSpc>
                <a:spcPct val="100000"/>
              </a:lnSpc>
              <a:defRPr sz="2309"/>
            </a:lvl5pPr>
          </a:lstStyle>
          <a:p>
            <a:pPr lvl="0"/>
            <a:r>
              <a:rPr lang="en-US" dirty="0"/>
              <a:t>Click to insert text</a:t>
            </a:r>
          </a:p>
        </p:txBody>
      </p:sp>
      <p:sp>
        <p:nvSpPr>
          <p:cNvPr id="9" name="Text Placeholder 7">
            <a:extLst>
              <a:ext uri="{FF2B5EF4-FFF2-40B4-BE49-F238E27FC236}">
                <a16:creationId xmlns:a16="http://schemas.microsoft.com/office/drawing/2014/main" id="{003B4C80-0512-4BB7-A9D1-FB9B9D72F3BF}"/>
              </a:ext>
            </a:extLst>
          </p:cNvPr>
          <p:cNvSpPr>
            <a:spLocks noGrp="1"/>
          </p:cNvSpPr>
          <p:nvPr>
            <p:ph type="body" sz="quarter" idx="14" hasCustomPrompt="1"/>
          </p:nvPr>
        </p:nvSpPr>
        <p:spPr>
          <a:xfrm>
            <a:off x="8544242" y="6143405"/>
            <a:ext cx="9172496" cy="917518"/>
          </a:xfrm>
          <a:prstGeom prst="rect">
            <a:avLst/>
          </a:prstGeom>
        </p:spPr>
        <p:txBody>
          <a:bodyPr anchor="ctr">
            <a:noAutofit/>
          </a:bodyPr>
          <a:lstStyle>
            <a:lvl1pPr>
              <a:lnSpc>
                <a:spcPct val="100000"/>
              </a:lnSpc>
              <a:defRPr sz="2309"/>
            </a:lvl1pPr>
            <a:lvl2pPr>
              <a:lnSpc>
                <a:spcPct val="100000"/>
              </a:lnSpc>
              <a:defRPr sz="2309"/>
            </a:lvl2pPr>
            <a:lvl3pPr>
              <a:lnSpc>
                <a:spcPct val="100000"/>
              </a:lnSpc>
              <a:defRPr sz="2309"/>
            </a:lvl3pPr>
            <a:lvl4pPr>
              <a:lnSpc>
                <a:spcPct val="100000"/>
              </a:lnSpc>
              <a:defRPr sz="2309"/>
            </a:lvl4pPr>
            <a:lvl5pPr>
              <a:lnSpc>
                <a:spcPct val="100000"/>
              </a:lnSpc>
              <a:defRPr sz="2309"/>
            </a:lvl5pPr>
          </a:lstStyle>
          <a:p>
            <a:pPr lvl="0"/>
            <a:r>
              <a:rPr lang="en-US" dirty="0"/>
              <a:t>Click to insert text</a:t>
            </a:r>
          </a:p>
        </p:txBody>
      </p:sp>
      <p:sp>
        <p:nvSpPr>
          <p:cNvPr id="10" name="Text Placeholder 7">
            <a:extLst>
              <a:ext uri="{FF2B5EF4-FFF2-40B4-BE49-F238E27FC236}">
                <a16:creationId xmlns:a16="http://schemas.microsoft.com/office/drawing/2014/main" id="{DEB18B61-E8D0-4414-9FE3-2042B436845D}"/>
              </a:ext>
            </a:extLst>
          </p:cNvPr>
          <p:cNvSpPr>
            <a:spLocks noGrp="1"/>
          </p:cNvSpPr>
          <p:nvPr>
            <p:ph type="body" sz="quarter" idx="15" hasCustomPrompt="1"/>
          </p:nvPr>
        </p:nvSpPr>
        <p:spPr>
          <a:xfrm>
            <a:off x="8544242" y="7272198"/>
            <a:ext cx="9172496" cy="917518"/>
          </a:xfrm>
          <a:prstGeom prst="rect">
            <a:avLst/>
          </a:prstGeom>
        </p:spPr>
        <p:txBody>
          <a:bodyPr anchor="ctr">
            <a:noAutofit/>
          </a:bodyPr>
          <a:lstStyle>
            <a:lvl1pPr>
              <a:lnSpc>
                <a:spcPct val="100000"/>
              </a:lnSpc>
              <a:defRPr sz="2309"/>
            </a:lvl1pPr>
            <a:lvl2pPr>
              <a:lnSpc>
                <a:spcPct val="100000"/>
              </a:lnSpc>
              <a:defRPr sz="2309"/>
            </a:lvl2pPr>
            <a:lvl3pPr>
              <a:lnSpc>
                <a:spcPct val="100000"/>
              </a:lnSpc>
              <a:defRPr sz="2309"/>
            </a:lvl3pPr>
            <a:lvl4pPr>
              <a:lnSpc>
                <a:spcPct val="100000"/>
              </a:lnSpc>
              <a:defRPr sz="2309"/>
            </a:lvl4pPr>
            <a:lvl5pPr>
              <a:lnSpc>
                <a:spcPct val="100000"/>
              </a:lnSpc>
              <a:defRPr sz="2309"/>
            </a:lvl5pPr>
          </a:lstStyle>
          <a:p>
            <a:pPr lvl="0"/>
            <a:r>
              <a:rPr lang="en-US" dirty="0"/>
              <a:t>Click to insert text</a:t>
            </a:r>
          </a:p>
        </p:txBody>
      </p:sp>
      <p:sp>
        <p:nvSpPr>
          <p:cNvPr id="11" name="Text Placeholder 7">
            <a:extLst>
              <a:ext uri="{FF2B5EF4-FFF2-40B4-BE49-F238E27FC236}">
                <a16:creationId xmlns:a16="http://schemas.microsoft.com/office/drawing/2014/main" id="{07EA0703-5FDD-4D8B-BDC8-FE674C5C6E21}"/>
              </a:ext>
            </a:extLst>
          </p:cNvPr>
          <p:cNvSpPr>
            <a:spLocks noGrp="1"/>
          </p:cNvSpPr>
          <p:nvPr>
            <p:ph type="body" sz="quarter" idx="16" hasCustomPrompt="1"/>
          </p:nvPr>
        </p:nvSpPr>
        <p:spPr>
          <a:xfrm>
            <a:off x="8544242" y="8408250"/>
            <a:ext cx="9172496" cy="917518"/>
          </a:xfrm>
          <a:prstGeom prst="rect">
            <a:avLst/>
          </a:prstGeom>
        </p:spPr>
        <p:txBody>
          <a:bodyPr anchor="ctr">
            <a:noAutofit/>
          </a:bodyPr>
          <a:lstStyle>
            <a:lvl1pPr>
              <a:lnSpc>
                <a:spcPct val="100000"/>
              </a:lnSpc>
              <a:defRPr sz="2309"/>
            </a:lvl1pPr>
            <a:lvl2pPr>
              <a:lnSpc>
                <a:spcPct val="100000"/>
              </a:lnSpc>
              <a:defRPr sz="2309"/>
            </a:lvl2pPr>
            <a:lvl3pPr>
              <a:lnSpc>
                <a:spcPct val="100000"/>
              </a:lnSpc>
              <a:defRPr sz="2309"/>
            </a:lvl3pPr>
            <a:lvl4pPr>
              <a:lnSpc>
                <a:spcPct val="100000"/>
              </a:lnSpc>
              <a:defRPr sz="2309"/>
            </a:lvl4pPr>
            <a:lvl5pPr>
              <a:lnSpc>
                <a:spcPct val="100000"/>
              </a:lnSpc>
              <a:defRPr sz="2309"/>
            </a:lvl5pPr>
          </a:lstStyle>
          <a:p>
            <a:pPr lvl="0"/>
            <a:r>
              <a:rPr lang="en-US" dirty="0"/>
              <a:t>Click to insert text</a:t>
            </a:r>
          </a:p>
        </p:txBody>
      </p:sp>
      <p:sp>
        <p:nvSpPr>
          <p:cNvPr id="12" name="Text Placeholder 7">
            <a:extLst>
              <a:ext uri="{FF2B5EF4-FFF2-40B4-BE49-F238E27FC236}">
                <a16:creationId xmlns:a16="http://schemas.microsoft.com/office/drawing/2014/main" id="{C064F9FB-7DC0-403B-9847-35464F1DCE0F}"/>
              </a:ext>
            </a:extLst>
          </p:cNvPr>
          <p:cNvSpPr>
            <a:spLocks noGrp="1"/>
          </p:cNvSpPr>
          <p:nvPr>
            <p:ph type="body" sz="quarter" idx="17" hasCustomPrompt="1"/>
          </p:nvPr>
        </p:nvSpPr>
        <p:spPr>
          <a:xfrm>
            <a:off x="8544242" y="9529784"/>
            <a:ext cx="9172496" cy="917518"/>
          </a:xfrm>
          <a:prstGeom prst="rect">
            <a:avLst/>
          </a:prstGeom>
        </p:spPr>
        <p:txBody>
          <a:bodyPr anchor="ctr">
            <a:noAutofit/>
          </a:bodyPr>
          <a:lstStyle>
            <a:lvl1pPr>
              <a:lnSpc>
                <a:spcPct val="100000"/>
              </a:lnSpc>
              <a:defRPr sz="2309"/>
            </a:lvl1pPr>
            <a:lvl2pPr>
              <a:lnSpc>
                <a:spcPct val="100000"/>
              </a:lnSpc>
              <a:defRPr sz="2309"/>
            </a:lvl2pPr>
            <a:lvl3pPr>
              <a:lnSpc>
                <a:spcPct val="100000"/>
              </a:lnSpc>
              <a:defRPr sz="2309"/>
            </a:lvl3pPr>
            <a:lvl4pPr>
              <a:lnSpc>
                <a:spcPct val="100000"/>
              </a:lnSpc>
              <a:defRPr sz="2309"/>
            </a:lvl4pPr>
            <a:lvl5pPr>
              <a:lnSpc>
                <a:spcPct val="100000"/>
              </a:lnSpc>
              <a:defRPr sz="2309"/>
            </a:lvl5pPr>
          </a:lstStyle>
          <a:p>
            <a:pPr lvl="0"/>
            <a:r>
              <a:rPr lang="en-US" dirty="0"/>
              <a:t>Click to insert text</a:t>
            </a:r>
          </a:p>
        </p:txBody>
      </p:sp>
    </p:spTree>
    <p:extLst>
      <p:ext uri="{BB962C8B-B14F-4D97-AF65-F5344CB8AC3E}">
        <p14:creationId xmlns:p14="http://schemas.microsoft.com/office/powerpoint/2010/main" val="141204276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able of content 2">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noProof="0"/>
              <a:t>Modifiez le style du titre</a:t>
            </a:r>
          </a:p>
        </p:txBody>
      </p:sp>
      <p:sp>
        <p:nvSpPr>
          <p:cNvPr id="14" name="Freeform 27">
            <a:extLst>
              <a:ext uri="{FF2B5EF4-FFF2-40B4-BE49-F238E27FC236}">
                <a16:creationId xmlns:a16="http://schemas.microsoft.com/office/drawing/2014/main" id="{E9584E4F-0ADE-4C23-8FE0-EF70FE5053E9}"/>
              </a:ext>
            </a:extLst>
          </p:cNvPr>
          <p:cNvSpPr/>
          <p:nvPr userDrawn="1"/>
        </p:nvSpPr>
        <p:spPr>
          <a:xfrm>
            <a:off x="12584188" y="1"/>
            <a:ext cx="7519915" cy="11328402"/>
          </a:xfrm>
          <a:custGeom>
            <a:avLst/>
            <a:gdLst>
              <a:gd name="connsiteX0" fmla="*/ 3889339 w 4560403"/>
              <a:gd name="connsiteY0" fmla="*/ 0 h 6858001"/>
              <a:gd name="connsiteX1" fmla="*/ 4560403 w 4560403"/>
              <a:gd name="connsiteY1" fmla="*/ 0 h 6858001"/>
              <a:gd name="connsiteX2" fmla="*/ 4560403 w 4560403"/>
              <a:gd name="connsiteY2" fmla="*/ 6858001 h 6858001"/>
              <a:gd name="connsiteX3" fmla="*/ 797256 w 4560403"/>
              <a:gd name="connsiteY3" fmla="*/ 6858001 h 6858001"/>
              <a:gd name="connsiteX4" fmla="*/ 788343 w 4560403"/>
              <a:gd name="connsiteY4" fmla="*/ 6827268 h 6858001"/>
              <a:gd name="connsiteX5" fmla="*/ 116308 w 4560403"/>
              <a:gd name="connsiteY5" fmla="*/ 4510048 h 6858001"/>
              <a:gd name="connsiteX6" fmla="*/ 1654161 w 4560403"/>
              <a:gd name="connsiteY6" fmla="*/ 1075400 h 6858001"/>
              <a:gd name="connsiteX7" fmla="*/ 3880655 w 4560403"/>
              <a:gd name="connsiteY7" fmla="*/ 4178 h 6858001"/>
              <a:gd name="connsiteX8" fmla="*/ 3889339 w 4560403"/>
              <a:gd name="connsiteY8" fmla="*/ 0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60403" h="6858001">
                <a:moveTo>
                  <a:pt x="3889339" y="0"/>
                </a:moveTo>
                <a:lnTo>
                  <a:pt x="4560403" y="0"/>
                </a:lnTo>
                <a:lnTo>
                  <a:pt x="4560403" y="6858001"/>
                </a:lnTo>
                <a:lnTo>
                  <a:pt x="797256" y="6858001"/>
                </a:lnTo>
                <a:lnTo>
                  <a:pt x="788343" y="6827268"/>
                </a:lnTo>
                <a:cubicBezTo>
                  <a:pt x="116308" y="4510048"/>
                  <a:pt x="116308" y="4510048"/>
                  <a:pt x="116308" y="4510048"/>
                </a:cubicBezTo>
                <a:cubicBezTo>
                  <a:pt x="-280530" y="3141724"/>
                  <a:pt x="364088" y="1689508"/>
                  <a:pt x="1654161" y="1075400"/>
                </a:cubicBezTo>
                <a:cubicBezTo>
                  <a:pt x="2768462" y="539282"/>
                  <a:pt x="3456195" y="208397"/>
                  <a:pt x="3880655" y="4178"/>
                </a:cubicBezTo>
                <a:lnTo>
                  <a:pt x="3889339"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09" dirty="0">
              <a:solidFill>
                <a:schemeClr val="tx1"/>
              </a:solidFill>
            </a:endParaRPr>
          </a:p>
        </p:txBody>
      </p:sp>
      <p:pic>
        <p:nvPicPr>
          <p:cNvPr id="15" name="Picture 26">
            <a:extLst>
              <a:ext uri="{FF2B5EF4-FFF2-40B4-BE49-F238E27FC236}">
                <a16:creationId xmlns:a16="http://schemas.microsoft.com/office/drawing/2014/main" id="{946E4B4C-4491-45FC-B5B9-188443D8B49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8715355" y="2732544"/>
            <a:ext cx="12141871" cy="7907575"/>
          </a:xfrm>
          <a:prstGeom prst="rect">
            <a:avLst/>
          </a:prstGeom>
        </p:spPr>
      </p:pic>
      <p:sp>
        <p:nvSpPr>
          <p:cNvPr id="4" name="Espace réservé du texte 3">
            <a:extLst>
              <a:ext uri="{FF2B5EF4-FFF2-40B4-BE49-F238E27FC236}">
                <a16:creationId xmlns:a16="http://schemas.microsoft.com/office/drawing/2014/main" id="{0F17F101-671D-44BF-9829-7BAFFDE71C71}"/>
              </a:ext>
            </a:extLst>
          </p:cNvPr>
          <p:cNvSpPr>
            <a:spLocks noGrp="1"/>
          </p:cNvSpPr>
          <p:nvPr>
            <p:ph type="body" sz="quarter" idx="16" hasCustomPrompt="1"/>
          </p:nvPr>
        </p:nvSpPr>
        <p:spPr>
          <a:xfrm>
            <a:off x="2513872" y="4289840"/>
            <a:ext cx="5994582" cy="941521"/>
          </a:xfrm>
        </p:spPr>
        <p:txBody>
          <a:bodyPr/>
          <a:lstStyle>
            <a:lvl1pPr marL="0" indent="0">
              <a:buFont typeface="Arial" panose="020B0604020202020204" pitchFamily="34" charset="0"/>
              <a:buNone/>
              <a:defRPr/>
            </a:lvl1pPr>
            <a:lvl2pPr marL="261779" indent="0">
              <a:buNone/>
              <a:defRPr/>
            </a:lvl2pPr>
          </a:lstStyle>
          <a:p>
            <a:pPr lvl="0"/>
            <a:r>
              <a:rPr lang="en-US" noProof="0"/>
              <a:t>Click to insert text</a:t>
            </a:r>
          </a:p>
        </p:txBody>
      </p:sp>
      <p:sp>
        <p:nvSpPr>
          <p:cNvPr id="22" name="Espace réservé du texte 3">
            <a:extLst>
              <a:ext uri="{FF2B5EF4-FFF2-40B4-BE49-F238E27FC236}">
                <a16:creationId xmlns:a16="http://schemas.microsoft.com/office/drawing/2014/main" id="{8E01D584-7E36-43C9-8FA9-410B82033F66}"/>
              </a:ext>
            </a:extLst>
          </p:cNvPr>
          <p:cNvSpPr>
            <a:spLocks noGrp="1"/>
          </p:cNvSpPr>
          <p:nvPr>
            <p:ph type="body" sz="quarter" idx="17" hasCustomPrompt="1"/>
          </p:nvPr>
        </p:nvSpPr>
        <p:spPr>
          <a:xfrm>
            <a:off x="2513872" y="7668576"/>
            <a:ext cx="5994582" cy="941521"/>
          </a:xfrm>
        </p:spPr>
        <p:txBody>
          <a:bodyPr/>
          <a:lstStyle>
            <a:lvl1pPr>
              <a:defRPr/>
            </a:lvl1pPr>
            <a:lvl2pPr marL="261779" indent="0">
              <a:buNone/>
              <a:defRPr/>
            </a:lvl2pPr>
          </a:lstStyle>
          <a:p>
            <a:pPr lvl="0"/>
            <a:r>
              <a:rPr lang="en-US" noProof="0"/>
              <a:t>Click to insert text</a:t>
            </a:r>
          </a:p>
        </p:txBody>
      </p:sp>
      <p:sp>
        <p:nvSpPr>
          <p:cNvPr id="23" name="Espace réservé du texte 3">
            <a:extLst>
              <a:ext uri="{FF2B5EF4-FFF2-40B4-BE49-F238E27FC236}">
                <a16:creationId xmlns:a16="http://schemas.microsoft.com/office/drawing/2014/main" id="{6C7F4F01-56A1-4828-81C9-CF7C729FA6C2}"/>
              </a:ext>
            </a:extLst>
          </p:cNvPr>
          <p:cNvSpPr>
            <a:spLocks noGrp="1"/>
          </p:cNvSpPr>
          <p:nvPr>
            <p:ph type="body" sz="quarter" idx="18" hasCustomPrompt="1"/>
          </p:nvPr>
        </p:nvSpPr>
        <p:spPr>
          <a:xfrm>
            <a:off x="2513872" y="5979207"/>
            <a:ext cx="5994582" cy="941521"/>
          </a:xfrm>
        </p:spPr>
        <p:txBody>
          <a:bodyPr/>
          <a:lstStyle>
            <a:lvl1pPr>
              <a:defRPr/>
            </a:lvl1pPr>
            <a:lvl2pPr marL="261779" indent="0">
              <a:buNone/>
              <a:defRPr/>
            </a:lvl2pPr>
          </a:lstStyle>
          <a:p>
            <a:pPr lvl="0"/>
            <a:r>
              <a:rPr lang="en-US" noProof="0"/>
              <a:t>Click to insert text</a:t>
            </a:r>
          </a:p>
        </p:txBody>
      </p:sp>
    </p:spTree>
    <p:extLst>
      <p:ext uri="{BB962C8B-B14F-4D97-AF65-F5344CB8AC3E}">
        <p14:creationId xmlns:p14="http://schemas.microsoft.com/office/powerpoint/2010/main" val="275224309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3 columns with imag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p>
            <a:r>
              <a:rPr lang="en-US" noProof="0"/>
              <a:t>Modifiez le style du titre</a:t>
            </a:r>
          </a:p>
        </p:txBody>
      </p:sp>
      <p:grpSp>
        <p:nvGrpSpPr>
          <p:cNvPr id="3" name="Group 30">
            <a:extLst>
              <a:ext uri="{FF2B5EF4-FFF2-40B4-BE49-F238E27FC236}">
                <a16:creationId xmlns:a16="http://schemas.microsoft.com/office/drawing/2014/main" id="{3AD05034-F310-45B7-8D19-09304BA71383}"/>
              </a:ext>
            </a:extLst>
          </p:cNvPr>
          <p:cNvGrpSpPr/>
          <p:nvPr userDrawn="1"/>
        </p:nvGrpSpPr>
        <p:grpSpPr>
          <a:xfrm>
            <a:off x="672756" y="3498899"/>
            <a:ext cx="18758591" cy="4432574"/>
            <a:chOff x="407988" y="3962400"/>
            <a:chExt cx="11124255" cy="2286000"/>
          </a:xfrm>
          <a:solidFill>
            <a:schemeClr val="bg2"/>
          </a:solidFill>
        </p:grpSpPr>
        <p:sp>
          <p:nvSpPr>
            <p:cNvPr id="4" name="Rectangle 3">
              <a:extLst>
                <a:ext uri="{FF2B5EF4-FFF2-40B4-BE49-F238E27FC236}">
                  <a16:creationId xmlns:a16="http://schemas.microsoft.com/office/drawing/2014/main" id="{809907B1-2DDA-4C79-9303-709C80FCE3BF}"/>
                </a:ext>
              </a:extLst>
            </p:cNvPr>
            <p:cNvSpPr/>
            <p:nvPr userDrawn="1"/>
          </p:nvSpPr>
          <p:spPr>
            <a:xfrm>
              <a:off x="407988" y="3962400"/>
              <a:ext cx="3554412" cy="228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09" dirty="0">
                <a:solidFill>
                  <a:schemeClr val="tx1"/>
                </a:solidFill>
              </a:endParaRPr>
            </a:p>
          </p:txBody>
        </p:sp>
        <p:sp>
          <p:nvSpPr>
            <p:cNvPr id="5" name="Rectangle 4">
              <a:extLst>
                <a:ext uri="{FF2B5EF4-FFF2-40B4-BE49-F238E27FC236}">
                  <a16:creationId xmlns:a16="http://schemas.microsoft.com/office/drawing/2014/main" id="{47029937-A89B-4A13-BABC-5148EB14872D}"/>
                </a:ext>
              </a:extLst>
            </p:cNvPr>
            <p:cNvSpPr/>
            <p:nvPr userDrawn="1"/>
          </p:nvSpPr>
          <p:spPr>
            <a:xfrm>
              <a:off x="4192909" y="3962400"/>
              <a:ext cx="3554412" cy="228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09" dirty="0">
                <a:solidFill>
                  <a:schemeClr val="tx1"/>
                </a:solidFill>
              </a:endParaRPr>
            </a:p>
          </p:txBody>
        </p:sp>
        <p:sp>
          <p:nvSpPr>
            <p:cNvPr id="6" name="Rectangle 5">
              <a:extLst>
                <a:ext uri="{FF2B5EF4-FFF2-40B4-BE49-F238E27FC236}">
                  <a16:creationId xmlns:a16="http://schemas.microsoft.com/office/drawing/2014/main" id="{9A1A21F2-39C3-4114-9E53-B0BE93C7F67F}"/>
                </a:ext>
              </a:extLst>
            </p:cNvPr>
            <p:cNvSpPr/>
            <p:nvPr userDrawn="1"/>
          </p:nvSpPr>
          <p:spPr>
            <a:xfrm>
              <a:off x="7977831" y="3962400"/>
              <a:ext cx="3554412" cy="228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09" dirty="0">
                <a:solidFill>
                  <a:schemeClr val="tx1"/>
                </a:solidFill>
              </a:endParaRPr>
            </a:p>
          </p:txBody>
        </p:sp>
      </p:grpSp>
      <p:grpSp>
        <p:nvGrpSpPr>
          <p:cNvPr id="7" name="Group 39">
            <a:extLst>
              <a:ext uri="{FF2B5EF4-FFF2-40B4-BE49-F238E27FC236}">
                <a16:creationId xmlns:a16="http://schemas.microsoft.com/office/drawing/2014/main" id="{3567018D-EC11-4F0D-9933-FD7D9D510F50}"/>
              </a:ext>
            </a:extLst>
          </p:cNvPr>
          <p:cNvGrpSpPr/>
          <p:nvPr userDrawn="1"/>
        </p:nvGrpSpPr>
        <p:grpSpPr>
          <a:xfrm>
            <a:off x="672756" y="7233608"/>
            <a:ext cx="18758591" cy="3243969"/>
            <a:chOff x="407988" y="3962400"/>
            <a:chExt cx="11124255" cy="2286000"/>
          </a:xfrm>
        </p:grpSpPr>
        <p:sp>
          <p:nvSpPr>
            <p:cNvPr id="8" name="Rectangle 7">
              <a:extLst>
                <a:ext uri="{FF2B5EF4-FFF2-40B4-BE49-F238E27FC236}">
                  <a16:creationId xmlns:a16="http://schemas.microsoft.com/office/drawing/2014/main" id="{1ABBD763-D22C-4FF3-BC99-9119C4508435}"/>
                </a:ext>
              </a:extLst>
            </p:cNvPr>
            <p:cNvSpPr/>
            <p:nvPr userDrawn="1"/>
          </p:nvSpPr>
          <p:spPr>
            <a:xfrm>
              <a:off x="407988" y="3962400"/>
              <a:ext cx="3554412" cy="228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09" dirty="0">
                <a:solidFill>
                  <a:schemeClr val="tx1"/>
                </a:solidFill>
              </a:endParaRPr>
            </a:p>
          </p:txBody>
        </p:sp>
        <p:sp>
          <p:nvSpPr>
            <p:cNvPr id="9" name="Rectangle 8">
              <a:extLst>
                <a:ext uri="{FF2B5EF4-FFF2-40B4-BE49-F238E27FC236}">
                  <a16:creationId xmlns:a16="http://schemas.microsoft.com/office/drawing/2014/main" id="{9F2F72E8-CA27-4A18-8391-349FFA72B186}"/>
                </a:ext>
              </a:extLst>
            </p:cNvPr>
            <p:cNvSpPr/>
            <p:nvPr userDrawn="1"/>
          </p:nvSpPr>
          <p:spPr>
            <a:xfrm>
              <a:off x="4192909" y="3962400"/>
              <a:ext cx="3554412" cy="228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09" dirty="0">
                <a:solidFill>
                  <a:schemeClr val="tx1"/>
                </a:solidFill>
              </a:endParaRPr>
            </a:p>
          </p:txBody>
        </p:sp>
        <p:sp>
          <p:nvSpPr>
            <p:cNvPr id="10" name="Rectangle 9">
              <a:extLst>
                <a:ext uri="{FF2B5EF4-FFF2-40B4-BE49-F238E27FC236}">
                  <a16:creationId xmlns:a16="http://schemas.microsoft.com/office/drawing/2014/main" id="{C3FB0CEB-9A7E-40A5-BE2E-BF155348C7EC}"/>
                </a:ext>
              </a:extLst>
            </p:cNvPr>
            <p:cNvSpPr/>
            <p:nvPr userDrawn="1"/>
          </p:nvSpPr>
          <p:spPr>
            <a:xfrm>
              <a:off x="7977831" y="3962400"/>
              <a:ext cx="3554412" cy="228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09" dirty="0">
                <a:solidFill>
                  <a:schemeClr val="tx1"/>
                </a:solidFill>
              </a:endParaRPr>
            </a:p>
          </p:txBody>
        </p:sp>
      </p:grpSp>
      <p:sp>
        <p:nvSpPr>
          <p:cNvPr id="11" name="Text Placeholder 7">
            <a:extLst>
              <a:ext uri="{FF2B5EF4-FFF2-40B4-BE49-F238E27FC236}">
                <a16:creationId xmlns:a16="http://schemas.microsoft.com/office/drawing/2014/main" id="{6D2B5A32-8F44-4476-85CA-E8ACF923FC76}"/>
              </a:ext>
            </a:extLst>
          </p:cNvPr>
          <p:cNvSpPr>
            <a:spLocks noGrp="1"/>
          </p:cNvSpPr>
          <p:nvPr>
            <p:ph type="body" sz="quarter" idx="32" hasCustomPrompt="1"/>
          </p:nvPr>
        </p:nvSpPr>
        <p:spPr>
          <a:xfrm>
            <a:off x="904342" y="8459371"/>
            <a:ext cx="5562477" cy="1778146"/>
          </a:xfrm>
          <a:prstGeom prst="rect">
            <a:avLst/>
          </a:prstGeom>
        </p:spPr>
        <p:txBody>
          <a:bodyPr anchor="t" anchorCtr="0">
            <a:noAutofit/>
          </a:bodyPr>
          <a:lstStyle>
            <a:lvl1pPr marL="0" marR="0" indent="0" algn="l" defTabSz="1507846" rtl="0" eaLnBrk="1" fontAlgn="auto" latinLnBrk="0" hangingPunct="1">
              <a:lnSpc>
                <a:spcPct val="100000"/>
              </a:lnSpc>
              <a:spcBef>
                <a:spcPts val="1649"/>
              </a:spcBef>
              <a:spcAft>
                <a:spcPts val="0"/>
              </a:spcAft>
              <a:buClrTx/>
              <a:buSzTx/>
              <a:buFont typeface="Arial" panose="020B0604020202020204" pitchFamily="34" charset="0"/>
              <a:buNone/>
              <a:tabLst/>
              <a:defRPr sz="1979">
                <a:solidFill>
                  <a:schemeClr val="bg1"/>
                </a:solidFill>
              </a:defRPr>
            </a:lvl1pPr>
            <a:lvl2pPr>
              <a:lnSpc>
                <a:spcPct val="100000"/>
              </a:lnSpc>
              <a:defRPr sz="2309"/>
            </a:lvl2pPr>
            <a:lvl3pPr>
              <a:lnSpc>
                <a:spcPct val="100000"/>
              </a:lnSpc>
              <a:defRPr sz="2309"/>
            </a:lvl3pPr>
            <a:lvl4pPr>
              <a:lnSpc>
                <a:spcPct val="100000"/>
              </a:lnSpc>
              <a:defRPr sz="2309"/>
            </a:lvl4pPr>
            <a:lvl5pPr>
              <a:lnSpc>
                <a:spcPct val="100000"/>
              </a:lnSpc>
              <a:defRPr sz="1979"/>
            </a:lvl5pPr>
          </a:lstStyle>
          <a:p>
            <a:pPr marL="0" marR="0" lvl="0" indent="0" algn="l" defTabSz="1507846" rtl="0" eaLnBrk="1" fontAlgn="auto" latinLnBrk="0" hangingPunct="1">
              <a:lnSpc>
                <a:spcPct val="100000"/>
              </a:lnSpc>
              <a:spcBef>
                <a:spcPts val="1649"/>
              </a:spcBef>
              <a:spcAft>
                <a:spcPts val="0"/>
              </a:spcAft>
              <a:buClrTx/>
              <a:buSzTx/>
              <a:buFont typeface="Arial" panose="020B0604020202020204" pitchFamily="34" charset="0"/>
              <a:buNone/>
              <a:tabLst/>
              <a:defRPr/>
            </a:pPr>
            <a:r>
              <a:rPr lang="en-US" dirty="0"/>
              <a:t>Click to insert text</a:t>
            </a:r>
          </a:p>
        </p:txBody>
      </p:sp>
      <p:sp>
        <p:nvSpPr>
          <p:cNvPr id="12" name="Text Placeholder 7">
            <a:extLst>
              <a:ext uri="{FF2B5EF4-FFF2-40B4-BE49-F238E27FC236}">
                <a16:creationId xmlns:a16="http://schemas.microsoft.com/office/drawing/2014/main" id="{544744EB-BA7F-48CA-965B-F09F82A933C2}"/>
              </a:ext>
            </a:extLst>
          </p:cNvPr>
          <p:cNvSpPr>
            <a:spLocks noGrp="1"/>
          </p:cNvSpPr>
          <p:nvPr>
            <p:ph type="body" sz="quarter" idx="35" hasCustomPrompt="1"/>
          </p:nvPr>
        </p:nvSpPr>
        <p:spPr>
          <a:xfrm>
            <a:off x="904342" y="7793172"/>
            <a:ext cx="5562477" cy="545513"/>
          </a:xfrm>
          <a:prstGeom prst="rect">
            <a:avLst/>
          </a:prstGeom>
        </p:spPr>
        <p:txBody>
          <a:bodyPr anchor="ctr">
            <a:noAutofit/>
          </a:bodyPr>
          <a:lstStyle>
            <a:lvl1pPr marL="0" marR="0" indent="0" algn="l" defTabSz="1507846" rtl="0" eaLnBrk="1" fontAlgn="auto" latinLnBrk="0" hangingPunct="1">
              <a:lnSpc>
                <a:spcPct val="100000"/>
              </a:lnSpc>
              <a:spcBef>
                <a:spcPts val="1649"/>
              </a:spcBef>
              <a:spcAft>
                <a:spcPts val="0"/>
              </a:spcAft>
              <a:buClrTx/>
              <a:buSzTx/>
              <a:buFont typeface="Arial" panose="020B0604020202020204" pitchFamily="34" charset="0"/>
              <a:buNone/>
              <a:tabLst/>
              <a:defRPr sz="2309" b="1">
                <a:solidFill>
                  <a:schemeClr val="bg1"/>
                </a:solidFill>
              </a:defRPr>
            </a:lvl1pPr>
            <a:lvl2pPr>
              <a:lnSpc>
                <a:spcPct val="100000"/>
              </a:lnSpc>
              <a:defRPr sz="2309"/>
            </a:lvl2pPr>
            <a:lvl3pPr>
              <a:lnSpc>
                <a:spcPct val="100000"/>
              </a:lnSpc>
              <a:defRPr sz="2309"/>
            </a:lvl3pPr>
            <a:lvl4pPr>
              <a:lnSpc>
                <a:spcPct val="100000"/>
              </a:lnSpc>
              <a:defRPr sz="2309"/>
            </a:lvl4pPr>
            <a:lvl5pPr>
              <a:lnSpc>
                <a:spcPct val="100000"/>
              </a:lnSpc>
              <a:defRPr sz="1979"/>
            </a:lvl5pPr>
          </a:lstStyle>
          <a:p>
            <a:pPr marL="0" marR="0" lvl="0" indent="0" algn="l" defTabSz="1507846" rtl="0" eaLnBrk="1" fontAlgn="auto" latinLnBrk="0" hangingPunct="1">
              <a:lnSpc>
                <a:spcPct val="100000"/>
              </a:lnSpc>
              <a:spcBef>
                <a:spcPts val="1649"/>
              </a:spcBef>
              <a:spcAft>
                <a:spcPts val="0"/>
              </a:spcAft>
              <a:buClrTx/>
              <a:buSzTx/>
              <a:buFont typeface="Arial" panose="020B0604020202020204" pitchFamily="34" charset="0"/>
              <a:buNone/>
              <a:tabLst/>
              <a:defRPr/>
            </a:pPr>
            <a:r>
              <a:rPr lang="en-US" dirty="0"/>
              <a:t>Click to insert text</a:t>
            </a:r>
          </a:p>
        </p:txBody>
      </p:sp>
      <p:sp>
        <p:nvSpPr>
          <p:cNvPr id="13" name="Text Placeholder 7">
            <a:extLst>
              <a:ext uri="{FF2B5EF4-FFF2-40B4-BE49-F238E27FC236}">
                <a16:creationId xmlns:a16="http://schemas.microsoft.com/office/drawing/2014/main" id="{7F1417AB-AE76-4CE2-9625-7FFDB1145AAF}"/>
              </a:ext>
            </a:extLst>
          </p:cNvPr>
          <p:cNvSpPr>
            <a:spLocks noGrp="1"/>
          </p:cNvSpPr>
          <p:nvPr>
            <p:ph type="body" sz="quarter" idx="36" hasCustomPrompt="1"/>
          </p:nvPr>
        </p:nvSpPr>
        <p:spPr>
          <a:xfrm>
            <a:off x="7270640" y="8459371"/>
            <a:ext cx="5562477" cy="1778146"/>
          </a:xfrm>
          <a:prstGeom prst="rect">
            <a:avLst/>
          </a:prstGeom>
        </p:spPr>
        <p:txBody>
          <a:bodyPr anchor="t" anchorCtr="0">
            <a:noAutofit/>
          </a:bodyPr>
          <a:lstStyle>
            <a:lvl1pPr marL="0" marR="0" indent="0" algn="l" defTabSz="1507846" rtl="0" eaLnBrk="1" fontAlgn="auto" latinLnBrk="0" hangingPunct="1">
              <a:lnSpc>
                <a:spcPct val="100000"/>
              </a:lnSpc>
              <a:spcBef>
                <a:spcPts val="1649"/>
              </a:spcBef>
              <a:spcAft>
                <a:spcPts val="0"/>
              </a:spcAft>
              <a:buClrTx/>
              <a:buSzTx/>
              <a:buFont typeface="Arial" panose="020B0604020202020204" pitchFamily="34" charset="0"/>
              <a:buNone/>
              <a:tabLst/>
              <a:defRPr sz="1979">
                <a:solidFill>
                  <a:schemeClr val="bg1"/>
                </a:solidFill>
              </a:defRPr>
            </a:lvl1pPr>
            <a:lvl2pPr>
              <a:lnSpc>
                <a:spcPct val="100000"/>
              </a:lnSpc>
              <a:defRPr sz="2309"/>
            </a:lvl2pPr>
            <a:lvl3pPr>
              <a:lnSpc>
                <a:spcPct val="100000"/>
              </a:lnSpc>
              <a:defRPr sz="2309"/>
            </a:lvl3pPr>
            <a:lvl4pPr>
              <a:lnSpc>
                <a:spcPct val="100000"/>
              </a:lnSpc>
              <a:defRPr sz="2309"/>
            </a:lvl4pPr>
            <a:lvl5pPr>
              <a:lnSpc>
                <a:spcPct val="100000"/>
              </a:lnSpc>
              <a:defRPr sz="1979"/>
            </a:lvl5pPr>
          </a:lstStyle>
          <a:p>
            <a:pPr marL="0" marR="0" lvl="0" indent="0" algn="l" defTabSz="1507846" rtl="0" eaLnBrk="1" fontAlgn="auto" latinLnBrk="0" hangingPunct="1">
              <a:lnSpc>
                <a:spcPct val="100000"/>
              </a:lnSpc>
              <a:spcBef>
                <a:spcPts val="1649"/>
              </a:spcBef>
              <a:spcAft>
                <a:spcPts val="0"/>
              </a:spcAft>
              <a:buClrTx/>
              <a:buSzTx/>
              <a:buFont typeface="Arial" panose="020B0604020202020204" pitchFamily="34" charset="0"/>
              <a:buNone/>
              <a:tabLst/>
              <a:defRPr/>
            </a:pPr>
            <a:r>
              <a:rPr lang="en-US" dirty="0"/>
              <a:t>Click to insert text</a:t>
            </a:r>
          </a:p>
        </p:txBody>
      </p:sp>
      <p:sp>
        <p:nvSpPr>
          <p:cNvPr id="14" name="Text Placeholder 7">
            <a:extLst>
              <a:ext uri="{FF2B5EF4-FFF2-40B4-BE49-F238E27FC236}">
                <a16:creationId xmlns:a16="http://schemas.microsoft.com/office/drawing/2014/main" id="{FCE3D82F-9939-4A00-863F-3701BAE58599}"/>
              </a:ext>
            </a:extLst>
          </p:cNvPr>
          <p:cNvSpPr>
            <a:spLocks noGrp="1"/>
          </p:cNvSpPr>
          <p:nvPr>
            <p:ph type="body" sz="quarter" idx="37" hasCustomPrompt="1"/>
          </p:nvPr>
        </p:nvSpPr>
        <p:spPr>
          <a:xfrm>
            <a:off x="7270640" y="7793172"/>
            <a:ext cx="5562477" cy="545513"/>
          </a:xfrm>
          <a:prstGeom prst="rect">
            <a:avLst/>
          </a:prstGeom>
        </p:spPr>
        <p:txBody>
          <a:bodyPr anchor="ctr">
            <a:noAutofit/>
          </a:bodyPr>
          <a:lstStyle>
            <a:lvl1pPr marL="0" marR="0" indent="0" algn="l" defTabSz="1507846" rtl="0" eaLnBrk="1" fontAlgn="auto" latinLnBrk="0" hangingPunct="1">
              <a:lnSpc>
                <a:spcPct val="100000"/>
              </a:lnSpc>
              <a:spcBef>
                <a:spcPts val="1649"/>
              </a:spcBef>
              <a:spcAft>
                <a:spcPts val="0"/>
              </a:spcAft>
              <a:buClrTx/>
              <a:buSzTx/>
              <a:buFont typeface="Arial" panose="020B0604020202020204" pitchFamily="34" charset="0"/>
              <a:buNone/>
              <a:tabLst/>
              <a:defRPr sz="2309" b="1">
                <a:solidFill>
                  <a:schemeClr val="bg1"/>
                </a:solidFill>
              </a:defRPr>
            </a:lvl1pPr>
            <a:lvl2pPr>
              <a:lnSpc>
                <a:spcPct val="100000"/>
              </a:lnSpc>
              <a:defRPr sz="2309"/>
            </a:lvl2pPr>
            <a:lvl3pPr>
              <a:lnSpc>
                <a:spcPct val="100000"/>
              </a:lnSpc>
              <a:defRPr sz="2309"/>
            </a:lvl3pPr>
            <a:lvl4pPr>
              <a:lnSpc>
                <a:spcPct val="100000"/>
              </a:lnSpc>
              <a:defRPr sz="2309"/>
            </a:lvl4pPr>
            <a:lvl5pPr>
              <a:lnSpc>
                <a:spcPct val="100000"/>
              </a:lnSpc>
              <a:defRPr sz="1979"/>
            </a:lvl5pPr>
          </a:lstStyle>
          <a:p>
            <a:pPr marL="0" marR="0" lvl="0" indent="0" algn="l" defTabSz="1507846" rtl="0" eaLnBrk="1" fontAlgn="auto" latinLnBrk="0" hangingPunct="1">
              <a:lnSpc>
                <a:spcPct val="100000"/>
              </a:lnSpc>
              <a:spcBef>
                <a:spcPts val="1649"/>
              </a:spcBef>
              <a:spcAft>
                <a:spcPts val="0"/>
              </a:spcAft>
              <a:buClrTx/>
              <a:buSzTx/>
              <a:buFont typeface="Arial" panose="020B0604020202020204" pitchFamily="34" charset="0"/>
              <a:buNone/>
              <a:tabLst/>
              <a:defRPr/>
            </a:pPr>
            <a:r>
              <a:rPr lang="en-US" dirty="0"/>
              <a:t>Click to insert text</a:t>
            </a:r>
          </a:p>
        </p:txBody>
      </p:sp>
      <p:sp>
        <p:nvSpPr>
          <p:cNvPr id="15" name="Text Placeholder 7">
            <a:extLst>
              <a:ext uri="{FF2B5EF4-FFF2-40B4-BE49-F238E27FC236}">
                <a16:creationId xmlns:a16="http://schemas.microsoft.com/office/drawing/2014/main" id="{01A092DC-9BD3-4651-84E1-1B4E07135F7B}"/>
              </a:ext>
            </a:extLst>
          </p:cNvPr>
          <p:cNvSpPr>
            <a:spLocks noGrp="1"/>
          </p:cNvSpPr>
          <p:nvPr>
            <p:ph type="body" sz="quarter" idx="38" hasCustomPrompt="1"/>
          </p:nvPr>
        </p:nvSpPr>
        <p:spPr>
          <a:xfrm>
            <a:off x="13606477" y="8459371"/>
            <a:ext cx="5562477" cy="1778146"/>
          </a:xfrm>
          <a:prstGeom prst="rect">
            <a:avLst/>
          </a:prstGeom>
        </p:spPr>
        <p:txBody>
          <a:bodyPr anchor="t" anchorCtr="0">
            <a:noAutofit/>
          </a:bodyPr>
          <a:lstStyle>
            <a:lvl1pPr marL="0" marR="0" indent="0" algn="l" defTabSz="1507846" rtl="0" eaLnBrk="1" fontAlgn="auto" latinLnBrk="0" hangingPunct="1">
              <a:lnSpc>
                <a:spcPct val="100000"/>
              </a:lnSpc>
              <a:spcBef>
                <a:spcPts val="1649"/>
              </a:spcBef>
              <a:spcAft>
                <a:spcPts val="0"/>
              </a:spcAft>
              <a:buClrTx/>
              <a:buSzTx/>
              <a:buFont typeface="Arial" panose="020B0604020202020204" pitchFamily="34" charset="0"/>
              <a:buNone/>
              <a:tabLst/>
              <a:defRPr sz="1979">
                <a:solidFill>
                  <a:schemeClr val="bg1"/>
                </a:solidFill>
              </a:defRPr>
            </a:lvl1pPr>
            <a:lvl2pPr>
              <a:lnSpc>
                <a:spcPct val="100000"/>
              </a:lnSpc>
              <a:defRPr sz="2309"/>
            </a:lvl2pPr>
            <a:lvl3pPr>
              <a:lnSpc>
                <a:spcPct val="100000"/>
              </a:lnSpc>
              <a:defRPr sz="2309"/>
            </a:lvl3pPr>
            <a:lvl4pPr>
              <a:lnSpc>
                <a:spcPct val="100000"/>
              </a:lnSpc>
              <a:defRPr sz="2309"/>
            </a:lvl4pPr>
            <a:lvl5pPr>
              <a:lnSpc>
                <a:spcPct val="100000"/>
              </a:lnSpc>
              <a:defRPr sz="1979"/>
            </a:lvl5pPr>
          </a:lstStyle>
          <a:p>
            <a:pPr marL="0" marR="0" lvl="0" indent="0" algn="l" defTabSz="1507846" rtl="0" eaLnBrk="1" fontAlgn="auto" latinLnBrk="0" hangingPunct="1">
              <a:lnSpc>
                <a:spcPct val="100000"/>
              </a:lnSpc>
              <a:spcBef>
                <a:spcPts val="1649"/>
              </a:spcBef>
              <a:spcAft>
                <a:spcPts val="0"/>
              </a:spcAft>
              <a:buClrTx/>
              <a:buSzTx/>
              <a:buFont typeface="Arial" panose="020B0604020202020204" pitchFamily="34" charset="0"/>
              <a:buNone/>
              <a:tabLst/>
              <a:defRPr/>
            </a:pPr>
            <a:r>
              <a:rPr lang="en-US" dirty="0"/>
              <a:t>Click to insert text</a:t>
            </a:r>
          </a:p>
        </p:txBody>
      </p:sp>
      <p:sp>
        <p:nvSpPr>
          <p:cNvPr id="16" name="Text Placeholder 7">
            <a:extLst>
              <a:ext uri="{FF2B5EF4-FFF2-40B4-BE49-F238E27FC236}">
                <a16:creationId xmlns:a16="http://schemas.microsoft.com/office/drawing/2014/main" id="{48AE43DD-B62E-48D8-9D15-C0037A257E1F}"/>
              </a:ext>
            </a:extLst>
          </p:cNvPr>
          <p:cNvSpPr>
            <a:spLocks noGrp="1"/>
          </p:cNvSpPr>
          <p:nvPr>
            <p:ph type="body" sz="quarter" idx="39" hasCustomPrompt="1"/>
          </p:nvPr>
        </p:nvSpPr>
        <p:spPr>
          <a:xfrm>
            <a:off x="13606477" y="7793172"/>
            <a:ext cx="5562477" cy="545513"/>
          </a:xfrm>
          <a:prstGeom prst="rect">
            <a:avLst/>
          </a:prstGeom>
        </p:spPr>
        <p:txBody>
          <a:bodyPr anchor="ctr">
            <a:noAutofit/>
          </a:bodyPr>
          <a:lstStyle>
            <a:lvl1pPr marL="0" marR="0" indent="0" algn="l" defTabSz="1507846" rtl="0" eaLnBrk="1" fontAlgn="auto" latinLnBrk="0" hangingPunct="1">
              <a:lnSpc>
                <a:spcPct val="100000"/>
              </a:lnSpc>
              <a:spcBef>
                <a:spcPts val="1649"/>
              </a:spcBef>
              <a:spcAft>
                <a:spcPts val="0"/>
              </a:spcAft>
              <a:buClrTx/>
              <a:buSzTx/>
              <a:buFont typeface="Arial" panose="020B0604020202020204" pitchFamily="34" charset="0"/>
              <a:buNone/>
              <a:tabLst/>
              <a:defRPr sz="2309" b="1">
                <a:solidFill>
                  <a:schemeClr val="bg1"/>
                </a:solidFill>
              </a:defRPr>
            </a:lvl1pPr>
            <a:lvl2pPr>
              <a:lnSpc>
                <a:spcPct val="100000"/>
              </a:lnSpc>
              <a:defRPr sz="2309"/>
            </a:lvl2pPr>
            <a:lvl3pPr>
              <a:lnSpc>
                <a:spcPct val="100000"/>
              </a:lnSpc>
              <a:defRPr sz="2309"/>
            </a:lvl3pPr>
            <a:lvl4pPr>
              <a:lnSpc>
                <a:spcPct val="100000"/>
              </a:lnSpc>
              <a:defRPr sz="2309"/>
            </a:lvl4pPr>
            <a:lvl5pPr>
              <a:lnSpc>
                <a:spcPct val="100000"/>
              </a:lnSpc>
              <a:defRPr sz="1979"/>
            </a:lvl5pPr>
          </a:lstStyle>
          <a:p>
            <a:pPr marL="0" marR="0" lvl="0" indent="0" algn="l" defTabSz="1507846" rtl="0" eaLnBrk="1" fontAlgn="auto" latinLnBrk="0" hangingPunct="1">
              <a:lnSpc>
                <a:spcPct val="100000"/>
              </a:lnSpc>
              <a:spcBef>
                <a:spcPts val="1649"/>
              </a:spcBef>
              <a:spcAft>
                <a:spcPts val="0"/>
              </a:spcAft>
              <a:buClrTx/>
              <a:buSzTx/>
              <a:buFont typeface="Arial" panose="020B0604020202020204" pitchFamily="34" charset="0"/>
              <a:buNone/>
              <a:tabLst/>
              <a:defRPr/>
            </a:pPr>
            <a:r>
              <a:rPr lang="en-US" dirty="0"/>
              <a:t>Click to insert text</a:t>
            </a:r>
          </a:p>
        </p:txBody>
      </p:sp>
      <p:sp>
        <p:nvSpPr>
          <p:cNvPr id="17" name="Picture Placeholder 17">
            <a:extLst>
              <a:ext uri="{FF2B5EF4-FFF2-40B4-BE49-F238E27FC236}">
                <a16:creationId xmlns:a16="http://schemas.microsoft.com/office/drawing/2014/main" id="{5FEE1530-61C4-4B4B-81F2-FD5A40A46BA4}"/>
              </a:ext>
            </a:extLst>
          </p:cNvPr>
          <p:cNvSpPr>
            <a:spLocks noGrp="1"/>
          </p:cNvSpPr>
          <p:nvPr>
            <p:ph type="pic" sz="quarter" idx="10"/>
          </p:nvPr>
        </p:nvSpPr>
        <p:spPr>
          <a:xfrm>
            <a:off x="904342" y="2333861"/>
            <a:ext cx="5497461" cy="4371849"/>
          </a:xfrm>
          <a:prstGeom prst="rect">
            <a:avLst/>
          </a:prstGeom>
          <a:noFill/>
        </p:spPr>
        <p:txBody>
          <a:bodyPr anchor="ctr"/>
          <a:lstStyle>
            <a:lvl1pPr algn="ctr">
              <a:defRPr/>
            </a:lvl1pPr>
          </a:lstStyle>
          <a:p>
            <a:endParaRPr lang="pt-PT" dirty="0"/>
          </a:p>
        </p:txBody>
      </p:sp>
      <p:sp>
        <p:nvSpPr>
          <p:cNvPr id="18" name="Picture Placeholder 17">
            <a:extLst>
              <a:ext uri="{FF2B5EF4-FFF2-40B4-BE49-F238E27FC236}">
                <a16:creationId xmlns:a16="http://schemas.microsoft.com/office/drawing/2014/main" id="{D93A65F3-998A-4A22-A684-012E81257B36}"/>
              </a:ext>
            </a:extLst>
          </p:cNvPr>
          <p:cNvSpPr>
            <a:spLocks noGrp="1"/>
          </p:cNvSpPr>
          <p:nvPr>
            <p:ph type="pic" sz="quarter" idx="40"/>
          </p:nvPr>
        </p:nvSpPr>
        <p:spPr>
          <a:xfrm>
            <a:off x="7304147" y="2333861"/>
            <a:ext cx="5497461" cy="4371849"/>
          </a:xfrm>
          <a:prstGeom prst="rect">
            <a:avLst/>
          </a:prstGeom>
          <a:noFill/>
        </p:spPr>
        <p:txBody>
          <a:bodyPr anchor="ctr"/>
          <a:lstStyle>
            <a:lvl1pPr algn="ctr">
              <a:defRPr/>
            </a:lvl1pPr>
          </a:lstStyle>
          <a:p>
            <a:endParaRPr lang="pt-PT" dirty="0"/>
          </a:p>
        </p:txBody>
      </p:sp>
      <p:sp>
        <p:nvSpPr>
          <p:cNvPr id="19" name="Picture Placeholder 17">
            <a:extLst>
              <a:ext uri="{FF2B5EF4-FFF2-40B4-BE49-F238E27FC236}">
                <a16:creationId xmlns:a16="http://schemas.microsoft.com/office/drawing/2014/main" id="{8394D322-7683-4BFC-9539-9D0CF62CF6B4}"/>
              </a:ext>
            </a:extLst>
          </p:cNvPr>
          <p:cNvSpPr>
            <a:spLocks noGrp="1"/>
          </p:cNvSpPr>
          <p:nvPr>
            <p:ph type="pic" sz="quarter" idx="41"/>
          </p:nvPr>
        </p:nvSpPr>
        <p:spPr>
          <a:xfrm>
            <a:off x="13670446" y="2333861"/>
            <a:ext cx="5497461" cy="4371849"/>
          </a:xfrm>
          <a:prstGeom prst="rect">
            <a:avLst/>
          </a:prstGeom>
          <a:noFill/>
        </p:spPr>
        <p:txBody>
          <a:bodyPr anchor="ctr"/>
          <a:lstStyle>
            <a:lvl1pPr algn="ctr">
              <a:defRPr/>
            </a:lvl1pPr>
          </a:lstStyle>
          <a:p>
            <a:endParaRPr lang="pt-PT" dirty="0"/>
          </a:p>
        </p:txBody>
      </p:sp>
    </p:spTree>
    <p:extLst>
      <p:ext uri="{BB962C8B-B14F-4D97-AF65-F5344CB8AC3E}">
        <p14:creationId xmlns:p14="http://schemas.microsoft.com/office/powerpoint/2010/main" val="117381595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ext with shape 1">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noProof="0" dirty="0" err="1"/>
              <a:t>Modifiez</a:t>
            </a:r>
            <a:r>
              <a:rPr lang="en-US" noProof="0" dirty="0"/>
              <a:t> le style du </a:t>
            </a:r>
            <a:r>
              <a:rPr lang="en-US" noProof="0" dirty="0" err="1"/>
              <a:t>titre</a:t>
            </a:r>
            <a:endParaRPr lang="en-US" noProof="0" dirty="0"/>
          </a:p>
        </p:txBody>
      </p:sp>
      <p:sp>
        <p:nvSpPr>
          <p:cNvPr id="3" name="Rectangle 2">
            <a:extLst>
              <a:ext uri="{FF2B5EF4-FFF2-40B4-BE49-F238E27FC236}">
                <a16:creationId xmlns:a16="http://schemas.microsoft.com/office/drawing/2014/main" id="{010FC173-D5A4-47FF-A00D-C4CFE4BFCDBD}"/>
              </a:ext>
            </a:extLst>
          </p:cNvPr>
          <p:cNvSpPr/>
          <p:nvPr userDrawn="1"/>
        </p:nvSpPr>
        <p:spPr>
          <a:xfrm>
            <a:off x="0" y="6419427"/>
            <a:ext cx="19517730" cy="425548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09" dirty="0">
              <a:solidFill>
                <a:schemeClr val="tx1"/>
              </a:solidFill>
            </a:endParaRPr>
          </a:p>
        </p:txBody>
      </p:sp>
      <p:sp>
        <p:nvSpPr>
          <p:cNvPr id="4" name="Freeform 24">
            <a:extLst>
              <a:ext uri="{FF2B5EF4-FFF2-40B4-BE49-F238E27FC236}">
                <a16:creationId xmlns:a16="http://schemas.microsoft.com/office/drawing/2014/main" id="{860544D0-DF78-4388-BA43-17214CFB13D5}"/>
              </a:ext>
            </a:extLst>
          </p:cNvPr>
          <p:cNvSpPr/>
          <p:nvPr userDrawn="1"/>
        </p:nvSpPr>
        <p:spPr>
          <a:xfrm>
            <a:off x="8442690" y="2775967"/>
            <a:ext cx="11661410" cy="8552433"/>
          </a:xfrm>
          <a:custGeom>
            <a:avLst/>
            <a:gdLst>
              <a:gd name="connsiteX0" fmla="*/ 7071986 w 7071986"/>
              <a:gd name="connsiteY0" fmla="*/ 0 h 5177482"/>
              <a:gd name="connsiteX1" fmla="*/ 7071986 w 7071986"/>
              <a:gd name="connsiteY1" fmla="*/ 5177482 h 5177482"/>
              <a:gd name="connsiteX2" fmla="*/ 418101 w 7071986"/>
              <a:gd name="connsiteY2" fmla="*/ 5177482 h 5177482"/>
              <a:gd name="connsiteX3" fmla="*/ 364654 w 7071986"/>
              <a:gd name="connsiteY3" fmla="*/ 4968325 h 5177482"/>
              <a:gd name="connsiteX4" fmla="*/ 0 w 7071986"/>
              <a:gd name="connsiteY4" fmla="*/ 3541321 h 5177482"/>
              <a:gd name="connsiteX5" fmla="*/ 3728314 w 7071986"/>
              <a:gd name="connsiteY5" fmla="*/ 1575222 h 5177482"/>
              <a:gd name="connsiteX6" fmla="*/ 7065199 w 7071986"/>
              <a:gd name="connsiteY6" fmla="*/ 3119 h 5177482"/>
              <a:gd name="connsiteX7" fmla="*/ 7071986 w 7071986"/>
              <a:gd name="connsiteY7" fmla="*/ 0 h 5177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71986" h="5177482">
                <a:moveTo>
                  <a:pt x="7071986" y="0"/>
                </a:moveTo>
                <a:lnTo>
                  <a:pt x="7071986" y="5177482"/>
                </a:lnTo>
                <a:lnTo>
                  <a:pt x="418101" y="5177482"/>
                </a:lnTo>
                <a:lnTo>
                  <a:pt x="364654" y="4968325"/>
                </a:lnTo>
                <a:cubicBezTo>
                  <a:pt x="0" y="3541321"/>
                  <a:pt x="0" y="3541321"/>
                  <a:pt x="0" y="3541321"/>
                </a:cubicBezTo>
                <a:cubicBezTo>
                  <a:pt x="1109586" y="2904634"/>
                  <a:pt x="2352357" y="2249268"/>
                  <a:pt x="3728314" y="1575222"/>
                </a:cubicBezTo>
                <a:cubicBezTo>
                  <a:pt x="4522805" y="1180753"/>
                  <a:pt x="6066379" y="462615"/>
                  <a:pt x="7065199" y="3119"/>
                </a:cubicBezTo>
                <a:lnTo>
                  <a:pt x="7071986"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09" dirty="0">
              <a:solidFill>
                <a:schemeClr val="tx1"/>
              </a:solidFill>
            </a:endParaRPr>
          </a:p>
        </p:txBody>
      </p:sp>
      <p:sp>
        <p:nvSpPr>
          <p:cNvPr id="6" name="Text Placeholder 7">
            <a:extLst>
              <a:ext uri="{FF2B5EF4-FFF2-40B4-BE49-F238E27FC236}">
                <a16:creationId xmlns:a16="http://schemas.microsoft.com/office/drawing/2014/main" id="{4A06A14D-1F42-4838-8E8B-B3B587916CA0}"/>
              </a:ext>
            </a:extLst>
          </p:cNvPr>
          <p:cNvSpPr>
            <a:spLocks noGrp="1"/>
          </p:cNvSpPr>
          <p:nvPr>
            <p:ph type="body" sz="quarter" idx="32" hasCustomPrompt="1"/>
          </p:nvPr>
        </p:nvSpPr>
        <p:spPr>
          <a:xfrm>
            <a:off x="672755" y="6745505"/>
            <a:ext cx="8548127" cy="3585196"/>
          </a:xfrm>
          <a:prstGeom prst="rect">
            <a:avLst/>
          </a:prstGeom>
        </p:spPr>
        <p:txBody>
          <a:bodyPr anchor="t" anchorCtr="0">
            <a:noAutofit/>
          </a:bodyPr>
          <a:lstStyle>
            <a:lvl1pPr marL="0" marR="0" indent="0" algn="l" defTabSz="1507846" rtl="0" eaLnBrk="1" fontAlgn="auto" latinLnBrk="0" hangingPunct="1">
              <a:lnSpc>
                <a:spcPct val="100000"/>
              </a:lnSpc>
              <a:spcBef>
                <a:spcPts val="1649"/>
              </a:spcBef>
              <a:spcAft>
                <a:spcPts val="0"/>
              </a:spcAft>
              <a:buClrTx/>
              <a:buSzTx/>
              <a:buFont typeface="Arial" panose="020B0604020202020204" pitchFamily="34" charset="0"/>
              <a:buNone/>
              <a:tabLst/>
              <a:defRPr sz="2309">
                <a:solidFill>
                  <a:schemeClr val="tx2"/>
                </a:solidFill>
              </a:defRPr>
            </a:lvl1pPr>
            <a:lvl2pPr>
              <a:lnSpc>
                <a:spcPct val="100000"/>
              </a:lnSpc>
              <a:defRPr sz="2309"/>
            </a:lvl2pPr>
            <a:lvl3pPr>
              <a:lnSpc>
                <a:spcPct val="100000"/>
              </a:lnSpc>
              <a:defRPr sz="2309"/>
            </a:lvl3pPr>
            <a:lvl4pPr>
              <a:lnSpc>
                <a:spcPct val="100000"/>
              </a:lnSpc>
              <a:defRPr sz="2309"/>
            </a:lvl4pPr>
            <a:lvl5pPr>
              <a:lnSpc>
                <a:spcPct val="100000"/>
              </a:lnSpc>
              <a:defRPr sz="1979"/>
            </a:lvl5pPr>
          </a:lstStyle>
          <a:p>
            <a:pPr marL="0" marR="0" lvl="0" indent="0" algn="l" defTabSz="1507846" rtl="0" eaLnBrk="1" fontAlgn="auto" latinLnBrk="0" hangingPunct="1">
              <a:lnSpc>
                <a:spcPct val="100000"/>
              </a:lnSpc>
              <a:spcBef>
                <a:spcPts val="1649"/>
              </a:spcBef>
              <a:spcAft>
                <a:spcPts val="0"/>
              </a:spcAft>
              <a:buClrTx/>
              <a:buSzTx/>
              <a:buFont typeface="Arial" panose="020B0604020202020204" pitchFamily="34" charset="0"/>
              <a:buNone/>
              <a:tabLst/>
              <a:defRPr/>
            </a:pPr>
            <a:r>
              <a:rPr lang="en-US" dirty="0"/>
              <a:t>Click to insert text</a:t>
            </a:r>
          </a:p>
        </p:txBody>
      </p:sp>
      <p:sp>
        <p:nvSpPr>
          <p:cNvPr id="7" name="Picture Placeholder 17">
            <a:extLst>
              <a:ext uri="{FF2B5EF4-FFF2-40B4-BE49-F238E27FC236}">
                <a16:creationId xmlns:a16="http://schemas.microsoft.com/office/drawing/2014/main" id="{A708578C-F100-4A9D-8F51-C326B77B33A1}"/>
              </a:ext>
            </a:extLst>
          </p:cNvPr>
          <p:cNvSpPr>
            <a:spLocks noGrp="1"/>
          </p:cNvSpPr>
          <p:nvPr>
            <p:ph type="pic" sz="quarter" idx="33"/>
          </p:nvPr>
        </p:nvSpPr>
        <p:spPr>
          <a:xfrm>
            <a:off x="9546678" y="2378667"/>
            <a:ext cx="10557421" cy="8394541"/>
          </a:xfrm>
          <a:prstGeom prst="rect">
            <a:avLst/>
          </a:prstGeom>
          <a:noFill/>
        </p:spPr>
        <p:txBody>
          <a:bodyPr anchor="ctr"/>
          <a:lstStyle>
            <a:lvl1pPr algn="ctr">
              <a:defRPr/>
            </a:lvl1pPr>
          </a:lstStyle>
          <a:p>
            <a:endParaRPr lang="pt-PT" dirty="0"/>
          </a:p>
        </p:txBody>
      </p:sp>
      <p:sp>
        <p:nvSpPr>
          <p:cNvPr id="10" name="Espace réservé du texte 9">
            <a:extLst>
              <a:ext uri="{FF2B5EF4-FFF2-40B4-BE49-F238E27FC236}">
                <a16:creationId xmlns:a16="http://schemas.microsoft.com/office/drawing/2014/main" id="{A279CB84-9791-4B1C-BF97-50ECE105793C}"/>
              </a:ext>
            </a:extLst>
          </p:cNvPr>
          <p:cNvSpPr>
            <a:spLocks noGrp="1"/>
          </p:cNvSpPr>
          <p:nvPr>
            <p:ph type="body" sz="quarter" idx="35" hasCustomPrompt="1"/>
          </p:nvPr>
        </p:nvSpPr>
        <p:spPr>
          <a:xfrm>
            <a:off x="682930" y="2364039"/>
            <a:ext cx="9617508" cy="3500195"/>
          </a:xfrm>
        </p:spPr>
        <p:txBody>
          <a:bodyPr/>
          <a:lstStyle/>
          <a:p>
            <a:pPr lvl="0"/>
            <a:r>
              <a:rPr lang="en-US" noProof="0" dirty="0"/>
              <a:t>Modifier les styles du </a:t>
            </a:r>
            <a:r>
              <a:rPr lang="en-US" noProof="0" dirty="0" err="1"/>
              <a:t>texte</a:t>
            </a:r>
            <a:r>
              <a:rPr lang="en-US" noProof="0" dirty="0"/>
              <a:t> du masque</a:t>
            </a:r>
          </a:p>
          <a:p>
            <a:pPr lvl="1"/>
            <a:r>
              <a:rPr lang="en-US" noProof="0" dirty="0" err="1"/>
              <a:t>Deuxième</a:t>
            </a:r>
            <a:r>
              <a:rPr lang="en-US" noProof="0" dirty="0"/>
              <a:t> </a:t>
            </a:r>
            <a:r>
              <a:rPr lang="en-US" noProof="0" dirty="0" err="1"/>
              <a:t>niveau</a:t>
            </a:r>
            <a:endParaRPr lang="en-US" noProof="0" dirty="0"/>
          </a:p>
          <a:p>
            <a:pPr lvl="2"/>
            <a:r>
              <a:rPr lang="en-US" noProof="0" dirty="0" err="1"/>
              <a:t>Troisième</a:t>
            </a:r>
            <a:r>
              <a:rPr lang="en-US" noProof="0" dirty="0"/>
              <a:t> </a:t>
            </a:r>
            <a:r>
              <a:rPr lang="en-US" noProof="0" dirty="0" err="1"/>
              <a:t>niveau</a:t>
            </a:r>
            <a:endParaRPr lang="en-US" noProof="0" dirty="0"/>
          </a:p>
          <a:p>
            <a:pPr lvl="3"/>
            <a:r>
              <a:rPr lang="en-US" noProof="0" dirty="0" err="1"/>
              <a:t>Quatrième</a:t>
            </a:r>
            <a:r>
              <a:rPr lang="en-US" noProof="0" dirty="0"/>
              <a:t> </a:t>
            </a:r>
            <a:r>
              <a:rPr lang="en-US" noProof="0" dirty="0" err="1"/>
              <a:t>niveau</a:t>
            </a:r>
            <a:endParaRPr lang="en-US" noProof="0" dirty="0"/>
          </a:p>
          <a:p>
            <a:pPr lvl="4"/>
            <a:r>
              <a:rPr lang="en-US" noProof="0" dirty="0" err="1"/>
              <a:t>Cinquième</a:t>
            </a:r>
            <a:r>
              <a:rPr lang="en-US" noProof="0" dirty="0"/>
              <a:t> </a:t>
            </a:r>
            <a:r>
              <a:rPr lang="en-US" noProof="0" dirty="0" err="1"/>
              <a:t>niveau</a:t>
            </a:r>
            <a:endParaRPr lang="en-US" noProof="0" dirty="0"/>
          </a:p>
        </p:txBody>
      </p:sp>
    </p:spTree>
    <p:extLst>
      <p:ext uri="{BB962C8B-B14F-4D97-AF65-F5344CB8AC3E}">
        <p14:creationId xmlns:p14="http://schemas.microsoft.com/office/powerpoint/2010/main" val="3063122552"/>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ext with shape 2">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p>
            <a:r>
              <a:rPr lang="en-US" noProof="0" dirty="0" err="1"/>
              <a:t>Modifiez</a:t>
            </a:r>
            <a:r>
              <a:rPr lang="en-US" noProof="0" dirty="0"/>
              <a:t> le style du </a:t>
            </a:r>
            <a:r>
              <a:rPr lang="en-US" noProof="0" dirty="0" err="1"/>
              <a:t>titre</a:t>
            </a:r>
            <a:endParaRPr lang="en-US" noProof="0" dirty="0"/>
          </a:p>
        </p:txBody>
      </p:sp>
      <p:sp>
        <p:nvSpPr>
          <p:cNvPr id="3" name="Freeform 32">
            <a:extLst>
              <a:ext uri="{FF2B5EF4-FFF2-40B4-BE49-F238E27FC236}">
                <a16:creationId xmlns:a16="http://schemas.microsoft.com/office/drawing/2014/main" id="{A7F6CEB3-7405-4051-8238-D8DA77C7119F}"/>
              </a:ext>
            </a:extLst>
          </p:cNvPr>
          <p:cNvSpPr/>
          <p:nvPr userDrawn="1"/>
        </p:nvSpPr>
        <p:spPr>
          <a:xfrm>
            <a:off x="3993157" y="6777922"/>
            <a:ext cx="16110943" cy="4550480"/>
          </a:xfrm>
          <a:custGeom>
            <a:avLst/>
            <a:gdLst>
              <a:gd name="connsiteX0" fmla="*/ 3514064 w 9770376"/>
              <a:gd name="connsiteY0" fmla="*/ 0 h 2754775"/>
              <a:gd name="connsiteX1" fmla="*/ 9770376 w 9770376"/>
              <a:gd name="connsiteY1" fmla="*/ 0 h 2754775"/>
              <a:gd name="connsiteX2" fmla="*/ 9770376 w 9770376"/>
              <a:gd name="connsiteY2" fmla="*/ 2754775 h 2754775"/>
              <a:gd name="connsiteX3" fmla="*/ 0 w 9770376"/>
              <a:gd name="connsiteY3" fmla="*/ 2754775 h 2754775"/>
              <a:gd name="connsiteX4" fmla="*/ 12200 w 9770376"/>
              <a:gd name="connsiteY4" fmla="*/ 2696642 h 2754775"/>
              <a:gd name="connsiteX5" fmla="*/ 3514064 w 9770376"/>
              <a:gd name="connsiteY5" fmla="*/ 0 h 275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770376" h="2754775">
                <a:moveTo>
                  <a:pt x="3514064" y="0"/>
                </a:moveTo>
                <a:cubicBezTo>
                  <a:pt x="3514064" y="0"/>
                  <a:pt x="3514064" y="0"/>
                  <a:pt x="9770376" y="0"/>
                </a:cubicBezTo>
                <a:lnTo>
                  <a:pt x="9770376" y="2754775"/>
                </a:lnTo>
                <a:lnTo>
                  <a:pt x="0" y="2754775"/>
                </a:lnTo>
                <a:lnTo>
                  <a:pt x="12200" y="2696642"/>
                </a:lnTo>
                <a:cubicBezTo>
                  <a:pt x="419422" y="1115950"/>
                  <a:pt x="1846958" y="0"/>
                  <a:pt x="3514064"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09" dirty="0">
              <a:solidFill>
                <a:schemeClr val="tx1"/>
              </a:solidFill>
            </a:endParaRPr>
          </a:p>
        </p:txBody>
      </p:sp>
      <p:sp>
        <p:nvSpPr>
          <p:cNvPr id="5" name="Text Placeholder 7">
            <a:extLst>
              <a:ext uri="{FF2B5EF4-FFF2-40B4-BE49-F238E27FC236}">
                <a16:creationId xmlns:a16="http://schemas.microsoft.com/office/drawing/2014/main" id="{F5F376B2-DD50-4E1C-BEFD-FC61CD05BFC3}"/>
              </a:ext>
            </a:extLst>
          </p:cNvPr>
          <p:cNvSpPr>
            <a:spLocks noGrp="1"/>
          </p:cNvSpPr>
          <p:nvPr>
            <p:ph type="body" sz="quarter" idx="33" hasCustomPrompt="1"/>
          </p:nvPr>
        </p:nvSpPr>
        <p:spPr>
          <a:xfrm>
            <a:off x="8624913" y="7487834"/>
            <a:ext cx="2201145" cy="2330114"/>
          </a:xfrm>
          <a:prstGeom prst="rect">
            <a:avLst/>
          </a:prstGeom>
        </p:spPr>
        <p:txBody>
          <a:bodyPr wrap="square" anchor="t" anchorCtr="0">
            <a:noAutofit/>
          </a:bodyPr>
          <a:lstStyle>
            <a:lvl1pPr marL="0" marR="0" indent="0" algn="l" defTabSz="1507846" rtl="0" eaLnBrk="1" fontAlgn="auto" latinLnBrk="0" hangingPunct="1">
              <a:lnSpc>
                <a:spcPct val="100000"/>
              </a:lnSpc>
              <a:spcBef>
                <a:spcPts val="1649"/>
              </a:spcBef>
              <a:spcAft>
                <a:spcPts val="0"/>
              </a:spcAft>
              <a:buClrTx/>
              <a:buSzTx/>
              <a:buFont typeface="Arial" panose="020B0604020202020204" pitchFamily="34" charset="0"/>
              <a:buNone/>
              <a:tabLst/>
              <a:defRPr sz="1319" b="0">
                <a:solidFill>
                  <a:schemeClr val="bg1"/>
                </a:solidFill>
              </a:defRPr>
            </a:lvl1pPr>
            <a:lvl2pPr>
              <a:lnSpc>
                <a:spcPct val="100000"/>
              </a:lnSpc>
              <a:defRPr sz="2309"/>
            </a:lvl2pPr>
            <a:lvl3pPr>
              <a:lnSpc>
                <a:spcPct val="100000"/>
              </a:lnSpc>
              <a:defRPr sz="2309"/>
            </a:lvl3pPr>
            <a:lvl4pPr>
              <a:lnSpc>
                <a:spcPct val="100000"/>
              </a:lnSpc>
              <a:defRPr sz="2309"/>
            </a:lvl4pPr>
            <a:lvl5pPr>
              <a:lnSpc>
                <a:spcPct val="100000"/>
              </a:lnSpc>
              <a:defRPr sz="1979"/>
            </a:lvl5pPr>
          </a:lstStyle>
          <a:p>
            <a:pPr marL="0" marR="0" lvl="0" indent="0" algn="l" defTabSz="1507846" rtl="0" eaLnBrk="1" fontAlgn="auto" latinLnBrk="0" hangingPunct="1">
              <a:lnSpc>
                <a:spcPct val="100000"/>
              </a:lnSpc>
              <a:spcBef>
                <a:spcPts val="1649"/>
              </a:spcBef>
              <a:spcAft>
                <a:spcPts val="0"/>
              </a:spcAft>
              <a:buClrTx/>
              <a:buSzTx/>
              <a:buFont typeface="Arial" panose="020B0604020202020204" pitchFamily="34" charset="0"/>
              <a:buNone/>
              <a:tabLst/>
              <a:defRPr/>
            </a:pPr>
            <a:r>
              <a:rPr lang="en-US" dirty="0"/>
              <a:t>Click to insert text</a:t>
            </a:r>
          </a:p>
        </p:txBody>
      </p:sp>
      <p:sp>
        <p:nvSpPr>
          <p:cNvPr id="6" name="Text Placeholder 7">
            <a:extLst>
              <a:ext uri="{FF2B5EF4-FFF2-40B4-BE49-F238E27FC236}">
                <a16:creationId xmlns:a16="http://schemas.microsoft.com/office/drawing/2014/main" id="{654BC828-2ED7-4D74-87C7-F834918E5DA3}"/>
              </a:ext>
            </a:extLst>
          </p:cNvPr>
          <p:cNvSpPr>
            <a:spLocks noGrp="1"/>
          </p:cNvSpPr>
          <p:nvPr>
            <p:ph type="body" sz="quarter" idx="34" hasCustomPrompt="1"/>
          </p:nvPr>
        </p:nvSpPr>
        <p:spPr>
          <a:xfrm>
            <a:off x="11560111" y="7487834"/>
            <a:ext cx="2201145" cy="2330114"/>
          </a:xfrm>
          <a:prstGeom prst="rect">
            <a:avLst/>
          </a:prstGeom>
        </p:spPr>
        <p:txBody>
          <a:bodyPr wrap="square" anchor="t" anchorCtr="0">
            <a:noAutofit/>
          </a:bodyPr>
          <a:lstStyle>
            <a:lvl1pPr marL="0" marR="0" indent="0" algn="l" defTabSz="1507846" rtl="0" eaLnBrk="1" fontAlgn="auto" latinLnBrk="0" hangingPunct="1">
              <a:lnSpc>
                <a:spcPct val="100000"/>
              </a:lnSpc>
              <a:spcBef>
                <a:spcPts val="1649"/>
              </a:spcBef>
              <a:spcAft>
                <a:spcPts val="0"/>
              </a:spcAft>
              <a:buClrTx/>
              <a:buSzTx/>
              <a:buFont typeface="Arial" panose="020B0604020202020204" pitchFamily="34" charset="0"/>
              <a:buNone/>
              <a:tabLst/>
              <a:defRPr sz="1319" b="0">
                <a:solidFill>
                  <a:schemeClr val="bg1"/>
                </a:solidFill>
              </a:defRPr>
            </a:lvl1pPr>
            <a:lvl2pPr>
              <a:lnSpc>
                <a:spcPct val="100000"/>
              </a:lnSpc>
              <a:defRPr sz="2309"/>
            </a:lvl2pPr>
            <a:lvl3pPr>
              <a:lnSpc>
                <a:spcPct val="100000"/>
              </a:lnSpc>
              <a:defRPr sz="2309"/>
            </a:lvl3pPr>
            <a:lvl4pPr>
              <a:lnSpc>
                <a:spcPct val="100000"/>
              </a:lnSpc>
              <a:defRPr sz="2309"/>
            </a:lvl4pPr>
            <a:lvl5pPr>
              <a:lnSpc>
                <a:spcPct val="100000"/>
              </a:lnSpc>
              <a:defRPr sz="1979"/>
            </a:lvl5pPr>
          </a:lstStyle>
          <a:p>
            <a:pPr marL="0" marR="0" lvl="0" indent="0" algn="l" defTabSz="1507846" rtl="0" eaLnBrk="1" fontAlgn="auto" latinLnBrk="0" hangingPunct="1">
              <a:lnSpc>
                <a:spcPct val="100000"/>
              </a:lnSpc>
              <a:spcBef>
                <a:spcPts val="1649"/>
              </a:spcBef>
              <a:spcAft>
                <a:spcPts val="0"/>
              </a:spcAft>
              <a:buClrTx/>
              <a:buSzTx/>
              <a:buFont typeface="Arial" panose="020B0604020202020204" pitchFamily="34" charset="0"/>
              <a:buNone/>
              <a:tabLst/>
              <a:defRPr/>
            </a:pPr>
            <a:r>
              <a:rPr lang="en-US" dirty="0"/>
              <a:t>Click to insert text</a:t>
            </a:r>
          </a:p>
        </p:txBody>
      </p:sp>
      <p:sp>
        <p:nvSpPr>
          <p:cNvPr id="7" name="Text Placeholder 7">
            <a:extLst>
              <a:ext uri="{FF2B5EF4-FFF2-40B4-BE49-F238E27FC236}">
                <a16:creationId xmlns:a16="http://schemas.microsoft.com/office/drawing/2014/main" id="{551D7B2F-5104-4959-961E-FB59ED4375CD}"/>
              </a:ext>
            </a:extLst>
          </p:cNvPr>
          <p:cNvSpPr>
            <a:spLocks noGrp="1"/>
          </p:cNvSpPr>
          <p:nvPr>
            <p:ph type="body" sz="quarter" idx="35" hasCustomPrompt="1"/>
          </p:nvPr>
        </p:nvSpPr>
        <p:spPr>
          <a:xfrm>
            <a:off x="14495310" y="7487834"/>
            <a:ext cx="2201145" cy="2330114"/>
          </a:xfrm>
          <a:prstGeom prst="rect">
            <a:avLst/>
          </a:prstGeom>
        </p:spPr>
        <p:txBody>
          <a:bodyPr wrap="square" anchor="t" anchorCtr="0">
            <a:noAutofit/>
          </a:bodyPr>
          <a:lstStyle>
            <a:lvl1pPr marL="0" marR="0" indent="0" algn="l" defTabSz="1507846" rtl="0" eaLnBrk="1" fontAlgn="auto" latinLnBrk="0" hangingPunct="1">
              <a:lnSpc>
                <a:spcPct val="100000"/>
              </a:lnSpc>
              <a:spcBef>
                <a:spcPts val="1649"/>
              </a:spcBef>
              <a:spcAft>
                <a:spcPts val="0"/>
              </a:spcAft>
              <a:buClrTx/>
              <a:buSzTx/>
              <a:buFont typeface="Arial" panose="020B0604020202020204" pitchFamily="34" charset="0"/>
              <a:buNone/>
              <a:tabLst/>
              <a:defRPr sz="1319" b="0">
                <a:solidFill>
                  <a:schemeClr val="bg1"/>
                </a:solidFill>
              </a:defRPr>
            </a:lvl1pPr>
            <a:lvl2pPr>
              <a:lnSpc>
                <a:spcPct val="100000"/>
              </a:lnSpc>
              <a:defRPr sz="2309"/>
            </a:lvl2pPr>
            <a:lvl3pPr>
              <a:lnSpc>
                <a:spcPct val="100000"/>
              </a:lnSpc>
              <a:defRPr sz="2309"/>
            </a:lvl3pPr>
            <a:lvl4pPr>
              <a:lnSpc>
                <a:spcPct val="100000"/>
              </a:lnSpc>
              <a:defRPr sz="2309"/>
            </a:lvl4pPr>
            <a:lvl5pPr>
              <a:lnSpc>
                <a:spcPct val="100000"/>
              </a:lnSpc>
              <a:defRPr sz="1979"/>
            </a:lvl5pPr>
          </a:lstStyle>
          <a:p>
            <a:pPr marL="0" marR="0" lvl="0" indent="0" algn="l" defTabSz="1507846" rtl="0" eaLnBrk="1" fontAlgn="auto" latinLnBrk="0" hangingPunct="1">
              <a:lnSpc>
                <a:spcPct val="100000"/>
              </a:lnSpc>
              <a:spcBef>
                <a:spcPts val="1649"/>
              </a:spcBef>
              <a:spcAft>
                <a:spcPts val="0"/>
              </a:spcAft>
              <a:buClrTx/>
              <a:buSzTx/>
              <a:buFont typeface="Arial" panose="020B0604020202020204" pitchFamily="34" charset="0"/>
              <a:buNone/>
              <a:tabLst/>
              <a:defRPr/>
            </a:pPr>
            <a:r>
              <a:rPr lang="en-US" dirty="0"/>
              <a:t>Click to insert text</a:t>
            </a:r>
          </a:p>
        </p:txBody>
      </p:sp>
      <p:sp>
        <p:nvSpPr>
          <p:cNvPr id="8" name="Text Placeholder 7">
            <a:extLst>
              <a:ext uri="{FF2B5EF4-FFF2-40B4-BE49-F238E27FC236}">
                <a16:creationId xmlns:a16="http://schemas.microsoft.com/office/drawing/2014/main" id="{C15B7D40-0C17-48D4-899B-BC18E22E2D79}"/>
              </a:ext>
            </a:extLst>
          </p:cNvPr>
          <p:cNvSpPr>
            <a:spLocks noGrp="1"/>
          </p:cNvSpPr>
          <p:nvPr>
            <p:ph type="body" sz="quarter" idx="36" hasCustomPrompt="1"/>
          </p:nvPr>
        </p:nvSpPr>
        <p:spPr>
          <a:xfrm>
            <a:off x="17249572" y="7487834"/>
            <a:ext cx="2201145" cy="2330114"/>
          </a:xfrm>
          <a:prstGeom prst="rect">
            <a:avLst/>
          </a:prstGeom>
        </p:spPr>
        <p:txBody>
          <a:bodyPr wrap="square" anchor="t" anchorCtr="0">
            <a:noAutofit/>
          </a:bodyPr>
          <a:lstStyle>
            <a:lvl1pPr marL="0" marR="0" indent="0" algn="l" defTabSz="1507846" rtl="0" eaLnBrk="1" fontAlgn="auto" latinLnBrk="0" hangingPunct="1">
              <a:lnSpc>
                <a:spcPct val="100000"/>
              </a:lnSpc>
              <a:spcBef>
                <a:spcPts val="1649"/>
              </a:spcBef>
              <a:spcAft>
                <a:spcPts val="0"/>
              </a:spcAft>
              <a:buClrTx/>
              <a:buSzTx/>
              <a:buFont typeface="Arial" panose="020B0604020202020204" pitchFamily="34" charset="0"/>
              <a:buNone/>
              <a:tabLst/>
              <a:defRPr sz="1319" b="0">
                <a:solidFill>
                  <a:schemeClr val="bg1"/>
                </a:solidFill>
              </a:defRPr>
            </a:lvl1pPr>
            <a:lvl2pPr>
              <a:lnSpc>
                <a:spcPct val="100000"/>
              </a:lnSpc>
              <a:defRPr sz="2309"/>
            </a:lvl2pPr>
            <a:lvl3pPr>
              <a:lnSpc>
                <a:spcPct val="100000"/>
              </a:lnSpc>
              <a:defRPr sz="2309"/>
            </a:lvl3pPr>
            <a:lvl4pPr>
              <a:lnSpc>
                <a:spcPct val="100000"/>
              </a:lnSpc>
              <a:defRPr sz="2309"/>
            </a:lvl4pPr>
            <a:lvl5pPr>
              <a:lnSpc>
                <a:spcPct val="100000"/>
              </a:lnSpc>
              <a:defRPr sz="1979"/>
            </a:lvl5pPr>
          </a:lstStyle>
          <a:p>
            <a:pPr marL="0" marR="0" lvl="0" indent="0" algn="l" defTabSz="1507846" rtl="0" eaLnBrk="1" fontAlgn="auto" latinLnBrk="0" hangingPunct="1">
              <a:lnSpc>
                <a:spcPct val="100000"/>
              </a:lnSpc>
              <a:spcBef>
                <a:spcPts val="1649"/>
              </a:spcBef>
              <a:spcAft>
                <a:spcPts val="0"/>
              </a:spcAft>
              <a:buClrTx/>
              <a:buSzTx/>
              <a:buFont typeface="Arial" panose="020B0604020202020204" pitchFamily="34" charset="0"/>
              <a:buNone/>
              <a:tabLst/>
              <a:defRPr/>
            </a:pPr>
            <a:r>
              <a:rPr lang="en-US" dirty="0"/>
              <a:t>Click to insert text</a:t>
            </a:r>
          </a:p>
        </p:txBody>
      </p:sp>
      <p:sp>
        <p:nvSpPr>
          <p:cNvPr id="14" name="Espace réservé du texte 13">
            <a:extLst>
              <a:ext uri="{FF2B5EF4-FFF2-40B4-BE49-F238E27FC236}">
                <a16:creationId xmlns:a16="http://schemas.microsoft.com/office/drawing/2014/main" id="{372FD527-9A6E-4029-9AD7-0BB95BC9B9CF}"/>
              </a:ext>
            </a:extLst>
          </p:cNvPr>
          <p:cNvSpPr>
            <a:spLocks noGrp="1"/>
          </p:cNvSpPr>
          <p:nvPr>
            <p:ph type="body" sz="quarter" idx="41" hasCustomPrompt="1"/>
          </p:nvPr>
        </p:nvSpPr>
        <p:spPr>
          <a:xfrm>
            <a:off x="651813" y="2378667"/>
            <a:ext cx="18996000" cy="3540125"/>
          </a:xfrm>
        </p:spPr>
        <p:txBody>
          <a:bodyPr/>
          <a:lstStyle/>
          <a:p>
            <a:pPr lvl="0"/>
            <a:r>
              <a:rPr lang="en-US" noProof="0" dirty="0"/>
              <a:t>Modifier les styles du </a:t>
            </a:r>
            <a:r>
              <a:rPr lang="en-US" noProof="0" dirty="0" err="1"/>
              <a:t>texte</a:t>
            </a:r>
            <a:r>
              <a:rPr lang="en-US" noProof="0" dirty="0"/>
              <a:t> du masque</a:t>
            </a:r>
          </a:p>
          <a:p>
            <a:pPr lvl="1"/>
            <a:r>
              <a:rPr lang="en-US" noProof="0" dirty="0" err="1"/>
              <a:t>Deuxième</a:t>
            </a:r>
            <a:r>
              <a:rPr lang="en-US" noProof="0" dirty="0"/>
              <a:t> </a:t>
            </a:r>
            <a:r>
              <a:rPr lang="en-US" noProof="0" dirty="0" err="1"/>
              <a:t>niveau</a:t>
            </a:r>
            <a:endParaRPr lang="en-US" noProof="0" dirty="0"/>
          </a:p>
          <a:p>
            <a:pPr lvl="2"/>
            <a:r>
              <a:rPr lang="en-US" noProof="0" dirty="0" err="1"/>
              <a:t>Troisième</a:t>
            </a:r>
            <a:r>
              <a:rPr lang="en-US" noProof="0" dirty="0"/>
              <a:t> </a:t>
            </a:r>
            <a:r>
              <a:rPr lang="en-US" noProof="0" dirty="0" err="1"/>
              <a:t>niveau</a:t>
            </a:r>
            <a:endParaRPr lang="en-US" noProof="0" dirty="0"/>
          </a:p>
          <a:p>
            <a:pPr lvl="3"/>
            <a:r>
              <a:rPr lang="en-US" noProof="0" dirty="0" err="1"/>
              <a:t>Quatrième</a:t>
            </a:r>
            <a:r>
              <a:rPr lang="en-US" noProof="0" dirty="0"/>
              <a:t> </a:t>
            </a:r>
            <a:r>
              <a:rPr lang="en-US" noProof="0" dirty="0" err="1"/>
              <a:t>niveau</a:t>
            </a:r>
            <a:endParaRPr lang="en-US" noProof="0" dirty="0"/>
          </a:p>
          <a:p>
            <a:pPr lvl="4"/>
            <a:r>
              <a:rPr lang="en-US" noProof="0" dirty="0" err="1"/>
              <a:t>Cinquième</a:t>
            </a:r>
            <a:r>
              <a:rPr lang="en-US" noProof="0" dirty="0"/>
              <a:t> </a:t>
            </a:r>
            <a:r>
              <a:rPr lang="en-US" noProof="0" dirty="0" err="1"/>
              <a:t>niveau</a:t>
            </a:r>
            <a:endParaRPr lang="en-US" noProof="0" dirty="0"/>
          </a:p>
        </p:txBody>
      </p:sp>
      <p:pic>
        <p:nvPicPr>
          <p:cNvPr id="17" name="Picture 10">
            <a:extLst>
              <a:ext uri="{FF2B5EF4-FFF2-40B4-BE49-F238E27FC236}">
                <a16:creationId xmlns:a16="http://schemas.microsoft.com/office/drawing/2014/main" id="{CCB7305E-2919-4253-9EA9-AB3870A92F5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1371382" y="3960061"/>
            <a:ext cx="2387362" cy="2357769"/>
          </a:xfrm>
          <a:prstGeom prst="rect">
            <a:avLst/>
          </a:prstGeom>
        </p:spPr>
      </p:pic>
      <p:pic>
        <p:nvPicPr>
          <p:cNvPr id="18" name="Picture 11">
            <a:extLst>
              <a:ext uri="{FF2B5EF4-FFF2-40B4-BE49-F238E27FC236}">
                <a16:creationId xmlns:a16="http://schemas.microsoft.com/office/drawing/2014/main" id="{E0FF8101-7CE9-448B-AB2F-0AA1CB7DFF9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4286476" y="3960061"/>
            <a:ext cx="2010410" cy="2357769"/>
          </a:xfrm>
          <a:prstGeom prst="rect">
            <a:avLst/>
          </a:prstGeom>
        </p:spPr>
      </p:pic>
      <p:pic>
        <p:nvPicPr>
          <p:cNvPr id="19" name="Picture 15">
            <a:extLst>
              <a:ext uri="{FF2B5EF4-FFF2-40B4-BE49-F238E27FC236}">
                <a16:creationId xmlns:a16="http://schemas.microsoft.com/office/drawing/2014/main" id="{5374EEE8-E554-4DDC-A432-4F90B6ED01B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7243799" y="4084278"/>
            <a:ext cx="1872831" cy="2033740"/>
          </a:xfrm>
          <a:prstGeom prst="rect">
            <a:avLst/>
          </a:prstGeom>
        </p:spPr>
      </p:pic>
      <p:pic>
        <p:nvPicPr>
          <p:cNvPr id="20" name="Picture 16">
            <a:extLst>
              <a:ext uri="{FF2B5EF4-FFF2-40B4-BE49-F238E27FC236}">
                <a16:creationId xmlns:a16="http://schemas.microsoft.com/office/drawing/2014/main" id="{DFB045FC-8EBB-47AD-954A-87B8C56E12B5}"/>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8715127" y="3960061"/>
            <a:ext cx="1801830" cy="2357769"/>
          </a:xfrm>
          <a:prstGeom prst="rect">
            <a:avLst/>
          </a:prstGeom>
        </p:spPr>
      </p:pic>
      <p:grpSp>
        <p:nvGrpSpPr>
          <p:cNvPr id="21" name="Group 18">
            <a:extLst>
              <a:ext uri="{FF2B5EF4-FFF2-40B4-BE49-F238E27FC236}">
                <a16:creationId xmlns:a16="http://schemas.microsoft.com/office/drawing/2014/main" id="{DDEFFB1D-CB9B-4D95-8E87-3CD3B774B038}"/>
              </a:ext>
            </a:extLst>
          </p:cNvPr>
          <p:cNvGrpSpPr/>
          <p:nvPr userDrawn="1"/>
        </p:nvGrpSpPr>
        <p:grpSpPr>
          <a:xfrm>
            <a:off x="8911825" y="6369071"/>
            <a:ext cx="1215764" cy="855585"/>
            <a:chOff x="4724400" y="3918586"/>
            <a:chExt cx="861243" cy="605034"/>
          </a:xfrm>
        </p:grpSpPr>
        <p:pic>
          <p:nvPicPr>
            <p:cNvPr id="22" name="Picture 19">
              <a:extLst>
                <a:ext uri="{FF2B5EF4-FFF2-40B4-BE49-F238E27FC236}">
                  <a16:creationId xmlns:a16="http://schemas.microsoft.com/office/drawing/2014/main" id="{DD62125D-F496-446F-B280-7001B749A74D}"/>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23" name="TextBox 20">
              <a:extLst>
                <a:ext uri="{FF2B5EF4-FFF2-40B4-BE49-F238E27FC236}">
                  <a16:creationId xmlns:a16="http://schemas.microsoft.com/office/drawing/2014/main" id="{F4F243C2-E5FD-4763-93F6-04861F069B2F}"/>
                </a:ext>
              </a:extLst>
            </p:cNvPr>
            <p:cNvSpPr txBox="1"/>
            <p:nvPr/>
          </p:nvSpPr>
          <p:spPr>
            <a:xfrm>
              <a:off x="4876217" y="3953867"/>
              <a:ext cx="396538" cy="352361"/>
            </a:xfrm>
            <a:prstGeom prst="rect">
              <a:avLst/>
            </a:prstGeom>
            <a:noFill/>
          </p:spPr>
          <p:txBody>
            <a:bodyPr wrap="none" rtlCol="0">
              <a:spAutoFit/>
            </a:bodyPr>
            <a:lstStyle/>
            <a:p>
              <a:r>
                <a:rPr lang="en-US" sz="2638" b="1" dirty="0">
                  <a:solidFill>
                    <a:schemeClr val="bg1"/>
                  </a:solidFill>
                </a:rPr>
                <a:t>01</a:t>
              </a:r>
            </a:p>
          </p:txBody>
        </p:sp>
      </p:grpSp>
      <p:grpSp>
        <p:nvGrpSpPr>
          <p:cNvPr id="24" name="Group 21">
            <a:extLst>
              <a:ext uri="{FF2B5EF4-FFF2-40B4-BE49-F238E27FC236}">
                <a16:creationId xmlns:a16="http://schemas.microsoft.com/office/drawing/2014/main" id="{7DA66445-5C49-4245-8174-B354C040743B}"/>
              </a:ext>
            </a:extLst>
          </p:cNvPr>
          <p:cNvGrpSpPr/>
          <p:nvPr userDrawn="1"/>
        </p:nvGrpSpPr>
        <p:grpSpPr>
          <a:xfrm>
            <a:off x="11860426" y="6369071"/>
            <a:ext cx="1215764" cy="855585"/>
            <a:chOff x="4724400" y="3918586"/>
            <a:chExt cx="861243" cy="605034"/>
          </a:xfrm>
        </p:grpSpPr>
        <p:pic>
          <p:nvPicPr>
            <p:cNvPr id="25" name="Picture 22">
              <a:extLst>
                <a:ext uri="{FF2B5EF4-FFF2-40B4-BE49-F238E27FC236}">
                  <a16:creationId xmlns:a16="http://schemas.microsoft.com/office/drawing/2014/main" id="{72B6EF71-5D51-4B0F-B380-5BFA1886F6DC}"/>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26" name="TextBox 23">
              <a:extLst>
                <a:ext uri="{FF2B5EF4-FFF2-40B4-BE49-F238E27FC236}">
                  <a16:creationId xmlns:a16="http://schemas.microsoft.com/office/drawing/2014/main" id="{F779D390-239F-4E3D-B79A-2507C5595F18}"/>
                </a:ext>
              </a:extLst>
            </p:cNvPr>
            <p:cNvSpPr txBox="1"/>
            <p:nvPr/>
          </p:nvSpPr>
          <p:spPr>
            <a:xfrm>
              <a:off x="4876217" y="3953867"/>
              <a:ext cx="396538" cy="352361"/>
            </a:xfrm>
            <a:prstGeom prst="rect">
              <a:avLst/>
            </a:prstGeom>
            <a:noFill/>
          </p:spPr>
          <p:txBody>
            <a:bodyPr wrap="none" rtlCol="0">
              <a:spAutoFit/>
            </a:bodyPr>
            <a:lstStyle/>
            <a:p>
              <a:r>
                <a:rPr lang="en-US" sz="2638" b="1" dirty="0">
                  <a:solidFill>
                    <a:schemeClr val="bg1"/>
                  </a:solidFill>
                </a:rPr>
                <a:t>02</a:t>
              </a:r>
            </a:p>
          </p:txBody>
        </p:sp>
      </p:grpSp>
      <p:grpSp>
        <p:nvGrpSpPr>
          <p:cNvPr id="27" name="Group 24">
            <a:extLst>
              <a:ext uri="{FF2B5EF4-FFF2-40B4-BE49-F238E27FC236}">
                <a16:creationId xmlns:a16="http://schemas.microsoft.com/office/drawing/2014/main" id="{1615F94E-B05B-448E-8298-93DC5209F57E}"/>
              </a:ext>
            </a:extLst>
          </p:cNvPr>
          <p:cNvGrpSpPr/>
          <p:nvPr userDrawn="1"/>
        </p:nvGrpSpPr>
        <p:grpSpPr>
          <a:xfrm>
            <a:off x="14859288" y="6369071"/>
            <a:ext cx="1215764" cy="855585"/>
            <a:chOff x="4724400" y="3918586"/>
            <a:chExt cx="861243" cy="605034"/>
          </a:xfrm>
        </p:grpSpPr>
        <p:pic>
          <p:nvPicPr>
            <p:cNvPr id="28" name="Picture 25">
              <a:extLst>
                <a:ext uri="{FF2B5EF4-FFF2-40B4-BE49-F238E27FC236}">
                  <a16:creationId xmlns:a16="http://schemas.microsoft.com/office/drawing/2014/main" id="{B42141D0-ECAD-43CD-8254-C86EEF79A69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29" name="TextBox 26">
              <a:extLst>
                <a:ext uri="{FF2B5EF4-FFF2-40B4-BE49-F238E27FC236}">
                  <a16:creationId xmlns:a16="http://schemas.microsoft.com/office/drawing/2014/main" id="{651A14B6-F248-4C6E-A94F-325B8F06A1F9}"/>
                </a:ext>
              </a:extLst>
            </p:cNvPr>
            <p:cNvSpPr txBox="1"/>
            <p:nvPr/>
          </p:nvSpPr>
          <p:spPr>
            <a:xfrm>
              <a:off x="4876217" y="3953867"/>
              <a:ext cx="396538" cy="352361"/>
            </a:xfrm>
            <a:prstGeom prst="rect">
              <a:avLst/>
            </a:prstGeom>
            <a:noFill/>
          </p:spPr>
          <p:txBody>
            <a:bodyPr wrap="none" rtlCol="0">
              <a:spAutoFit/>
            </a:bodyPr>
            <a:lstStyle/>
            <a:p>
              <a:r>
                <a:rPr lang="en-US" sz="2638" b="1" dirty="0">
                  <a:solidFill>
                    <a:schemeClr val="bg1"/>
                  </a:solidFill>
                </a:rPr>
                <a:t>03</a:t>
              </a:r>
            </a:p>
          </p:txBody>
        </p:sp>
      </p:grpSp>
      <p:grpSp>
        <p:nvGrpSpPr>
          <p:cNvPr id="30" name="Group 27">
            <a:extLst>
              <a:ext uri="{FF2B5EF4-FFF2-40B4-BE49-F238E27FC236}">
                <a16:creationId xmlns:a16="http://schemas.microsoft.com/office/drawing/2014/main" id="{332D56EB-9BF1-4C07-B647-FA1FCC0A5791}"/>
              </a:ext>
            </a:extLst>
          </p:cNvPr>
          <p:cNvGrpSpPr/>
          <p:nvPr userDrawn="1"/>
        </p:nvGrpSpPr>
        <p:grpSpPr>
          <a:xfrm>
            <a:off x="17573341" y="6369071"/>
            <a:ext cx="1215764" cy="855585"/>
            <a:chOff x="4724400" y="3918586"/>
            <a:chExt cx="861243" cy="605034"/>
          </a:xfrm>
        </p:grpSpPr>
        <p:pic>
          <p:nvPicPr>
            <p:cNvPr id="31" name="Picture 28">
              <a:extLst>
                <a:ext uri="{FF2B5EF4-FFF2-40B4-BE49-F238E27FC236}">
                  <a16:creationId xmlns:a16="http://schemas.microsoft.com/office/drawing/2014/main" id="{75DDC741-3160-4458-9AD4-6428B545EE0D}"/>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32" name="TextBox 29">
              <a:extLst>
                <a:ext uri="{FF2B5EF4-FFF2-40B4-BE49-F238E27FC236}">
                  <a16:creationId xmlns:a16="http://schemas.microsoft.com/office/drawing/2014/main" id="{F5FFF406-56FD-460E-A91B-AF247F99E109}"/>
                </a:ext>
              </a:extLst>
            </p:cNvPr>
            <p:cNvSpPr txBox="1"/>
            <p:nvPr/>
          </p:nvSpPr>
          <p:spPr>
            <a:xfrm>
              <a:off x="4876217" y="3953867"/>
              <a:ext cx="396538" cy="352361"/>
            </a:xfrm>
            <a:prstGeom prst="rect">
              <a:avLst/>
            </a:prstGeom>
            <a:noFill/>
          </p:spPr>
          <p:txBody>
            <a:bodyPr wrap="none" rtlCol="0">
              <a:spAutoFit/>
            </a:bodyPr>
            <a:lstStyle/>
            <a:p>
              <a:r>
                <a:rPr lang="en-US" sz="2638" b="1" dirty="0">
                  <a:solidFill>
                    <a:schemeClr val="bg1"/>
                  </a:solidFill>
                </a:rPr>
                <a:t>04</a:t>
              </a:r>
            </a:p>
          </p:txBody>
        </p:sp>
      </p:grpSp>
    </p:spTree>
    <p:extLst>
      <p:ext uri="{BB962C8B-B14F-4D97-AF65-F5344CB8AC3E}">
        <p14:creationId xmlns:p14="http://schemas.microsoft.com/office/powerpoint/2010/main" val="232828005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ext with shape 3">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noProof="0"/>
              <a:t>Modifiez le style du titre</a:t>
            </a:r>
          </a:p>
        </p:txBody>
      </p:sp>
      <p:sp>
        <p:nvSpPr>
          <p:cNvPr id="3" name="Freeform 24">
            <a:extLst>
              <a:ext uri="{FF2B5EF4-FFF2-40B4-BE49-F238E27FC236}">
                <a16:creationId xmlns:a16="http://schemas.microsoft.com/office/drawing/2014/main" id="{B9F27177-1D8C-43C4-9482-BCCDCD60EC61}"/>
              </a:ext>
            </a:extLst>
          </p:cNvPr>
          <p:cNvSpPr/>
          <p:nvPr userDrawn="1"/>
        </p:nvSpPr>
        <p:spPr>
          <a:xfrm>
            <a:off x="15397465" y="-44576"/>
            <a:ext cx="4706635" cy="9572952"/>
          </a:xfrm>
          <a:custGeom>
            <a:avLst/>
            <a:gdLst>
              <a:gd name="connsiteX0" fmla="*/ 0 w 2854308"/>
              <a:gd name="connsiteY0" fmla="*/ 0 h 5795285"/>
              <a:gd name="connsiteX1" fmla="*/ 2854308 w 2854308"/>
              <a:gd name="connsiteY1" fmla="*/ 0 h 5795285"/>
              <a:gd name="connsiteX2" fmla="*/ 2854308 w 2854308"/>
              <a:gd name="connsiteY2" fmla="*/ 5707955 h 5795285"/>
              <a:gd name="connsiteX3" fmla="*/ 2524513 w 2854308"/>
              <a:gd name="connsiteY3" fmla="*/ 5750975 h 5795285"/>
              <a:gd name="connsiteX4" fmla="*/ 0 w 2854308"/>
              <a:gd name="connsiteY4" fmla="*/ 4639889 h 5795285"/>
              <a:gd name="connsiteX5" fmla="*/ 0 w 2854308"/>
              <a:gd name="connsiteY5" fmla="*/ 0 h 579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54308" h="5795285">
                <a:moveTo>
                  <a:pt x="0" y="0"/>
                </a:moveTo>
                <a:lnTo>
                  <a:pt x="2854308" y="0"/>
                </a:lnTo>
                <a:lnTo>
                  <a:pt x="2854308" y="5707955"/>
                </a:lnTo>
                <a:lnTo>
                  <a:pt x="2524513" y="5750975"/>
                </a:lnTo>
                <a:cubicBezTo>
                  <a:pt x="1376540" y="5878597"/>
                  <a:pt x="0" y="5793270"/>
                  <a:pt x="0" y="4639889"/>
                </a:cubicBezTo>
                <a:cubicBezTo>
                  <a:pt x="0" y="0"/>
                  <a:pt x="0" y="0"/>
                  <a:pt x="0"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09" dirty="0">
              <a:solidFill>
                <a:schemeClr val="tx1"/>
              </a:solidFill>
            </a:endParaRPr>
          </a:p>
        </p:txBody>
      </p:sp>
      <p:sp>
        <p:nvSpPr>
          <p:cNvPr id="4" name="Text Placeholder 7">
            <a:extLst>
              <a:ext uri="{FF2B5EF4-FFF2-40B4-BE49-F238E27FC236}">
                <a16:creationId xmlns:a16="http://schemas.microsoft.com/office/drawing/2014/main" id="{1D44720B-624B-4F4A-8826-188549448851}"/>
              </a:ext>
            </a:extLst>
          </p:cNvPr>
          <p:cNvSpPr>
            <a:spLocks noGrp="1"/>
          </p:cNvSpPr>
          <p:nvPr>
            <p:ph type="body" sz="quarter" idx="33" hasCustomPrompt="1"/>
          </p:nvPr>
        </p:nvSpPr>
        <p:spPr>
          <a:xfrm>
            <a:off x="652988" y="6838666"/>
            <a:ext cx="5728206" cy="3726968"/>
          </a:xfrm>
          <a:prstGeom prst="rect">
            <a:avLst/>
          </a:prstGeom>
        </p:spPr>
        <p:txBody>
          <a:bodyPr wrap="square" anchor="t" anchorCtr="0">
            <a:noAutofit/>
          </a:bodyPr>
          <a:lstStyle>
            <a:lvl1pPr marL="0" marR="0" indent="0" algn="l" defTabSz="1507846" rtl="0" eaLnBrk="1" fontAlgn="auto" latinLnBrk="0" hangingPunct="1">
              <a:lnSpc>
                <a:spcPct val="100000"/>
              </a:lnSpc>
              <a:spcBef>
                <a:spcPts val="1649"/>
              </a:spcBef>
              <a:spcAft>
                <a:spcPts val="0"/>
              </a:spcAft>
              <a:buClrTx/>
              <a:buSzTx/>
              <a:buFont typeface="Arial" panose="020B0604020202020204" pitchFamily="34" charset="0"/>
              <a:buNone/>
              <a:tabLst/>
              <a:defRPr sz="1979" b="0">
                <a:solidFill>
                  <a:schemeClr val="tx1"/>
                </a:solidFill>
              </a:defRPr>
            </a:lvl1pPr>
            <a:lvl2pPr>
              <a:lnSpc>
                <a:spcPct val="100000"/>
              </a:lnSpc>
              <a:defRPr sz="2309"/>
            </a:lvl2pPr>
            <a:lvl3pPr>
              <a:lnSpc>
                <a:spcPct val="100000"/>
              </a:lnSpc>
              <a:defRPr sz="2309"/>
            </a:lvl3pPr>
            <a:lvl4pPr>
              <a:lnSpc>
                <a:spcPct val="100000"/>
              </a:lnSpc>
              <a:defRPr sz="2309"/>
            </a:lvl4pPr>
            <a:lvl5pPr>
              <a:lnSpc>
                <a:spcPct val="100000"/>
              </a:lnSpc>
              <a:defRPr sz="1979"/>
            </a:lvl5pPr>
          </a:lstStyle>
          <a:p>
            <a:pPr marL="0" marR="0" lvl="0" indent="0" algn="l" defTabSz="1507846" rtl="0" eaLnBrk="1" fontAlgn="auto" latinLnBrk="0" hangingPunct="1">
              <a:lnSpc>
                <a:spcPct val="100000"/>
              </a:lnSpc>
              <a:spcBef>
                <a:spcPts val="1649"/>
              </a:spcBef>
              <a:spcAft>
                <a:spcPts val="0"/>
              </a:spcAft>
              <a:buClrTx/>
              <a:buSzTx/>
              <a:buFont typeface="Arial" panose="020B0604020202020204" pitchFamily="34" charset="0"/>
              <a:buNone/>
              <a:tabLst/>
              <a:defRPr/>
            </a:pPr>
            <a:r>
              <a:rPr lang="en-US" dirty="0"/>
              <a:t>Click to insert text</a:t>
            </a:r>
          </a:p>
        </p:txBody>
      </p:sp>
      <p:sp>
        <p:nvSpPr>
          <p:cNvPr id="5" name="Text Placeholder 7">
            <a:extLst>
              <a:ext uri="{FF2B5EF4-FFF2-40B4-BE49-F238E27FC236}">
                <a16:creationId xmlns:a16="http://schemas.microsoft.com/office/drawing/2014/main" id="{97AB5FFA-6BAB-4E34-ACC4-A4E69069A9F7}"/>
              </a:ext>
            </a:extLst>
          </p:cNvPr>
          <p:cNvSpPr>
            <a:spLocks noGrp="1"/>
          </p:cNvSpPr>
          <p:nvPr>
            <p:ph type="body" sz="quarter" idx="34" hasCustomPrompt="1"/>
          </p:nvPr>
        </p:nvSpPr>
        <p:spPr>
          <a:xfrm>
            <a:off x="6846120" y="6814738"/>
            <a:ext cx="5728206" cy="3726968"/>
          </a:xfrm>
          <a:prstGeom prst="rect">
            <a:avLst/>
          </a:prstGeom>
        </p:spPr>
        <p:txBody>
          <a:bodyPr wrap="square" anchor="t" anchorCtr="0">
            <a:noAutofit/>
          </a:bodyPr>
          <a:lstStyle>
            <a:lvl1pPr marL="0" marR="0" indent="0" algn="l" defTabSz="1507846" rtl="0" eaLnBrk="1" fontAlgn="auto" latinLnBrk="0" hangingPunct="1">
              <a:lnSpc>
                <a:spcPct val="100000"/>
              </a:lnSpc>
              <a:spcBef>
                <a:spcPts val="1649"/>
              </a:spcBef>
              <a:spcAft>
                <a:spcPts val="0"/>
              </a:spcAft>
              <a:buClrTx/>
              <a:buSzTx/>
              <a:buFont typeface="Arial" panose="020B0604020202020204" pitchFamily="34" charset="0"/>
              <a:buNone/>
              <a:tabLst/>
              <a:defRPr sz="1979" b="0">
                <a:solidFill>
                  <a:schemeClr val="tx1"/>
                </a:solidFill>
              </a:defRPr>
            </a:lvl1pPr>
            <a:lvl2pPr>
              <a:lnSpc>
                <a:spcPct val="100000"/>
              </a:lnSpc>
              <a:defRPr sz="2309"/>
            </a:lvl2pPr>
            <a:lvl3pPr>
              <a:lnSpc>
                <a:spcPct val="100000"/>
              </a:lnSpc>
              <a:defRPr sz="2309"/>
            </a:lvl3pPr>
            <a:lvl4pPr>
              <a:lnSpc>
                <a:spcPct val="100000"/>
              </a:lnSpc>
              <a:defRPr sz="2309"/>
            </a:lvl4pPr>
            <a:lvl5pPr>
              <a:lnSpc>
                <a:spcPct val="100000"/>
              </a:lnSpc>
              <a:defRPr sz="1979"/>
            </a:lvl5pPr>
          </a:lstStyle>
          <a:p>
            <a:pPr marL="0" marR="0" lvl="0" indent="0" algn="l" defTabSz="1507846" rtl="0" eaLnBrk="1" fontAlgn="auto" latinLnBrk="0" hangingPunct="1">
              <a:lnSpc>
                <a:spcPct val="100000"/>
              </a:lnSpc>
              <a:spcBef>
                <a:spcPts val="1649"/>
              </a:spcBef>
              <a:spcAft>
                <a:spcPts val="0"/>
              </a:spcAft>
              <a:buClrTx/>
              <a:buSzTx/>
              <a:buFont typeface="Arial" panose="020B0604020202020204" pitchFamily="34" charset="0"/>
              <a:buNone/>
              <a:tabLst/>
              <a:defRPr/>
            </a:pPr>
            <a:r>
              <a:rPr lang="en-US" dirty="0"/>
              <a:t>Click to insert text</a:t>
            </a:r>
          </a:p>
        </p:txBody>
      </p:sp>
      <p:sp>
        <p:nvSpPr>
          <p:cNvPr id="6" name="Text Placeholder 7">
            <a:extLst>
              <a:ext uri="{FF2B5EF4-FFF2-40B4-BE49-F238E27FC236}">
                <a16:creationId xmlns:a16="http://schemas.microsoft.com/office/drawing/2014/main" id="{93D28BA9-BCF2-450B-A626-01A89ECDAFD7}"/>
              </a:ext>
            </a:extLst>
          </p:cNvPr>
          <p:cNvSpPr>
            <a:spLocks noGrp="1"/>
          </p:cNvSpPr>
          <p:nvPr>
            <p:ph type="body" sz="quarter" idx="35" hasCustomPrompt="1"/>
          </p:nvPr>
        </p:nvSpPr>
        <p:spPr>
          <a:xfrm>
            <a:off x="16432860" y="2318950"/>
            <a:ext cx="3236699" cy="3844973"/>
          </a:xfrm>
          <a:prstGeom prst="rect">
            <a:avLst/>
          </a:prstGeom>
        </p:spPr>
        <p:txBody>
          <a:bodyPr wrap="square" anchor="t" anchorCtr="0">
            <a:noAutofit/>
          </a:bodyPr>
          <a:lstStyle>
            <a:lvl1pPr marL="0" marR="0" indent="0" algn="l" defTabSz="1507846" rtl="0" eaLnBrk="1" fontAlgn="auto" latinLnBrk="0" hangingPunct="1">
              <a:lnSpc>
                <a:spcPct val="100000"/>
              </a:lnSpc>
              <a:spcBef>
                <a:spcPts val="1649"/>
              </a:spcBef>
              <a:spcAft>
                <a:spcPts val="0"/>
              </a:spcAft>
              <a:buClrTx/>
              <a:buSzTx/>
              <a:buFont typeface="Arial" panose="020B0604020202020204" pitchFamily="34" charset="0"/>
              <a:buNone/>
              <a:tabLst/>
              <a:defRPr sz="1979" b="0">
                <a:solidFill>
                  <a:schemeClr val="bg1"/>
                </a:solidFill>
              </a:defRPr>
            </a:lvl1pPr>
            <a:lvl2pPr>
              <a:lnSpc>
                <a:spcPct val="100000"/>
              </a:lnSpc>
              <a:defRPr sz="2309"/>
            </a:lvl2pPr>
            <a:lvl3pPr>
              <a:lnSpc>
                <a:spcPct val="100000"/>
              </a:lnSpc>
              <a:defRPr sz="2309"/>
            </a:lvl3pPr>
            <a:lvl4pPr>
              <a:lnSpc>
                <a:spcPct val="100000"/>
              </a:lnSpc>
              <a:defRPr sz="2309"/>
            </a:lvl4pPr>
            <a:lvl5pPr>
              <a:lnSpc>
                <a:spcPct val="100000"/>
              </a:lnSpc>
              <a:defRPr sz="1979"/>
            </a:lvl5pPr>
          </a:lstStyle>
          <a:p>
            <a:pPr marL="0" marR="0" lvl="0" indent="0" algn="l" defTabSz="1507846" rtl="0" eaLnBrk="1" fontAlgn="auto" latinLnBrk="0" hangingPunct="1">
              <a:lnSpc>
                <a:spcPct val="100000"/>
              </a:lnSpc>
              <a:spcBef>
                <a:spcPts val="1649"/>
              </a:spcBef>
              <a:spcAft>
                <a:spcPts val="0"/>
              </a:spcAft>
              <a:buClrTx/>
              <a:buSzTx/>
              <a:buFont typeface="Arial" panose="020B0604020202020204" pitchFamily="34" charset="0"/>
              <a:buNone/>
              <a:tabLst/>
              <a:defRPr/>
            </a:pPr>
            <a:r>
              <a:rPr lang="en-US" dirty="0"/>
              <a:t>Click to insert text</a:t>
            </a:r>
          </a:p>
        </p:txBody>
      </p:sp>
      <p:sp>
        <p:nvSpPr>
          <p:cNvPr id="8" name="Picture Placeholder 17">
            <a:extLst>
              <a:ext uri="{FF2B5EF4-FFF2-40B4-BE49-F238E27FC236}">
                <a16:creationId xmlns:a16="http://schemas.microsoft.com/office/drawing/2014/main" id="{BE0ED4D7-4C9A-48CC-84D7-454ADD394594}"/>
              </a:ext>
            </a:extLst>
          </p:cNvPr>
          <p:cNvSpPr>
            <a:spLocks noGrp="1"/>
          </p:cNvSpPr>
          <p:nvPr>
            <p:ph type="pic" sz="quarter" idx="38"/>
          </p:nvPr>
        </p:nvSpPr>
        <p:spPr>
          <a:xfrm>
            <a:off x="12611626" y="3062249"/>
            <a:ext cx="4099907" cy="7647811"/>
          </a:xfrm>
          <a:prstGeom prst="rect">
            <a:avLst/>
          </a:prstGeom>
          <a:noFill/>
        </p:spPr>
        <p:txBody>
          <a:bodyPr anchor="ctr"/>
          <a:lstStyle>
            <a:lvl1pPr algn="ctr">
              <a:defRPr/>
            </a:lvl1pPr>
          </a:lstStyle>
          <a:p>
            <a:endParaRPr lang="pt-PT" dirty="0"/>
          </a:p>
        </p:txBody>
      </p:sp>
      <p:sp>
        <p:nvSpPr>
          <p:cNvPr id="10" name="Espace réservé du graphique 9">
            <a:extLst>
              <a:ext uri="{FF2B5EF4-FFF2-40B4-BE49-F238E27FC236}">
                <a16:creationId xmlns:a16="http://schemas.microsoft.com/office/drawing/2014/main" id="{90B2E692-F4F9-4226-AFF2-CBBB409A45C1}"/>
              </a:ext>
            </a:extLst>
          </p:cNvPr>
          <p:cNvSpPr>
            <a:spLocks noGrp="1"/>
          </p:cNvSpPr>
          <p:nvPr>
            <p:ph type="chart" sz="quarter" idx="47"/>
          </p:nvPr>
        </p:nvSpPr>
        <p:spPr>
          <a:xfrm>
            <a:off x="652987" y="2378667"/>
            <a:ext cx="11872500" cy="3865333"/>
          </a:xfrm>
        </p:spPr>
        <p:txBody>
          <a:bodyPr anchor="ctr"/>
          <a:lstStyle>
            <a:lvl1pPr algn="ctr">
              <a:defRPr/>
            </a:lvl1pPr>
          </a:lstStyle>
          <a:p>
            <a:endParaRPr lang="en-US" dirty="0"/>
          </a:p>
        </p:txBody>
      </p:sp>
      <p:sp>
        <p:nvSpPr>
          <p:cNvPr id="9" name="Freeform 24">
            <a:extLst>
              <a:ext uri="{FF2B5EF4-FFF2-40B4-BE49-F238E27FC236}">
                <a16:creationId xmlns:a16="http://schemas.microsoft.com/office/drawing/2014/main" id="{EBDE1FA5-B050-4D8E-8613-20075A5EADDF}"/>
              </a:ext>
            </a:extLst>
          </p:cNvPr>
          <p:cNvSpPr/>
          <p:nvPr userDrawn="1"/>
        </p:nvSpPr>
        <p:spPr>
          <a:xfrm>
            <a:off x="15397465" y="-44576"/>
            <a:ext cx="4706635" cy="9572952"/>
          </a:xfrm>
          <a:custGeom>
            <a:avLst/>
            <a:gdLst>
              <a:gd name="connsiteX0" fmla="*/ 0 w 2854308"/>
              <a:gd name="connsiteY0" fmla="*/ 0 h 5795285"/>
              <a:gd name="connsiteX1" fmla="*/ 2854308 w 2854308"/>
              <a:gd name="connsiteY1" fmla="*/ 0 h 5795285"/>
              <a:gd name="connsiteX2" fmla="*/ 2854308 w 2854308"/>
              <a:gd name="connsiteY2" fmla="*/ 5707955 h 5795285"/>
              <a:gd name="connsiteX3" fmla="*/ 2524513 w 2854308"/>
              <a:gd name="connsiteY3" fmla="*/ 5750975 h 5795285"/>
              <a:gd name="connsiteX4" fmla="*/ 0 w 2854308"/>
              <a:gd name="connsiteY4" fmla="*/ 4639889 h 5795285"/>
              <a:gd name="connsiteX5" fmla="*/ 0 w 2854308"/>
              <a:gd name="connsiteY5" fmla="*/ 0 h 579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54308" h="5795285">
                <a:moveTo>
                  <a:pt x="0" y="0"/>
                </a:moveTo>
                <a:lnTo>
                  <a:pt x="2854308" y="0"/>
                </a:lnTo>
                <a:lnTo>
                  <a:pt x="2854308" y="5707955"/>
                </a:lnTo>
                <a:lnTo>
                  <a:pt x="2524513" y="5750975"/>
                </a:lnTo>
                <a:cubicBezTo>
                  <a:pt x="1376540" y="5878597"/>
                  <a:pt x="0" y="5793270"/>
                  <a:pt x="0" y="4639889"/>
                </a:cubicBezTo>
                <a:cubicBezTo>
                  <a:pt x="0" y="0"/>
                  <a:pt x="0" y="0"/>
                  <a:pt x="0"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09" dirty="0">
              <a:solidFill>
                <a:schemeClr val="tx1"/>
              </a:solidFill>
            </a:endParaRPr>
          </a:p>
        </p:txBody>
      </p:sp>
      <p:pic>
        <p:nvPicPr>
          <p:cNvPr id="11" name="Picture 10">
            <a:extLst>
              <a:ext uri="{FF2B5EF4-FFF2-40B4-BE49-F238E27FC236}">
                <a16:creationId xmlns:a16="http://schemas.microsoft.com/office/drawing/2014/main" id="{41EC54A8-856D-440F-B75D-6A72A03D2C1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12690714" y="3283663"/>
            <a:ext cx="3924282" cy="7426396"/>
          </a:xfrm>
          <a:prstGeom prst="rect">
            <a:avLst/>
          </a:prstGeom>
        </p:spPr>
      </p:pic>
      <p:pic>
        <p:nvPicPr>
          <p:cNvPr id="12" name="Picture 11">
            <a:extLst>
              <a:ext uri="{FF2B5EF4-FFF2-40B4-BE49-F238E27FC236}">
                <a16:creationId xmlns:a16="http://schemas.microsoft.com/office/drawing/2014/main" id="{FDAAE9D9-5079-42DA-A1CC-69D331404F6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7198430" y="5340750"/>
            <a:ext cx="2199052" cy="3338546"/>
          </a:xfrm>
          <a:prstGeom prst="rect">
            <a:avLst/>
          </a:prstGeom>
        </p:spPr>
      </p:pic>
    </p:spTree>
    <p:extLst>
      <p:ext uri="{BB962C8B-B14F-4D97-AF65-F5344CB8AC3E}">
        <p14:creationId xmlns:p14="http://schemas.microsoft.com/office/powerpoint/2010/main" val="29646007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10" name="Rectángulo 9">
            <a:extLst>
              <a:ext uri="{FF2B5EF4-FFF2-40B4-BE49-F238E27FC236}">
                <a16:creationId xmlns:a16="http://schemas.microsoft.com/office/drawing/2014/main" id="{E7BF236D-D0D3-10D7-3261-21E349035258}"/>
              </a:ext>
            </a:extLst>
          </p:cNvPr>
          <p:cNvSpPr/>
          <p:nvPr userDrawn="1"/>
        </p:nvSpPr>
        <p:spPr>
          <a:xfrm>
            <a:off x="0" y="0"/>
            <a:ext cx="20104100" cy="113284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7" name="Imagen 6" descr="Una ola en el mar&#10;&#10;Descripción generada automáticamente con confianza media">
            <a:extLst>
              <a:ext uri="{FF2B5EF4-FFF2-40B4-BE49-F238E27FC236}">
                <a16:creationId xmlns:a16="http://schemas.microsoft.com/office/drawing/2014/main" id="{11D6965D-A3EF-7D10-846C-5AFB354A8A3C}"/>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1" y="0"/>
            <a:ext cx="10433050" cy="11328400"/>
          </a:xfrm>
          <a:prstGeom prst="rect">
            <a:avLst/>
          </a:prstGeom>
        </p:spPr>
      </p:pic>
      <p:sp>
        <p:nvSpPr>
          <p:cNvPr id="4" name="Holder 4"/>
          <p:cNvSpPr>
            <a:spLocks noGrp="1"/>
          </p:cNvSpPr>
          <p:nvPr>
            <p:ph type="ftr" sz="quarter" idx="5"/>
          </p:nvPr>
        </p:nvSpPr>
        <p:spPr>
          <a:xfrm>
            <a:off x="16647741" y="10759212"/>
            <a:ext cx="2962677" cy="200055"/>
          </a:xfrm>
          <a:prstGeom prst="rect">
            <a:avLst/>
          </a:prstGeom>
        </p:spPr>
        <p:txBody>
          <a:bodyPr lIns="0" tIns="0" rIns="0" bIns="0"/>
          <a:lstStyle>
            <a:lvl1pPr>
              <a:defRPr sz="1300" b="0" i="0">
                <a:solidFill>
                  <a:schemeClr val="bg1"/>
                </a:solidFill>
                <a:latin typeface="Ubuntu Light"/>
                <a:cs typeface="Ubuntu Light"/>
              </a:defRPr>
            </a:lvl1pPr>
          </a:lstStyle>
          <a:p>
            <a:pPr marL="26034">
              <a:spcBef>
                <a:spcPts val="30"/>
              </a:spcBef>
            </a:pPr>
            <a:r>
              <a:rPr lang="es-ES" err="1"/>
              <a:t>Public</a:t>
            </a:r>
            <a:r>
              <a:rPr lang="es-ES" spc="-40"/>
              <a:t> </a:t>
            </a:r>
            <a:r>
              <a:rPr lang="es-ES"/>
              <a:t>©</a:t>
            </a:r>
            <a:r>
              <a:rPr lang="es-ES" spc="-40"/>
              <a:t> </a:t>
            </a:r>
            <a:r>
              <a:rPr lang="es-ES"/>
              <a:t>2023</a:t>
            </a:r>
            <a:r>
              <a:rPr lang="es-ES" spc="-40"/>
              <a:t> </a:t>
            </a:r>
            <a:r>
              <a:rPr lang="es-ES" spc="-10"/>
              <a:t>Sogeti.</a:t>
            </a:r>
            <a:r>
              <a:rPr lang="es-ES" spc="-35"/>
              <a:t> </a:t>
            </a:r>
            <a:r>
              <a:rPr lang="es-ES" err="1"/>
              <a:t>All</a:t>
            </a:r>
            <a:r>
              <a:rPr lang="es-ES" spc="-40"/>
              <a:t> </a:t>
            </a:r>
            <a:r>
              <a:rPr lang="es-ES" err="1"/>
              <a:t>rights</a:t>
            </a:r>
            <a:r>
              <a:rPr lang="es-ES" spc="-40"/>
              <a:t> </a:t>
            </a:r>
            <a:r>
              <a:rPr lang="es-ES" spc="-10" err="1"/>
              <a:t>reserved</a:t>
            </a:r>
            <a:endParaRPr lang="es-ES" spc="-10"/>
          </a:p>
        </p:txBody>
      </p:sp>
      <p:sp>
        <p:nvSpPr>
          <p:cNvPr id="2" name="CuadroTexto 1">
            <a:extLst>
              <a:ext uri="{FF2B5EF4-FFF2-40B4-BE49-F238E27FC236}">
                <a16:creationId xmlns:a16="http://schemas.microsoft.com/office/drawing/2014/main" id="{72E5CF79-7DA3-E21E-3060-87CB44907F25}"/>
              </a:ext>
            </a:extLst>
          </p:cNvPr>
          <p:cNvSpPr txBox="1"/>
          <p:nvPr userDrawn="1"/>
        </p:nvSpPr>
        <p:spPr>
          <a:xfrm>
            <a:off x="755650" y="10845800"/>
            <a:ext cx="7772400" cy="292388"/>
          </a:xfrm>
          <a:prstGeom prst="rect">
            <a:avLst/>
          </a:prstGeom>
          <a:noFill/>
        </p:spPr>
        <p:txBody>
          <a:bodyPr wrap="square" rtlCol="0">
            <a:spAutoFit/>
          </a:bodyPr>
          <a:lstStyle/>
          <a:p>
            <a:r>
              <a:rPr lang="es-ES" sz="1300" b="0" i="0">
                <a:solidFill>
                  <a:schemeClr val="bg1"/>
                </a:solidFill>
                <a:latin typeface="Ubuntu Medium" panose="020B0504030602030204" pitchFamily="34" charset="0"/>
              </a:rPr>
              <a:t>#FlourishingDigitalBusinessWithQuality </a:t>
            </a:r>
            <a:r>
              <a:rPr lang="es-ES" sz="1300" b="1" i="0">
                <a:solidFill>
                  <a:schemeClr val="bg1"/>
                </a:solidFill>
                <a:latin typeface="Ubuntu" panose="020B0504030602030204" pitchFamily="34" charset="0"/>
              </a:rPr>
              <a:t> ·</a:t>
            </a:r>
            <a:r>
              <a:rPr lang="es-ES" sz="1300" b="0" i="0">
                <a:solidFill>
                  <a:schemeClr val="bg1"/>
                </a:solidFill>
                <a:latin typeface="Ubuntu Medium" panose="020B0504030602030204" pitchFamily="34" charset="0"/>
              </a:rPr>
              <a:t>   </a:t>
            </a:r>
            <a:r>
              <a:rPr lang="es-ES" sz="1300" b="0" i="0" err="1">
                <a:solidFill>
                  <a:schemeClr val="bg1"/>
                </a:solidFill>
                <a:latin typeface="Ubuntu Medium" panose="020B0504030602030204" pitchFamily="34" charset="0"/>
              </a:rPr>
              <a:t>by</a:t>
            </a:r>
            <a:r>
              <a:rPr lang="es-ES" sz="1300" b="0" i="0">
                <a:solidFill>
                  <a:schemeClr val="bg1"/>
                </a:solidFill>
                <a:latin typeface="Ubuntu Medium" panose="020B0504030602030204" pitchFamily="34" charset="0"/>
              </a:rPr>
              <a:t> </a:t>
            </a:r>
            <a:r>
              <a:rPr lang="es-ES" sz="1300" b="1" i="0">
                <a:solidFill>
                  <a:schemeClr val="bg1"/>
                </a:solidFill>
                <a:latin typeface="Ubuntu" panose="020B0504030602030204" pitchFamily="34" charset="0"/>
              </a:rPr>
              <a:t>Sogeti España</a:t>
            </a:r>
          </a:p>
        </p:txBody>
      </p:sp>
      <p:sp>
        <p:nvSpPr>
          <p:cNvPr id="5" name="Forma libre 4">
            <a:extLst>
              <a:ext uri="{FF2B5EF4-FFF2-40B4-BE49-F238E27FC236}">
                <a16:creationId xmlns:a16="http://schemas.microsoft.com/office/drawing/2014/main" id="{FBAABD7F-C513-9B40-6AE2-E43DB3944CCE}"/>
              </a:ext>
            </a:extLst>
          </p:cNvPr>
          <p:cNvSpPr/>
          <p:nvPr userDrawn="1"/>
        </p:nvSpPr>
        <p:spPr>
          <a:xfrm flipV="1">
            <a:off x="755650" y="10384024"/>
            <a:ext cx="2362200" cy="385576"/>
          </a:xfrm>
          <a:custGeom>
            <a:avLst/>
            <a:gdLst/>
            <a:ahLst/>
            <a:cxnLst/>
            <a:rect l="l" t="t" r="r" b="b"/>
            <a:pathLst>
              <a:path w="4876802" h="796029">
                <a:moveTo>
                  <a:pt x="2572782" y="405299"/>
                </a:moveTo>
                <a:cubicBezTo>
                  <a:pt x="2589609" y="405299"/>
                  <a:pt x="2601809" y="398820"/>
                  <a:pt x="2609382" y="385863"/>
                </a:cubicBezTo>
                <a:cubicBezTo>
                  <a:pt x="2616954" y="372906"/>
                  <a:pt x="2620740" y="355826"/>
                  <a:pt x="2620740" y="334623"/>
                </a:cubicBezTo>
                <a:cubicBezTo>
                  <a:pt x="2620740" y="313420"/>
                  <a:pt x="2616618" y="296256"/>
                  <a:pt x="2608372" y="283131"/>
                </a:cubicBezTo>
                <a:cubicBezTo>
                  <a:pt x="2600126" y="270006"/>
                  <a:pt x="2587927" y="263443"/>
                  <a:pt x="2571772" y="263443"/>
                </a:cubicBezTo>
                <a:cubicBezTo>
                  <a:pt x="2554945" y="263443"/>
                  <a:pt x="2542744" y="270006"/>
                  <a:pt x="2535172" y="283131"/>
                </a:cubicBezTo>
                <a:cubicBezTo>
                  <a:pt x="2527600" y="296256"/>
                  <a:pt x="2523814" y="313420"/>
                  <a:pt x="2523814" y="334623"/>
                </a:cubicBezTo>
                <a:cubicBezTo>
                  <a:pt x="2523814" y="355826"/>
                  <a:pt x="2527937" y="372906"/>
                  <a:pt x="2536182" y="385863"/>
                </a:cubicBezTo>
                <a:cubicBezTo>
                  <a:pt x="2544428" y="398820"/>
                  <a:pt x="2556628" y="405299"/>
                  <a:pt x="2572782" y="405299"/>
                </a:cubicBezTo>
                <a:close/>
                <a:moveTo>
                  <a:pt x="1810782" y="405299"/>
                </a:moveTo>
                <a:cubicBezTo>
                  <a:pt x="1827610" y="405299"/>
                  <a:pt x="1839810" y="398820"/>
                  <a:pt x="1847382" y="385863"/>
                </a:cubicBezTo>
                <a:cubicBezTo>
                  <a:pt x="1854954" y="372906"/>
                  <a:pt x="1858740" y="355826"/>
                  <a:pt x="1858740" y="334623"/>
                </a:cubicBezTo>
                <a:cubicBezTo>
                  <a:pt x="1858740" y="313420"/>
                  <a:pt x="1854618" y="296256"/>
                  <a:pt x="1846372" y="283131"/>
                </a:cubicBezTo>
                <a:cubicBezTo>
                  <a:pt x="1838127" y="270006"/>
                  <a:pt x="1825927" y="263443"/>
                  <a:pt x="1809772" y="263443"/>
                </a:cubicBezTo>
                <a:cubicBezTo>
                  <a:pt x="1792945" y="263443"/>
                  <a:pt x="1780745" y="270006"/>
                  <a:pt x="1773173" y="283131"/>
                </a:cubicBezTo>
                <a:cubicBezTo>
                  <a:pt x="1765600" y="296256"/>
                  <a:pt x="1761814" y="313420"/>
                  <a:pt x="1761814" y="334623"/>
                </a:cubicBezTo>
                <a:cubicBezTo>
                  <a:pt x="1761814" y="355826"/>
                  <a:pt x="1765937" y="372906"/>
                  <a:pt x="1774182" y="385863"/>
                </a:cubicBezTo>
                <a:cubicBezTo>
                  <a:pt x="1782428" y="398820"/>
                  <a:pt x="1794628" y="405299"/>
                  <a:pt x="1810782" y="405299"/>
                </a:cubicBezTo>
                <a:close/>
                <a:moveTo>
                  <a:pt x="810657" y="405299"/>
                </a:moveTo>
                <a:cubicBezTo>
                  <a:pt x="827485" y="405299"/>
                  <a:pt x="839684" y="398820"/>
                  <a:pt x="847257" y="385863"/>
                </a:cubicBezTo>
                <a:cubicBezTo>
                  <a:pt x="854829" y="372906"/>
                  <a:pt x="858615" y="355826"/>
                  <a:pt x="858616" y="334623"/>
                </a:cubicBezTo>
                <a:cubicBezTo>
                  <a:pt x="858615" y="313420"/>
                  <a:pt x="854493" y="296256"/>
                  <a:pt x="846247" y="283131"/>
                </a:cubicBezTo>
                <a:cubicBezTo>
                  <a:pt x="838002" y="270006"/>
                  <a:pt x="825802" y="263443"/>
                  <a:pt x="809647" y="263443"/>
                </a:cubicBezTo>
                <a:cubicBezTo>
                  <a:pt x="792820" y="263443"/>
                  <a:pt x="780620" y="270006"/>
                  <a:pt x="773048" y="283131"/>
                </a:cubicBezTo>
                <a:cubicBezTo>
                  <a:pt x="765475" y="296256"/>
                  <a:pt x="761689" y="313420"/>
                  <a:pt x="761689" y="334623"/>
                </a:cubicBezTo>
                <a:cubicBezTo>
                  <a:pt x="761689" y="355826"/>
                  <a:pt x="765812" y="372906"/>
                  <a:pt x="774057" y="385863"/>
                </a:cubicBezTo>
                <a:cubicBezTo>
                  <a:pt x="782303" y="398820"/>
                  <a:pt x="794503" y="405299"/>
                  <a:pt x="810657" y="405299"/>
                </a:cubicBezTo>
                <a:close/>
                <a:moveTo>
                  <a:pt x="3325256" y="411861"/>
                </a:moveTo>
                <a:cubicBezTo>
                  <a:pt x="3316506" y="411861"/>
                  <a:pt x="3309608" y="408496"/>
                  <a:pt x="3304560" y="401765"/>
                </a:cubicBezTo>
                <a:cubicBezTo>
                  <a:pt x="3299512" y="395034"/>
                  <a:pt x="3296988" y="387125"/>
                  <a:pt x="3296988" y="378038"/>
                </a:cubicBezTo>
                <a:cubicBezTo>
                  <a:pt x="3296988" y="368951"/>
                  <a:pt x="3299512" y="361126"/>
                  <a:pt x="3304560" y="354564"/>
                </a:cubicBezTo>
                <a:cubicBezTo>
                  <a:pt x="3309608" y="348001"/>
                  <a:pt x="3316506" y="344720"/>
                  <a:pt x="3325256" y="344720"/>
                </a:cubicBezTo>
                <a:cubicBezTo>
                  <a:pt x="3333334" y="344720"/>
                  <a:pt x="3339980" y="348001"/>
                  <a:pt x="3345198" y="354564"/>
                </a:cubicBezTo>
                <a:cubicBezTo>
                  <a:pt x="3350414" y="361126"/>
                  <a:pt x="3353022" y="368951"/>
                  <a:pt x="3353022" y="378038"/>
                </a:cubicBezTo>
                <a:cubicBezTo>
                  <a:pt x="3353022" y="387125"/>
                  <a:pt x="3350414" y="395034"/>
                  <a:pt x="3345198" y="401765"/>
                </a:cubicBezTo>
                <a:cubicBezTo>
                  <a:pt x="3339980" y="408496"/>
                  <a:pt x="3333334" y="411861"/>
                  <a:pt x="3325256" y="411861"/>
                </a:cubicBezTo>
                <a:close/>
                <a:moveTo>
                  <a:pt x="2207070" y="453257"/>
                </a:moveTo>
                <a:lnTo>
                  <a:pt x="2207070" y="401765"/>
                </a:lnTo>
                <a:lnTo>
                  <a:pt x="2272697" y="401765"/>
                </a:lnTo>
                <a:lnTo>
                  <a:pt x="2272697" y="314430"/>
                </a:lnTo>
                <a:cubicBezTo>
                  <a:pt x="2272697" y="297939"/>
                  <a:pt x="2274043" y="283299"/>
                  <a:pt x="2276735" y="270510"/>
                </a:cubicBezTo>
                <a:cubicBezTo>
                  <a:pt x="2279428" y="257721"/>
                  <a:pt x="2284055" y="246868"/>
                  <a:pt x="2290618" y="237949"/>
                </a:cubicBezTo>
                <a:cubicBezTo>
                  <a:pt x="2297181" y="229031"/>
                  <a:pt x="2305931" y="222215"/>
                  <a:pt x="2316869" y="217504"/>
                </a:cubicBezTo>
                <a:cubicBezTo>
                  <a:pt x="2327807" y="212792"/>
                  <a:pt x="2341353" y="210436"/>
                  <a:pt x="2357508" y="210436"/>
                </a:cubicBezTo>
                <a:cubicBezTo>
                  <a:pt x="2366931" y="210436"/>
                  <a:pt x="2377280" y="211530"/>
                  <a:pt x="2388554" y="213718"/>
                </a:cubicBezTo>
                <a:cubicBezTo>
                  <a:pt x="2399829" y="215905"/>
                  <a:pt x="2411860" y="220028"/>
                  <a:pt x="2424649" y="226086"/>
                </a:cubicBezTo>
                <a:lnTo>
                  <a:pt x="2416572" y="276063"/>
                </a:lnTo>
                <a:cubicBezTo>
                  <a:pt x="2406475" y="271352"/>
                  <a:pt x="2397388" y="268239"/>
                  <a:pt x="2389312" y="266724"/>
                </a:cubicBezTo>
                <a:cubicBezTo>
                  <a:pt x="2381234" y="265210"/>
                  <a:pt x="2374335" y="264452"/>
                  <a:pt x="2368614" y="264452"/>
                </a:cubicBezTo>
                <a:cubicBezTo>
                  <a:pt x="2356498" y="264452"/>
                  <a:pt x="2347832" y="267902"/>
                  <a:pt x="2342615" y="274801"/>
                </a:cubicBezTo>
                <a:cubicBezTo>
                  <a:pt x="2337398" y="281701"/>
                  <a:pt x="2334790" y="292218"/>
                  <a:pt x="2334790" y="306353"/>
                </a:cubicBezTo>
                <a:lnTo>
                  <a:pt x="2334790" y="453257"/>
                </a:lnTo>
                <a:close/>
                <a:moveTo>
                  <a:pt x="1088092" y="457800"/>
                </a:moveTo>
                <a:cubicBezTo>
                  <a:pt x="1064870" y="457800"/>
                  <a:pt x="1044593" y="455949"/>
                  <a:pt x="1027260" y="452247"/>
                </a:cubicBezTo>
                <a:cubicBezTo>
                  <a:pt x="1009928" y="448545"/>
                  <a:pt x="993016" y="443665"/>
                  <a:pt x="976526" y="437607"/>
                </a:cubicBezTo>
                <a:lnTo>
                  <a:pt x="976526" y="215989"/>
                </a:lnTo>
                <a:lnTo>
                  <a:pt x="1039124" y="215989"/>
                </a:lnTo>
                <a:lnTo>
                  <a:pt x="1039124" y="392173"/>
                </a:lnTo>
                <a:cubicBezTo>
                  <a:pt x="1047874" y="394529"/>
                  <a:pt x="1056456" y="396128"/>
                  <a:pt x="1064870" y="396969"/>
                </a:cubicBezTo>
                <a:cubicBezTo>
                  <a:pt x="1073284" y="397810"/>
                  <a:pt x="1081866" y="398231"/>
                  <a:pt x="1090616" y="398231"/>
                </a:cubicBezTo>
                <a:cubicBezTo>
                  <a:pt x="1094318" y="398231"/>
                  <a:pt x="1098861" y="398063"/>
                  <a:pt x="1104246" y="397726"/>
                </a:cubicBezTo>
                <a:cubicBezTo>
                  <a:pt x="1109631" y="397390"/>
                  <a:pt x="1115184" y="396801"/>
                  <a:pt x="1120905" y="395959"/>
                </a:cubicBezTo>
                <a:cubicBezTo>
                  <a:pt x="1126627" y="395118"/>
                  <a:pt x="1132264" y="394192"/>
                  <a:pt x="1137817" y="393183"/>
                </a:cubicBezTo>
                <a:cubicBezTo>
                  <a:pt x="1143370" y="392173"/>
                  <a:pt x="1148166" y="391164"/>
                  <a:pt x="1152205" y="390154"/>
                </a:cubicBezTo>
                <a:lnTo>
                  <a:pt x="1163311" y="447704"/>
                </a:lnTo>
                <a:cubicBezTo>
                  <a:pt x="1157589" y="449723"/>
                  <a:pt x="1151111" y="451322"/>
                  <a:pt x="1143875" y="452500"/>
                </a:cubicBezTo>
                <a:cubicBezTo>
                  <a:pt x="1136639" y="453678"/>
                  <a:pt x="1129487" y="454687"/>
                  <a:pt x="1122420" y="455529"/>
                </a:cubicBezTo>
                <a:cubicBezTo>
                  <a:pt x="1115352" y="456370"/>
                  <a:pt x="1108706" y="456959"/>
                  <a:pt x="1102479" y="457296"/>
                </a:cubicBezTo>
                <a:cubicBezTo>
                  <a:pt x="1096253" y="457632"/>
                  <a:pt x="1091457" y="457800"/>
                  <a:pt x="1088092" y="457800"/>
                </a:cubicBezTo>
                <a:close/>
                <a:moveTo>
                  <a:pt x="2572782" y="459315"/>
                </a:moveTo>
                <a:cubicBezTo>
                  <a:pt x="2556628" y="459315"/>
                  <a:pt x="2541651" y="456370"/>
                  <a:pt x="2527852" y="450480"/>
                </a:cubicBezTo>
                <a:cubicBezTo>
                  <a:pt x="2514054" y="444591"/>
                  <a:pt x="2502190" y="436177"/>
                  <a:pt x="2492262" y="425239"/>
                </a:cubicBezTo>
                <a:cubicBezTo>
                  <a:pt x="2482334" y="414301"/>
                  <a:pt x="2474594" y="401176"/>
                  <a:pt x="2469040" y="385863"/>
                </a:cubicBezTo>
                <a:cubicBezTo>
                  <a:pt x="2463487" y="370550"/>
                  <a:pt x="2460711" y="353638"/>
                  <a:pt x="2460711" y="335128"/>
                </a:cubicBezTo>
                <a:cubicBezTo>
                  <a:pt x="2460711" y="316281"/>
                  <a:pt x="2463403" y="299201"/>
                  <a:pt x="2468788" y="283888"/>
                </a:cubicBezTo>
                <a:cubicBezTo>
                  <a:pt x="2474173" y="268575"/>
                  <a:pt x="2481829" y="255366"/>
                  <a:pt x="2491758" y="244259"/>
                </a:cubicBezTo>
                <a:cubicBezTo>
                  <a:pt x="2501686" y="233153"/>
                  <a:pt x="2513465" y="224571"/>
                  <a:pt x="2527095" y="218513"/>
                </a:cubicBezTo>
                <a:cubicBezTo>
                  <a:pt x="2540726" y="212455"/>
                  <a:pt x="2555954" y="209427"/>
                  <a:pt x="2572782" y="209427"/>
                </a:cubicBezTo>
                <a:cubicBezTo>
                  <a:pt x="2589609" y="209427"/>
                  <a:pt x="2604838" y="212455"/>
                  <a:pt x="2618468" y="218513"/>
                </a:cubicBezTo>
                <a:cubicBezTo>
                  <a:pt x="2632098" y="224571"/>
                  <a:pt x="2643794" y="233153"/>
                  <a:pt x="2653554" y="244259"/>
                </a:cubicBezTo>
                <a:cubicBezTo>
                  <a:pt x="2663314" y="255366"/>
                  <a:pt x="2670886" y="268575"/>
                  <a:pt x="2676271" y="283888"/>
                </a:cubicBezTo>
                <a:cubicBezTo>
                  <a:pt x="2681656" y="299201"/>
                  <a:pt x="2684348" y="316281"/>
                  <a:pt x="2684348" y="335128"/>
                </a:cubicBezTo>
                <a:cubicBezTo>
                  <a:pt x="2684348" y="353638"/>
                  <a:pt x="2681656" y="370550"/>
                  <a:pt x="2676271" y="385863"/>
                </a:cubicBezTo>
                <a:cubicBezTo>
                  <a:pt x="2670886" y="401176"/>
                  <a:pt x="2663230" y="414301"/>
                  <a:pt x="2653302" y="425239"/>
                </a:cubicBezTo>
                <a:cubicBezTo>
                  <a:pt x="2643373" y="436177"/>
                  <a:pt x="2631594" y="444591"/>
                  <a:pt x="2617964" y="450480"/>
                </a:cubicBezTo>
                <a:cubicBezTo>
                  <a:pt x="2604334" y="456370"/>
                  <a:pt x="2589273" y="459315"/>
                  <a:pt x="2572782" y="459315"/>
                </a:cubicBezTo>
                <a:close/>
                <a:moveTo>
                  <a:pt x="1810782" y="459315"/>
                </a:moveTo>
                <a:cubicBezTo>
                  <a:pt x="1794628" y="459315"/>
                  <a:pt x="1779651" y="456370"/>
                  <a:pt x="1765853" y="450480"/>
                </a:cubicBezTo>
                <a:cubicBezTo>
                  <a:pt x="1752054" y="444591"/>
                  <a:pt x="1740191" y="436177"/>
                  <a:pt x="1730262" y="425239"/>
                </a:cubicBezTo>
                <a:cubicBezTo>
                  <a:pt x="1720334" y="414301"/>
                  <a:pt x="1712594" y="401176"/>
                  <a:pt x="1707040" y="385863"/>
                </a:cubicBezTo>
                <a:cubicBezTo>
                  <a:pt x="1701488" y="370550"/>
                  <a:pt x="1698711" y="353638"/>
                  <a:pt x="1698711" y="335128"/>
                </a:cubicBezTo>
                <a:cubicBezTo>
                  <a:pt x="1698711" y="316281"/>
                  <a:pt x="1701403" y="299201"/>
                  <a:pt x="1706788" y="283888"/>
                </a:cubicBezTo>
                <a:cubicBezTo>
                  <a:pt x="1712173" y="268575"/>
                  <a:pt x="1719829" y="255366"/>
                  <a:pt x="1729758" y="244259"/>
                </a:cubicBezTo>
                <a:cubicBezTo>
                  <a:pt x="1739686" y="233153"/>
                  <a:pt x="1751465" y="224571"/>
                  <a:pt x="1765095" y="218513"/>
                </a:cubicBezTo>
                <a:cubicBezTo>
                  <a:pt x="1778726" y="212455"/>
                  <a:pt x="1793954" y="209427"/>
                  <a:pt x="1810782" y="209427"/>
                </a:cubicBezTo>
                <a:cubicBezTo>
                  <a:pt x="1827610" y="209427"/>
                  <a:pt x="1842838" y="212455"/>
                  <a:pt x="1856469" y="218513"/>
                </a:cubicBezTo>
                <a:cubicBezTo>
                  <a:pt x="1870099" y="224571"/>
                  <a:pt x="1881794" y="233153"/>
                  <a:pt x="1891554" y="244259"/>
                </a:cubicBezTo>
                <a:cubicBezTo>
                  <a:pt x="1901314" y="255366"/>
                  <a:pt x="1908886" y="268575"/>
                  <a:pt x="1914271" y="283888"/>
                </a:cubicBezTo>
                <a:cubicBezTo>
                  <a:pt x="1919656" y="299201"/>
                  <a:pt x="1922348" y="316281"/>
                  <a:pt x="1922348" y="335128"/>
                </a:cubicBezTo>
                <a:cubicBezTo>
                  <a:pt x="1922348" y="353638"/>
                  <a:pt x="1919656" y="370550"/>
                  <a:pt x="1914271" y="385863"/>
                </a:cubicBezTo>
                <a:cubicBezTo>
                  <a:pt x="1908886" y="401176"/>
                  <a:pt x="1901230" y="414301"/>
                  <a:pt x="1891302" y="425239"/>
                </a:cubicBezTo>
                <a:cubicBezTo>
                  <a:pt x="1881374" y="436177"/>
                  <a:pt x="1869594" y="444591"/>
                  <a:pt x="1855964" y="450480"/>
                </a:cubicBezTo>
                <a:cubicBezTo>
                  <a:pt x="1842334" y="456370"/>
                  <a:pt x="1827273" y="459315"/>
                  <a:pt x="1810782" y="459315"/>
                </a:cubicBezTo>
                <a:close/>
                <a:moveTo>
                  <a:pt x="810657" y="459315"/>
                </a:moveTo>
                <a:cubicBezTo>
                  <a:pt x="794503" y="459315"/>
                  <a:pt x="779526" y="456370"/>
                  <a:pt x="765728" y="450480"/>
                </a:cubicBezTo>
                <a:cubicBezTo>
                  <a:pt x="751929" y="444591"/>
                  <a:pt x="740066" y="436177"/>
                  <a:pt x="730138" y="425239"/>
                </a:cubicBezTo>
                <a:cubicBezTo>
                  <a:pt x="720209" y="414301"/>
                  <a:pt x="712469" y="401176"/>
                  <a:pt x="706916" y="385863"/>
                </a:cubicBezTo>
                <a:cubicBezTo>
                  <a:pt x="701362" y="370550"/>
                  <a:pt x="698586" y="353638"/>
                  <a:pt x="698586" y="335128"/>
                </a:cubicBezTo>
                <a:cubicBezTo>
                  <a:pt x="698586" y="316281"/>
                  <a:pt x="701278" y="299201"/>
                  <a:pt x="706663" y="283888"/>
                </a:cubicBezTo>
                <a:cubicBezTo>
                  <a:pt x="712048" y="268575"/>
                  <a:pt x="719704" y="255366"/>
                  <a:pt x="729633" y="244259"/>
                </a:cubicBezTo>
                <a:cubicBezTo>
                  <a:pt x="739561" y="233153"/>
                  <a:pt x="751340" y="224571"/>
                  <a:pt x="764970" y="218513"/>
                </a:cubicBezTo>
                <a:cubicBezTo>
                  <a:pt x="778601" y="212455"/>
                  <a:pt x="793830" y="209427"/>
                  <a:pt x="810657" y="209427"/>
                </a:cubicBezTo>
                <a:cubicBezTo>
                  <a:pt x="827485" y="209427"/>
                  <a:pt x="842713" y="212455"/>
                  <a:pt x="856344" y="218513"/>
                </a:cubicBezTo>
                <a:cubicBezTo>
                  <a:pt x="869974" y="224571"/>
                  <a:pt x="881669" y="233153"/>
                  <a:pt x="891429" y="244259"/>
                </a:cubicBezTo>
                <a:cubicBezTo>
                  <a:pt x="901189" y="255366"/>
                  <a:pt x="908761" y="268575"/>
                  <a:pt x="914146" y="283888"/>
                </a:cubicBezTo>
                <a:cubicBezTo>
                  <a:pt x="919531" y="299201"/>
                  <a:pt x="922223" y="316281"/>
                  <a:pt x="922223" y="335128"/>
                </a:cubicBezTo>
                <a:cubicBezTo>
                  <a:pt x="922223" y="353638"/>
                  <a:pt x="919531" y="370550"/>
                  <a:pt x="914146" y="385863"/>
                </a:cubicBezTo>
                <a:cubicBezTo>
                  <a:pt x="908761" y="401176"/>
                  <a:pt x="901105" y="414301"/>
                  <a:pt x="891177" y="425239"/>
                </a:cubicBezTo>
                <a:cubicBezTo>
                  <a:pt x="881248" y="436177"/>
                  <a:pt x="869469" y="444591"/>
                  <a:pt x="855839" y="450480"/>
                </a:cubicBezTo>
                <a:cubicBezTo>
                  <a:pt x="842209" y="456370"/>
                  <a:pt x="827148" y="459315"/>
                  <a:pt x="810657" y="459315"/>
                </a:cubicBezTo>
                <a:close/>
                <a:moveTo>
                  <a:pt x="546919" y="477993"/>
                </a:moveTo>
                <a:cubicBezTo>
                  <a:pt x="563410" y="477993"/>
                  <a:pt x="576620" y="474207"/>
                  <a:pt x="586548" y="466635"/>
                </a:cubicBezTo>
                <a:cubicBezTo>
                  <a:pt x="596476" y="459062"/>
                  <a:pt x="601441" y="446189"/>
                  <a:pt x="601441" y="428016"/>
                </a:cubicBezTo>
                <a:cubicBezTo>
                  <a:pt x="601441" y="408832"/>
                  <a:pt x="596392" y="395286"/>
                  <a:pt x="586296" y="387377"/>
                </a:cubicBezTo>
                <a:cubicBezTo>
                  <a:pt x="576199" y="379468"/>
                  <a:pt x="561223" y="375514"/>
                  <a:pt x="541366" y="375514"/>
                </a:cubicBezTo>
                <a:lnTo>
                  <a:pt x="516125" y="375514"/>
                </a:lnTo>
                <a:lnTo>
                  <a:pt x="516125" y="476479"/>
                </a:lnTo>
                <a:cubicBezTo>
                  <a:pt x="519827" y="477152"/>
                  <a:pt x="524960" y="477573"/>
                  <a:pt x="531522" y="477741"/>
                </a:cubicBezTo>
                <a:cubicBezTo>
                  <a:pt x="538085" y="477909"/>
                  <a:pt x="543217" y="477993"/>
                  <a:pt x="546919" y="477993"/>
                </a:cubicBezTo>
                <a:close/>
                <a:moveTo>
                  <a:pt x="3324752" y="482537"/>
                </a:moveTo>
                <a:cubicBezTo>
                  <a:pt x="3341916" y="482537"/>
                  <a:pt x="3354958" y="473198"/>
                  <a:pt x="3363876" y="454519"/>
                </a:cubicBezTo>
                <a:cubicBezTo>
                  <a:pt x="3372794" y="435841"/>
                  <a:pt x="3377254" y="408664"/>
                  <a:pt x="3377254" y="372990"/>
                </a:cubicBezTo>
                <a:cubicBezTo>
                  <a:pt x="3377254" y="336979"/>
                  <a:pt x="3372794" y="309634"/>
                  <a:pt x="3363876" y="290956"/>
                </a:cubicBezTo>
                <a:cubicBezTo>
                  <a:pt x="3354958" y="272277"/>
                  <a:pt x="3341916" y="262938"/>
                  <a:pt x="3324752" y="262938"/>
                </a:cubicBezTo>
                <a:cubicBezTo>
                  <a:pt x="3307924" y="262938"/>
                  <a:pt x="3294968" y="272277"/>
                  <a:pt x="3285880" y="290956"/>
                </a:cubicBezTo>
                <a:cubicBezTo>
                  <a:pt x="3276794" y="309634"/>
                  <a:pt x="3272250" y="336979"/>
                  <a:pt x="3272250" y="372990"/>
                </a:cubicBezTo>
                <a:cubicBezTo>
                  <a:pt x="3272250" y="408664"/>
                  <a:pt x="3276794" y="435841"/>
                  <a:pt x="3285880" y="454519"/>
                </a:cubicBezTo>
                <a:cubicBezTo>
                  <a:pt x="3294968" y="473198"/>
                  <a:pt x="3307924" y="482537"/>
                  <a:pt x="3324752" y="482537"/>
                </a:cubicBezTo>
                <a:close/>
                <a:moveTo>
                  <a:pt x="1323054" y="522923"/>
                </a:moveTo>
                <a:lnTo>
                  <a:pt x="1260961" y="512826"/>
                </a:lnTo>
                <a:lnTo>
                  <a:pt x="1260961" y="453257"/>
                </a:lnTo>
                <a:lnTo>
                  <a:pt x="1206945" y="453257"/>
                </a:lnTo>
                <a:lnTo>
                  <a:pt x="1206945" y="401765"/>
                </a:lnTo>
                <a:lnTo>
                  <a:pt x="1260961" y="401765"/>
                </a:lnTo>
                <a:lnTo>
                  <a:pt x="1260961" y="304334"/>
                </a:lnTo>
                <a:cubicBezTo>
                  <a:pt x="1260961" y="284477"/>
                  <a:pt x="1262980" y="268407"/>
                  <a:pt x="1267019" y="256123"/>
                </a:cubicBezTo>
                <a:cubicBezTo>
                  <a:pt x="1271057" y="243839"/>
                  <a:pt x="1276947" y="234331"/>
                  <a:pt x="1284688" y="227600"/>
                </a:cubicBezTo>
                <a:cubicBezTo>
                  <a:pt x="1292428" y="220869"/>
                  <a:pt x="1301852" y="216326"/>
                  <a:pt x="1312958" y="213970"/>
                </a:cubicBezTo>
                <a:cubicBezTo>
                  <a:pt x="1324064" y="211614"/>
                  <a:pt x="1336853" y="210436"/>
                  <a:pt x="1351325" y="210436"/>
                </a:cubicBezTo>
                <a:cubicBezTo>
                  <a:pt x="1363777" y="210436"/>
                  <a:pt x="1376650" y="211446"/>
                  <a:pt x="1389944" y="213465"/>
                </a:cubicBezTo>
                <a:cubicBezTo>
                  <a:pt x="1403238" y="215484"/>
                  <a:pt x="1415606" y="218850"/>
                  <a:pt x="1427048" y="223562"/>
                </a:cubicBezTo>
                <a:lnTo>
                  <a:pt x="1418466" y="277073"/>
                </a:lnTo>
                <a:cubicBezTo>
                  <a:pt x="1412745" y="274381"/>
                  <a:pt x="1407444" y="272193"/>
                  <a:pt x="1402564" y="270510"/>
                </a:cubicBezTo>
                <a:cubicBezTo>
                  <a:pt x="1397684" y="268828"/>
                  <a:pt x="1392973" y="267566"/>
                  <a:pt x="1388429" y="266724"/>
                </a:cubicBezTo>
                <a:cubicBezTo>
                  <a:pt x="1383886" y="265883"/>
                  <a:pt x="1379174" y="265294"/>
                  <a:pt x="1374294" y="264957"/>
                </a:cubicBezTo>
                <a:cubicBezTo>
                  <a:pt x="1369414" y="264621"/>
                  <a:pt x="1364114" y="264452"/>
                  <a:pt x="1358392" y="264452"/>
                </a:cubicBezTo>
                <a:cubicBezTo>
                  <a:pt x="1353007" y="264452"/>
                  <a:pt x="1348127" y="264957"/>
                  <a:pt x="1343752" y="265967"/>
                </a:cubicBezTo>
                <a:cubicBezTo>
                  <a:pt x="1339377" y="266977"/>
                  <a:pt x="1335675" y="268996"/>
                  <a:pt x="1332646" y="272025"/>
                </a:cubicBezTo>
                <a:cubicBezTo>
                  <a:pt x="1329617" y="275054"/>
                  <a:pt x="1327261" y="279261"/>
                  <a:pt x="1325579" y="284645"/>
                </a:cubicBezTo>
                <a:cubicBezTo>
                  <a:pt x="1323896" y="290030"/>
                  <a:pt x="1323054" y="297098"/>
                  <a:pt x="1323054" y="305848"/>
                </a:cubicBezTo>
                <a:lnTo>
                  <a:pt x="1323054" y="401765"/>
                </a:lnTo>
                <a:lnTo>
                  <a:pt x="1422505" y="401765"/>
                </a:lnTo>
                <a:lnTo>
                  <a:pt x="1422505" y="453257"/>
                </a:lnTo>
                <a:lnTo>
                  <a:pt x="1323054" y="453257"/>
                </a:lnTo>
                <a:close/>
                <a:moveTo>
                  <a:pt x="539852" y="532010"/>
                </a:moveTo>
                <a:cubicBezTo>
                  <a:pt x="534131" y="532010"/>
                  <a:pt x="527568" y="531841"/>
                  <a:pt x="520164" y="531505"/>
                </a:cubicBezTo>
                <a:cubicBezTo>
                  <a:pt x="512760" y="531168"/>
                  <a:pt x="505187" y="530748"/>
                  <a:pt x="497447" y="530243"/>
                </a:cubicBezTo>
                <a:cubicBezTo>
                  <a:pt x="489706" y="529738"/>
                  <a:pt x="482049" y="528981"/>
                  <a:pt x="474477" y="527971"/>
                </a:cubicBezTo>
                <a:cubicBezTo>
                  <a:pt x="466905" y="526961"/>
                  <a:pt x="460090" y="525784"/>
                  <a:pt x="454032" y="524437"/>
                </a:cubicBezTo>
                <a:lnTo>
                  <a:pt x="454032" y="215989"/>
                </a:lnTo>
                <a:lnTo>
                  <a:pt x="516125" y="215989"/>
                </a:lnTo>
                <a:lnTo>
                  <a:pt x="516125" y="321498"/>
                </a:lnTo>
                <a:lnTo>
                  <a:pt x="538337" y="321498"/>
                </a:lnTo>
                <a:cubicBezTo>
                  <a:pt x="578723" y="321498"/>
                  <a:pt x="609938" y="329827"/>
                  <a:pt x="631982" y="346486"/>
                </a:cubicBezTo>
                <a:cubicBezTo>
                  <a:pt x="654026" y="363146"/>
                  <a:pt x="665048" y="390154"/>
                  <a:pt x="665048" y="427511"/>
                </a:cubicBezTo>
                <a:cubicBezTo>
                  <a:pt x="665048" y="464531"/>
                  <a:pt x="654111" y="491203"/>
                  <a:pt x="632235" y="507526"/>
                </a:cubicBezTo>
                <a:cubicBezTo>
                  <a:pt x="610359" y="523848"/>
                  <a:pt x="579565" y="532010"/>
                  <a:pt x="539852" y="532010"/>
                </a:cubicBezTo>
                <a:close/>
                <a:moveTo>
                  <a:pt x="3816452" y="535544"/>
                </a:moveTo>
                <a:cubicBezTo>
                  <a:pt x="3797604" y="535544"/>
                  <a:pt x="3780694" y="532430"/>
                  <a:pt x="3765716" y="526204"/>
                </a:cubicBezTo>
                <a:cubicBezTo>
                  <a:pt x="3750740" y="519978"/>
                  <a:pt x="3738708" y="513836"/>
                  <a:pt x="3729622" y="507778"/>
                </a:cubicBezTo>
                <a:lnTo>
                  <a:pt x="3751834" y="462344"/>
                </a:lnTo>
                <a:cubicBezTo>
                  <a:pt x="3760248" y="468065"/>
                  <a:pt x="3770260" y="472861"/>
                  <a:pt x="3781872" y="476731"/>
                </a:cubicBezTo>
                <a:cubicBezTo>
                  <a:pt x="3793482" y="480602"/>
                  <a:pt x="3805178" y="482537"/>
                  <a:pt x="3816956" y="482537"/>
                </a:cubicBezTo>
                <a:cubicBezTo>
                  <a:pt x="3829072" y="482537"/>
                  <a:pt x="3838580" y="479255"/>
                  <a:pt x="3845480" y="472693"/>
                </a:cubicBezTo>
                <a:cubicBezTo>
                  <a:pt x="3852378" y="466130"/>
                  <a:pt x="3855828" y="457127"/>
                  <a:pt x="3855828" y="445685"/>
                </a:cubicBezTo>
                <a:cubicBezTo>
                  <a:pt x="3855828" y="437944"/>
                  <a:pt x="3854230" y="431550"/>
                  <a:pt x="3851032" y="426501"/>
                </a:cubicBezTo>
                <a:cubicBezTo>
                  <a:pt x="3847836" y="421453"/>
                  <a:pt x="3843712" y="417414"/>
                  <a:pt x="3838664" y="414385"/>
                </a:cubicBezTo>
                <a:cubicBezTo>
                  <a:pt x="3833616" y="411357"/>
                  <a:pt x="3827894" y="409169"/>
                  <a:pt x="3821500" y="407823"/>
                </a:cubicBezTo>
                <a:cubicBezTo>
                  <a:pt x="3815106" y="406477"/>
                  <a:pt x="3808712" y="405803"/>
                  <a:pt x="3802316" y="405803"/>
                </a:cubicBezTo>
                <a:lnTo>
                  <a:pt x="3779094" y="405803"/>
                </a:lnTo>
                <a:lnTo>
                  <a:pt x="3779094" y="354311"/>
                </a:lnTo>
                <a:lnTo>
                  <a:pt x="3798278" y="354311"/>
                </a:lnTo>
                <a:cubicBezTo>
                  <a:pt x="3818470" y="354311"/>
                  <a:pt x="3835130" y="351030"/>
                  <a:pt x="3848256" y="344467"/>
                </a:cubicBezTo>
                <a:cubicBezTo>
                  <a:pt x="3861380" y="337904"/>
                  <a:pt x="3867944" y="326378"/>
                  <a:pt x="3867944" y="309887"/>
                </a:cubicBezTo>
                <a:cubicBezTo>
                  <a:pt x="3867944" y="296425"/>
                  <a:pt x="3863652" y="285150"/>
                  <a:pt x="3855072" y="276063"/>
                </a:cubicBezTo>
                <a:cubicBezTo>
                  <a:pt x="3846488" y="266977"/>
                  <a:pt x="3831596" y="262433"/>
                  <a:pt x="3810394" y="262433"/>
                </a:cubicBezTo>
                <a:cubicBezTo>
                  <a:pt x="3793230" y="262433"/>
                  <a:pt x="3778506" y="264284"/>
                  <a:pt x="3766222" y="267986"/>
                </a:cubicBezTo>
                <a:cubicBezTo>
                  <a:pt x="3753938" y="271688"/>
                  <a:pt x="3743924" y="275222"/>
                  <a:pt x="3736184" y="278588"/>
                </a:cubicBezTo>
                <a:lnTo>
                  <a:pt x="3724068" y="226591"/>
                </a:lnTo>
                <a:cubicBezTo>
                  <a:pt x="3727770" y="224908"/>
                  <a:pt x="3732988" y="223057"/>
                  <a:pt x="3739718" y="221037"/>
                </a:cubicBezTo>
                <a:cubicBezTo>
                  <a:pt x="3746450" y="219018"/>
                  <a:pt x="3753770" y="217167"/>
                  <a:pt x="3761678" y="215484"/>
                </a:cubicBezTo>
                <a:cubicBezTo>
                  <a:pt x="3769588" y="213802"/>
                  <a:pt x="3777832" y="212371"/>
                  <a:pt x="3786414" y="211193"/>
                </a:cubicBezTo>
                <a:cubicBezTo>
                  <a:pt x="3794996" y="210015"/>
                  <a:pt x="3803158" y="209427"/>
                  <a:pt x="3810898" y="209427"/>
                </a:cubicBezTo>
                <a:cubicBezTo>
                  <a:pt x="3831764" y="209427"/>
                  <a:pt x="3849770" y="211867"/>
                  <a:pt x="3864916" y="216746"/>
                </a:cubicBezTo>
                <a:cubicBezTo>
                  <a:pt x="3880060" y="221626"/>
                  <a:pt x="3892512" y="228526"/>
                  <a:pt x="3902272" y="237444"/>
                </a:cubicBezTo>
                <a:cubicBezTo>
                  <a:pt x="3912032" y="246363"/>
                  <a:pt x="3919268" y="256880"/>
                  <a:pt x="3923980" y="268996"/>
                </a:cubicBezTo>
                <a:cubicBezTo>
                  <a:pt x="3928692" y="281112"/>
                  <a:pt x="3931048" y="294405"/>
                  <a:pt x="3931048" y="308877"/>
                </a:cubicBezTo>
                <a:cubicBezTo>
                  <a:pt x="3931048" y="327051"/>
                  <a:pt x="3926588" y="342700"/>
                  <a:pt x="3917668" y="355826"/>
                </a:cubicBezTo>
                <a:cubicBezTo>
                  <a:pt x="3908750" y="368951"/>
                  <a:pt x="3896214" y="378879"/>
                  <a:pt x="3880060" y="385610"/>
                </a:cubicBezTo>
                <a:cubicBezTo>
                  <a:pt x="3891840" y="391668"/>
                  <a:pt x="3901262" y="400419"/>
                  <a:pt x="3908330" y="411861"/>
                </a:cubicBezTo>
                <a:cubicBezTo>
                  <a:pt x="3915398" y="423304"/>
                  <a:pt x="3918932" y="435252"/>
                  <a:pt x="3918932" y="447704"/>
                </a:cubicBezTo>
                <a:cubicBezTo>
                  <a:pt x="3918932" y="460156"/>
                  <a:pt x="3916912" y="471767"/>
                  <a:pt x="3912874" y="482537"/>
                </a:cubicBezTo>
                <a:cubicBezTo>
                  <a:pt x="3908834" y="493306"/>
                  <a:pt x="3902608" y="502646"/>
                  <a:pt x="3894196" y="510555"/>
                </a:cubicBezTo>
                <a:cubicBezTo>
                  <a:pt x="3885780" y="518464"/>
                  <a:pt x="3875096" y="524606"/>
                  <a:pt x="3862138" y="528981"/>
                </a:cubicBezTo>
                <a:cubicBezTo>
                  <a:pt x="3849180" y="533356"/>
                  <a:pt x="3833952" y="535544"/>
                  <a:pt x="3816452" y="535544"/>
                </a:cubicBezTo>
                <a:close/>
                <a:moveTo>
                  <a:pt x="3567354" y="535544"/>
                </a:moveTo>
                <a:cubicBezTo>
                  <a:pt x="3549854" y="535544"/>
                  <a:pt x="3532268" y="532178"/>
                  <a:pt x="3514600" y="525447"/>
                </a:cubicBezTo>
                <a:cubicBezTo>
                  <a:pt x="3496930" y="518716"/>
                  <a:pt x="3481366" y="508283"/>
                  <a:pt x="3467904" y="494148"/>
                </a:cubicBezTo>
                <a:lnTo>
                  <a:pt x="3498698" y="450733"/>
                </a:lnTo>
                <a:cubicBezTo>
                  <a:pt x="3509130" y="461839"/>
                  <a:pt x="3519732" y="469748"/>
                  <a:pt x="3530502" y="474460"/>
                </a:cubicBezTo>
                <a:cubicBezTo>
                  <a:pt x="3541272" y="479171"/>
                  <a:pt x="3551536" y="481527"/>
                  <a:pt x="3561296" y="481527"/>
                </a:cubicBezTo>
                <a:cubicBezTo>
                  <a:pt x="3573076" y="481527"/>
                  <a:pt x="3582836" y="478078"/>
                  <a:pt x="3590576" y="471178"/>
                </a:cubicBezTo>
                <a:cubicBezTo>
                  <a:pt x="3598316" y="464279"/>
                  <a:pt x="3602186" y="454435"/>
                  <a:pt x="3602188" y="441646"/>
                </a:cubicBezTo>
                <a:cubicBezTo>
                  <a:pt x="3602186" y="432559"/>
                  <a:pt x="3599074" y="423641"/>
                  <a:pt x="3592848" y="414890"/>
                </a:cubicBezTo>
                <a:cubicBezTo>
                  <a:pt x="3586622" y="406140"/>
                  <a:pt x="3578712" y="397053"/>
                  <a:pt x="3569120" y="387630"/>
                </a:cubicBezTo>
                <a:cubicBezTo>
                  <a:pt x="3559528" y="378206"/>
                  <a:pt x="3549264" y="368362"/>
                  <a:pt x="3538326" y="358097"/>
                </a:cubicBezTo>
                <a:cubicBezTo>
                  <a:pt x="3527388" y="347833"/>
                  <a:pt x="3517124" y="336727"/>
                  <a:pt x="3507532" y="324779"/>
                </a:cubicBezTo>
                <a:cubicBezTo>
                  <a:pt x="3497940" y="312831"/>
                  <a:pt x="3490032" y="299790"/>
                  <a:pt x="3483806" y="285655"/>
                </a:cubicBezTo>
                <a:cubicBezTo>
                  <a:pt x="3477580" y="271520"/>
                  <a:pt x="3474466" y="256039"/>
                  <a:pt x="3474466" y="239211"/>
                </a:cubicBezTo>
                <a:cubicBezTo>
                  <a:pt x="3474466" y="237192"/>
                  <a:pt x="3474382" y="233658"/>
                  <a:pt x="3474214" y="228610"/>
                </a:cubicBezTo>
                <a:cubicBezTo>
                  <a:pt x="3474046" y="223562"/>
                  <a:pt x="3474466" y="219355"/>
                  <a:pt x="3475476" y="215989"/>
                </a:cubicBezTo>
                <a:lnTo>
                  <a:pt x="3679426" y="215989"/>
                </a:lnTo>
                <a:lnTo>
                  <a:pt x="3679426" y="267481"/>
                </a:lnTo>
                <a:lnTo>
                  <a:pt x="3545142" y="267481"/>
                </a:lnTo>
                <a:cubicBezTo>
                  <a:pt x="3545142" y="272530"/>
                  <a:pt x="3546908" y="278083"/>
                  <a:pt x="3550442" y="284141"/>
                </a:cubicBezTo>
                <a:cubicBezTo>
                  <a:pt x="3553976" y="290198"/>
                  <a:pt x="3558268" y="296172"/>
                  <a:pt x="3563316" y="302062"/>
                </a:cubicBezTo>
                <a:cubicBezTo>
                  <a:pt x="3568364" y="307952"/>
                  <a:pt x="3573748" y="313673"/>
                  <a:pt x="3579470" y="319226"/>
                </a:cubicBezTo>
                <a:cubicBezTo>
                  <a:pt x="3585190" y="324779"/>
                  <a:pt x="3590240" y="329575"/>
                  <a:pt x="3594614" y="333613"/>
                </a:cubicBezTo>
                <a:cubicBezTo>
                  <a:pt x="3603364" y="341691"/>
                  <a:pt x="3611946" y="350104"/>
                  <a:pt x="3620360" y="358855"/>
                </a:cubicBezTo>
                <a:cubicBezTo>
                  <a:pt x="3628774" y="367605"/>
                  <a:pt x="3636346" y="376692"/>
                  <a:pt x="3643078" y="386115"/>
                </a:cubicBezTo>
                <a:cubicBezTo>
                  <a:pt x="3649808" y="395539"/>
                  <a:pt x="3655194" y="405214"/>
                  <a:pt x="3659232" y="415143"/>
                </a:cubicBezTo>
                <a:cubicBezTo>
                  <a:pt x="3663270" y="425071"/>
                  <a:pt x="3665290" y="435420"/>
                  <a:pt x="3665290" y="446189"/>
                </a:cubicBezTo>
                <a:cubicBezTo>
                  <a:pt x="3665290" y="460998"/>
                  <a:pt x="3662598" y="474039"/>
                  <a:pt x="3657212" y="485313"/>
                </a:cubicBezTo>
                <a:cubicBezTo>
                  <a:pt x="3651828" y="496588"/>
                  <a:pt x="3644592" y="505927"/>
                  <a:pt x="3635506" y="513331"/>
                </a:cubicBezTo>
                <a:cubicBezTo>
                  <a:pt x="3626418" y="520735"/>
                  <a:pt x="3615986" y="526288"/>
                  <a:pt x="3604206" y="529990"/>
                </a:cubicBezTo>
                <a:cubicBezTo>
                  <a:pt x="3592426" y="533692"/>
                  <a:pt x="3580142" y="535544"/>
                  <a:pt x="3567354" y="535544"/>
                </a:cubicBezTo>
                <a:close/>
                <a:moveTo>
                  <a:pt x="3324752" y="535544"/>
                </a:moveTo>
                <a:cubicBezTo>
                  <a:pt x="3290088" y="535544"/>
                  <a:pt x="3263332" y="522081"/>
                  <a:pt x="3244486" y="495157"/>
                </a:cubicBezTo>
                <a:cubicBezTo>
                  <a:pt x="3225638" y="468233"/>
                  <a:pt x="3216214" y="427511"/>
                  <a:pt x="3216214" y="372990"/>
                </a:cubicBezTo>
                <a:cubicBezTo>
                  <a:pt x="3216214" y="317796"/>
                  <a:pt x="3225470" y="276737"/>
                  <a:pt x="3243980" y="249813"/>
                </a:cubicBezTo>
                <a:cubicBezTo>
                  <a:pt x="3262490" y="222889"/>
                  <a:pt x="3289414" y="209427"/>
                  <a:pt x="3324752" y="209427"/>
                </a:cubicBezTo>
                <a:cubicBezTo>
                  <a:pt x="3360090" y="209427"/>
                  <a:pt x="3387014" y="222889"/>
                  <a:pt x="3405524" y="249813"/>
                </a:cubicBezTo>
                <a:cubicBezTo>
                  <a:pt x="3424034" y="276737"/>
                  <a:pt x="3433290" y="317796"/>
                  <a:pt x="3433290" y="372990"/>
                </a:cubicBezTo>
                <a:cubicBezTo>
                  <a:pt x="3433290" y="427847"/>
                  <a:pt x="3424034" y="468654"/>
                  <a:pt x="3405524" y="495410"/>
                </a:cubicBezTo>
                <a:cubicBezTo>
                  <a:pt x="3387014" y="522166"/>
                  <a:pt x="3360090" y="535544"/>
                  <a:pt x="3324752" y="535544"/>
                </a:cubicBezTo>
                <a:close/>
                <a:moveTo>
                  <a:pt x="3062528" y="535544"/>
                </a:moveTo>
                <a:cubicBezTo>
                  <a:pt x="3045028" y="535544"/>
                  <a:pt x="3027444" y="532178"/>
                  <a:pt x="3009774" y="525447"/>
                </a:cubicBezTo>
                <a:cubicBezTo>
                  <a:pt x="2992106" y="518716"/>
                  <a:pt x="2976540" y="508283"/>
                  <a:pt x="2963078" y="494148"/>
                </a:cubicBezTo>
                <a:lnTo>
                  <a:pt x="2993872" y="450733"/>
                </a:lnTo>
                <a:cubicBezTo>
                  <a:pt x="3004306" y="461839"/>
                  <a:pt x="3014908" y="469748"/>
                  <a:pt x="3025676" y="474460"/>
                </a:cubicBezTo>
                <a:cubicBezTo>
                  <a:pt x="3036446" y="479171"/>
                  <a:pt x="3046712" y="481527"/>
                  <a:pt x="3056472" y="481527"/>
                </a:cubicBezTo>
                <a:cubicBezTo>
                  <a:pt x="3068250" y="481527"/>
                  <a:pt x="3078010" y="478078"/>
                  <a:pt x="3085752" y="471178"/>
                </a:cubicBezTo>
                <a:cubicBezTo>
                  <a:pt x="3093492" y="464279"/>
                  <a:pt x="3097362" y="454435"/>
                  <a:pt x="3097362" y="441646"/>
                </a:cubicBezTo>
                <a:cubicBezTo>
                  <a:pt x="3097362" y="432559"/>
                  <a:pt x="3094248" y="423641"/>
                  <a:pt x="3088022" y="414890"/>
                </a:cubicBezTo>
                <a:cubicBezTo>
                  <a:pt x="3081796" y="406140"/>
                  <a:pt x="3073888" y="397053"/>
                  <a:pt x="3064296" y="387630"/>
                </a:cubicBezTo>
                <a:cubicBezTo>
                  <a:pt x="3054704" y="378206"/>
                  <a:pt x="3044440" y="368362"/>
                  <a:pt x="3033502" y="358097"/>
                </a:cubicBezTo>
                <a:cubicBezTo>
                  <a:pt x="3022564" y="347833"/>
                  <a:pt x="3012298" y="336727"/>
                  <a:pt x="3002708" y="324779"/>
                </a:cubicBezTo>
                <a:cubicBezTo>
                  <a:pt x="2993116" y="312831"/>
                  <a:pt x="2985206" y="299790"/>
                  <a:pt x="2978980" y="285655"/>
                </a:cubicBezTo>
                <a:cubicBezTo>
                  <a:pt x="2972754" y="271520"/>
                  <a:pt x="2969642" y="256039"/>
                  <a:pt x="2969642" y="239211"/>
                </a:cubicBezTo>
                <a:cubicBezTo>
                  <a:pt x="2969642" y="237192"/>
                  <a:pt x="2969558" y="233658"/>
                  <a:pt x="2969388" y="228610"/>
                </a:cubicBezTo>
                <a:cubicBezTo>
                  <a:pt x="2969220" y="223562"/>
                  <a:pt x="2969640" y="219355"/>
                  <a:pt x="2970650" y="215989"/>
                </a:cubicBezTo>
                <a:lnTo>
                  <a:pt x="3174600" y="215989"/>
                </a:lnTo>
                <a:lnTo>
                  <a:pt x="3174600" y="267481"/>
                </a:lnTo>
                <a:lnTo>
                  <a:pt x="3040316" y="267481"/>
                </a:lnTo>
                <a:cubicBezTo>
                  <a:pt x="3040316" y="272530"/>
                  <a:pt x="3042084" y="278083"/>
                  <a:pt x="3045618" y="284141"/>
                </a:cubicBezTo>
                <a:cubicBezTo>
                  <a:pt x="3049152" y="290198"/>
                  <a:pt x="3053442" y="296172"/>
                  <a:pt x="3058490" y="302062"/>
                </a:cubicBezTo>
                <a:cubicBezTo>
                  <a:pt x="3063538" y="307952"/>
                  <a:pt x="3068924" y="313673"/>
                  <a:pt x="3074644" y="319226"/>
                </a:cubicBezTo>
                <a:cubicBezTo>
                  <a:pt x="3080366" y="324779"/>
                  <a:pt x="3085414" y="329575"/>
                  <a:pt x="3089790" y="333613"/>
                </a:cubicBezTo>
                <a:cubicBezTo>
                  <a:pt x="3098540" y="341691"/>
                  <a:pt x="3107122" y="350104"/>
                  <a:pt x="3115536" y="358855"/>
                </a:cubicBezTo>
                <a:cubicBezTo>
                  <a:pt x="3123950" y="367605"/>
                  <a:pt x="3131522" y="376692"/>
                  <a:pt x="3138252" y="386115"/>
                </a:cubicBezTo>
                <a:cubicBezTo>
                  <a:pt x="3144984" y="395539"/>
                  <a:pt x="3150368" y="405214"/>
                  <a:pt x="3154408" y="415143"/>
                </a:cubicBezTo>
                <a:cubicBezTo>
                  <a:pt x="3158446" y="425071"/>
                  <a:pt x="3160464" y="435420"/>
                  <a:pt x="3160464" y="446189"/>
                </a:cubicBezTo>
                <a:cubicBezTo>
                  <a:pt x="3160464" y="460998"/>
                  <a:pt x="3157772" y="474039"/>
                  <a:pt x="3152388" y="485313"/>
                </a:cubicBezTo>
                <a:cubicBezTo>
                  <a:pt x="3147002" y="496588"/>
                  <a:pt x="3139766" y="505927"/>
                  <a:pt x="3130680" y="513331"/>
                </a:cubicBezTo>
                <a:cubicBezTo>
                  <a:pt x="3121594" y="520735"/>
                  <a:pt x="3111160" y="526288"/>
                  <a:pt x="3099382" y="529990"/>
                </a:cubicBezTo>
                <a:cubicBezTo>
                  <a:pt x="3087602" y="533692"/>
                  <a:pt x="3075318" y="535544"/>
                  <a:pt x="3062528" y="535544"/>
                </a:cubicBezTo>
                <a:close/>
                <a:moveTo>
                  <a:pt x="2292890" y="561290"/>
                </a:moveTo>
                <a:cubicBezTo>
                  <a:pt x="2282120" y="561290"/>
                  <a:pt x="2272949" y="557756"/>
                  <a:pt x="2265377" y="550688"/>
                </a:cubicBezTo>
                <a:cubicBezTo>
                  <a:pt x="2257805" y="543621"/>
                  <a:pt x="2254018" y="533861"/>
                  <a:pt x="2254018" y="521408"/>
                </a:cubicBezTo>
                <a:cubicBezTo>
                  <a:pt x="2254018" y="509293"/>
                  <a:pt x="2257805" y="499701"/>
                  <a:pt x="2265377" y="492633"/>
                </a:cubicBezTo>
                <a:cubicBezTo>
                  <a:pt x="2272949" y="485566"/>
                  <a:pt x="2282120" y="482032"/>
                  <a:pt x="2292890" y="482032"/>
                </a:cubicBezTo>
                <a:cubicBezTo>
                  <a:pt x="2303660" y="482032"/>
                  <a:pt x="2312914" y="485566"/>
                  <a:pt x="2320655" y="492633"/>
                </a:cubicBezTo>
                <a:cubicBezTo>
                  <a:pt x="2328396" y="499701"/>
                  <a:pt x="2332266" y="509293"/>
                  <a:pt x="2332266" y="521408"/>
                </a:cubicBezTo>
                <a:cubicBezTo>
                  <a:pt x="2332266" y="533861"/>
                  <a:pt x="2328396" y="543621"/>
                  <a:pt x="2320655" y="550688"/>
                </a:cubicBezTo>
                <a:cubicBezTo>
                  <a:pt x="2312914" y="557756"/>
                  <a:pt x="2303660" y="561290"/>
                  <a:pt x="2292890" y="561290"/>
                </a:cubicBezTo>
                <a:close/>
                <a:moveTo>
                  <a:pt x="1959420" y="563309"/>
                </a:moveTo>
                <a:lnTo>
                  <a:pt x="1959420" y="511817"/>
                </a:lnTo>
                <a:lnTo>
                  <a:pt x="2025047" y="511817"/>
                </a:lnTo>
                <a:lnTo>
                  <a:pt x="2025047" y="310392"/>
                </a:lnTo>
                <a:cubicBezTo>
                  <a:pt x="2025047" y="277746"/>
                  <a:pt x="2031610" y="252926"/>
                  <a:pt x="2044735" y="235930"/>
                </a:cubicBezTo>
                <a:cubicBezTo>
                  <a:pt x="2057860" y="218934"/>
                  <a:pt x="2078727" y="210436"/>
                  <a:pt x="2107333" y="210436"/>
                </a:cubicBezTo>
                <a:cubicBezTo>
                  <a:pt x="2117767" y="210436"/>
                  <a:pt x="2127106" y="211109"/>
                  <a:pt x="2135351" y="212455"/>
                </a:cubicBezTo>
                <a:cubicBezTo>
                  <a:pt x="2143597" y="213802"/>
                  <a:pt x="2150580" y="215400"/>
                  <a:pt x="2156302" y="217251"/>
                </a:cubicBezTo>
                <a:cubicBezTo>
                  <a:pt x="2162023" y="219102"/>
                  <a:pt x="2166650" y="220869"/>
                  <a:pt x="2170184" y="222552"/>
                </a:cubicBezTo>
                <a:cubicBezTo>
                  <a:pt x="2173718" y="224235"/>
                  <a:pt x="2175990" y="225413"/>
                  <a:pt x="2176999" y="226086"/>
                </a:cubicBezTo>
                <a:lnTo>
                  <a:pt x="2168922" y="276063"/>
                </a:lnTo>
                <a:cubicBezTo>
                  <a:pt x="2166230" y="275054"/>
                  <a:pt x="2160677" y="272866"/>
                  <a:pt x="2152263" y="269501"/>
                </a:cubicBezTo>
                <a:cubicBezTo>
                  <a:pt x="2143849" y="266135"/>
                  <a:pt x="2133416" y="264452"/>
                  <a:pt x="2120964" y="264452"/>
                </a:cubicBezTo>
                <a:cubicBezTo>
                  <a:pt x="2111204" y="264452"/>
                  <a:pt x="2103126" y="267313"/>
                  <a:pt x="2096732" y="273034"/>
                </a:cubicBezTo>
                <a:cubicBezTo>
                  <a:pt x="2090338" y="278756"/>
                  <a:pt x="2087140" y="289694"/>
                  <a:pt x="2087140" y="305848"/>
                </a:cubicBezTo>
                <a:lnTo>
                  <a:pt x="2087140" y="563309"/>
                </a:lnTo>
                <a:close/>
                <a:moveTo>
                  <a:pt x="1607052" y="565833"/>
                </a:moveTo>
                <a:cubicBezTo>
                  <a:pt x="1594263" y="565833"/>
                  <a:pt x="1581811" y="564234"/>
                  <a:pt x="1569695" y="561037"/>
                </a:cubicBezTo>
                <a:cubicBezTo>
                  <a:pt x="1557579" y="557840"/>
                  <a:pt x="1546810" y="552455"/>
                  <a:pt x="1537386" y="544883"/>
                </a:cubicBezTo>
                <a:cubicBezTo>
                  <a:pt x="1527963" y="537310"/>
                  <a:pt x="1520474" y="527214"/>
                  <a:pt x="1514921" y="514593"/>
                </a:cubicBezTo>
                <a:cubicBezTo>
                  <a:pt x="1509368" y="501973"/>
                  <a:pt x="1506592" y="486071"/>
                  <a:pt x="1506592" y="466887"/>
                </a:cubicBezTo>
                <a:lnTo>
                  <a:pt x="1506592" y="453257"/>
                </a:lnTo>
                <a:lnTo>
                  <a:pt x="1454595" y="453257"/>
                </a:lnTo>
                <a:lnTo>
                  <a:pt x="1454595" y="401765"/>
                </a:lnTo>
                <a:lnTo>
                  <a:pt x="1506592" y="401765"/>
                </a:lnTo>
                <a:lnTo>
                  <a:pt x="1506592" y="215989"/>
                </a:lnTo>
                <a:lnTo>
                  <a:pt x="1569190" y="215989"/>
                </a:lnTo>
                <a:lnTo>
                  <a:pt x="1569190" y="401765"/>
                </a:lnTo>
                <a:lnTo>
                  <a:pt x="1666621" y="401765"/>
                </a:lnTo>
                <a:lnTo>
                  <a:pt x="1666621" y="453257"/>
                </a:lnTo>
                <a:lnTo>
                  <a:pt x="1569190" y="453257"/>
                </a:lnTo>
                <a:lnTo>
                  <a:pt x="1569190" y="465878"/>
                </a:lnTo>
                <a:cubicBezTo>
                  <a:pt x="1569190" y="475974"/>
                  <a:pt x="1570368" y="484135"/>
                  <a:pt x="1572724" y="490362"/>
                </a:cubicBezTo>
                <a:cubicBezTo>
                  <a:pt x="1575080" y="496588"/>
                  <a:pt x="1578193" y="501384"/>
                  <a:pt x="1582063" y="504749"/>
                </a:cubicBezTo>
                <a:cubicBezTo>
                  <a:pt x="1585933" y="508115"/>
                  <a:pt x="1590477" y="510302"/>
                  <a:pt x="1595693" y="511312"/>
                </a:cubicBezTo>
                <a:cubicBezTo>
                  <a:pt x="1600910" y="512322"/>
                  <a:pt x="1606379" y="512826"/>
                  <a:pt x="1612100" y="512826"/>
                </a:cubicBezTo>
                <a:cubicBezTo>
                  <a:pt x="1622533" y="512826"/>
                  <a:pt x="1633555" y="511396"/>
                  <a:pt x="1645166" y="508535"/>
                </a:cubicBezTo>
                <a:cubicBezTo>
                  <a:pt x="1656777" y="505675"/>
                  <a:pt x="1666453" y="502898"/>
                  <a:pt x="1674194" y="500206"/>
                </a:cubicBezTo>
                <a:lnTo>
                  <a:pt x="1684795" y="550688"/>
                </a:lnTo>
                <a:cubicBezTo>
                  <a:pt x="1673689" y="556073"/>
                  <a:pt x="1661236" y="559943"/>
                  <a:pt x="1647438" y="562299"/>
                </a:cubicBezTo>
                <a:cubicBezTo>
                  <a:pt x="1633639" y="564655"/>
                  <a:pt x="1620178" y="565833"/>
                  <a:pt x="1607052" y="565833"/>
                </a:cubicBezTo>
                <a:close/>
                <a:moveTo>
                  <a:pt x="0" y="796029"/>
                </a:moveTo>
                <a:lnTo>
                  <a:pt x="4876802" y="796029"/>
                </a:lnTo>
                <a:lnTo>
                  <a:pt x="4824822" y="344498"/>
                </a:lnTo>
                <a:cubicBezTo>
                  <a:pt x="4801968" y="145891"/>
                  <a:pt x="4682292" y="207"/>
                  <a:pt x="4541980" y="155"/>
                </a:cubicBezTo>
                <a:lnTo>
                  <a:pt x="0" y="0"/>
                </a:lnTo>
                <a:close/>
              </a:path>
            </a:pathLst>
          </a:custGeom>
          <a:solidFill>
            <a:schemeClr val="bg1"/>
          </a:solidFill>
          <a:ln w="2834" cap="flat">
            <a:noFill/>
            <a:prstDash val="solid"/>
            <a:miter/>
          </a:ln>
        </p:spPr>
        <p:txBody>
          <a:bodyPr wrap="square" rtlCol="0" anchor="ctr">
            <a:noAutofit/>
          </a:bodyPr>
          <a:lstStyle/>
          <a:p>
            <a:endParaRPr lang="en-US"/>
          </a:p>
        </p:txBody>
      </p:sp>
      <p:pic>
        <p:nvPicPr>
          <p:cNvPr id="11" name="Imagen 10" descr="Un dibujo de una cara feliz&#10;&#10;Descripción generada automáticamente con confianza baja">
            <a:extLst>
              <a:ext uri="{FF2B5EF4-FFF2-40B4-BE49-F238E27FC236}">
                <a16:creationId xmlns:a16="http://schemas.microsoft.com/office/drawing/2014/main" id="{AAE5E7C8-61FF-4E9E-B7AA-24C524932BC4}"/>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7824450" y="406400"/>
            <a:ext cx="1801936" cy="934010"/>
          </a:xfrm>
          <a:prstGeom prst="rect">
            <a:avLst/>
          </a:prstGeom>
        </p:spPr>
      </p:pic>
    </p:spTree>
    <p:extLst>
      <p:ext uri="{BB962C8B-B14F-4D97-AF65-F5344CB8AC3E}">
        <p14:creationId xmlns:p14="http://schemas.microsoft.com/office/powerpoint/2010/main" val="418474203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ext with shape 4">
    <p:bg>
      <p:bgPr>
        <a:solidFill>
          <a:schemeClr val="bg1">
            <a:alpha val="0"/>
          </a:schemeClr>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noProof="0"/>
              <a:t>Modifiez le style du titre</a:t>
            </a:r>
          </a:p>
        </p:txBody>
      </p:sp>
      <p:sp>
        <p:nvSpPr>
          <p:cNvPr id="3" name="Freeform 15">
            <a:extLst>
              <a:ext uri="{FF2B5EF4-FFF2-40B4-BE49-F238E27FC236}">
                <a16:creationId xmlns:a16="http://schemas.microsoft.com/office/drawing/2014/main" id="{005ED0D9-5740-4AC1-ADDD-56A9F2217C30}"/>
              </a:ext>
            </a:extLst>
          </p:cNvPr>
          <p:cNvSpPr/>
          <p:nvPr userDrawn="1"/>
        </p:nvSpPr>
        <p:spPr>
          <a:xfrm>
            <a:off x="0" y="6052436"/>
            <a:ext cx="13970410" cy="5275967"/>
          </a:xfrm>
          <a:custGeom>
            <a:avLst/>
            <a:gdLst>
              <a:gd name="connsiteX0" fmla="*/ 0 w 10105936"/>
              <a:gd name="connsiteY0" fmla="*/ 0 h 3809851"/>
              <a:gd name="connsiteX1" fmla="*/ 5362334 w 10105936"/>
              <a:gd name="connsiteY1" fmla="*/ 1015711 h 3809851"/>
              <a:gd name="connsiteX2" fmla="*/ 10105936 w 10105936"/>
              <a:gd name="connsiteY2" fmla="*/ 2151930 h 3809851"/>
              <a:gd name="connsiteX3" fmla="*/ 10105936 w 10105936"/>
              <a:gd name="connsiteY3" fmla="*/ 3601192 h 3809851"/>
              <a:gd name="connsiteX4" fmla="*/ 10105936 w 10105936"/>
              <a:gd name="connsiteY4" fmla="*/ 3809851 h 3809851"/>
              <a:gd name="connsiteX5" fmla="*/ 0 w 10105936"/>
              <a:gd name="connsiteY5" fmla="*/ 3809851 h 3809851"/>
              <a:gd name="connsiteX6" fmla="*/ 0 w 10105936"/>
              <a:gd name="connsiteY6" fmla="*/ 3761009 h 3809851"/>
              <a:gd name="connsiteX7" fmla="*/ 0 w 10105936"/>
              <a:gd name="connsiteY7" fmla="*/ 0 h 3809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05936" h="3809851">
                <a:moveTo>
                  <a:pt x="0" y="0"/>
                </a:moveTo>
                <a:cubicBezTo>
                  <a:pt x="137496" y="17215"/>
                  <a:pt x="3832694" y="688618"/>
                  <a:pt x="5362334" y="1015711"/>
                </a:cubicBezTo>
                <a:cubicBezTo>
                  <a:pt x="7098217" y="1377235"/>
                  <a:pt x="8679418" y="1755975"/>
                  <a:pt x="10105936" y="2151930"/>
                </a:cubicBezTo>
                <a:cubicBezTo>
                  <a:pt x="10105936" y="2151930"/>
                  <a:pt x="10105936" y="2151930"/>
                  <a:pt x="10105936" y="3601192"/>
                </a:cubicBezTo>
                <a:lnTo>
                  <a:pt x="10105936" y="3809851"/>
                </a:lnTo>
                <a:lnTo>
                  <a:pt x="0" y="3809851"/>
                </a:lnTo>
                <a:lnTo>
                  <a:pt x="0" y="3761009"/>
                </a:lnTo>
                <a:cubicBezTo>
                  <a:pt x="0" y="2691837"/>
                  <a:pt x="0" y="1447711"/>
                  <a:pt x="0"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09" dirty="0">
              <a:solidFill>
                <a:schemeClr val="tx1"/>
              </a:solidFill>
            </a:endParaRPr>
          </a:p>
        </p:txBody>
      </p:sp>
      <p:sp>
        <p:nvSpPr>
          <p:cNvPr id="4" name="Text Placeholder 7">
            <a:extLst>
              <a:ext uri="{FF2B5EF4-FFF2-40B4-BE49-F238E27FC236}">
                <a16:creationId xmlns:a16="http://schemas.microsoft.com/office/drawing/2014/main" id="{63E25333-AF71-47A9-9DF0-5D859FDFEE67}"/>
              </a:ext>
            </a:extLst>
          </p:cNvPr>
          <p:cNvSpPr>
            <a:spLocks noGrp="1"/>
          </p:cNvSpPr>
          <p:nvPr>
            <p:ph type="body" sz="quarter" idx="33" hasCustomPrompt="1"/>
          </p:nvPr>
        </p:nvSpPr>
        <p:spPr>
          <a:xfrm>
            <a:off x="593625" y="8958412"/>
            <a:ext cx="16070642" cy="1701298"/>
          </a:xfrm>
          <a:prstGeom prst="rect">
            <a:avLst/>
          </a:prstGeom>
        </p:spPr>
        <p:txBody>
          <a:bodyPr wrap="square" anchor="t" anchorCtr="0">
            <a:noAutofit/>
          </a:bodyPr>
          <a:lstStyle>
            <a:lvl1pPr marL="0" marR="0" indent="0" algn="l" defTabSz="1507846" rtl="0" eaLnBrk="1" fontAlgn="auto" latinLnBrk="0" hangingPunct="1">
              <a:lnSpc>
                <a:spcPct val="100000"/>
              </a:lnSpc>
              <a:spcBef>
                <a:spcPts val="1649"/>
              </a:spcBef>
              <a:spcAft>
                <a:spcPts val="0"/>
              </a:spcAft>
              <a:buClrTx/>
              <a:buSzTx/>
              <a:buFont typeface="Arial" panose="020B0604020202020204" pitchFamily="34" charset="0"/>
              <a:buNone/>
              <a:tabLst/>
              <a:defRPr sz="1979" b="0">
                <a:solidFill>
                  <a:schemeClr val="bg1"/>
                </a:solidFill>
              </a:defRPr>
            </a:lvl1pPr>
            <a:lvl2pPr>
              <a:lnSpc>
                <a:spcPct val="100000"/>
              </a:lnSpc>
              <a:defRPr sz="2309"/>
            </a:lvl2pPr>
            <a:lvl3pPr>
              <a:lnSpc>
                <a:spcPct val="100000"/>
              </a:lnSpc>
              <a:defRPr sz="2309"/>
            </a:lvl3pPr>
            <a:lvl4pPr>
              <a:lnSpc>
                <a:spcPct val="100000"/>
              </a:lnSpc>
              <a:defRPr sz="2309"/>
            </a:lvl4pPr>
            <a:lvl5pPr>
              <a:lnSpc>
                <a:spcPct val="100000"/>
              </a:lnSpc>
              <a:defRPr sz="1979"/>
            </a:lvl5pPr>
          </a:lstStyle>
          <a:p>
            <a:pPr marL="0" marR="0" lvl="0" indent="0" algn="l" defTabSz="1507846" rtl="0" eaLnBrk="1" fontAlgn="auto" latinLnBrk="0" hangingPunct="1">
              <a:lnSpc>
                <a:spcPct val="100000"/>
              </a:lnSpc>
              <a:spcBef>
                <a:spcPts val="1649"/>
              </a:spcBef>
              <a:spcAft>
                <a:spcPts val="0"/>
              </a:spcAft>
              <a:buClrTx/>
              <a:buSzTx/>
              <a:buFont typeface="Arial" panose="020B0604020202020204" pitchFamily="34" charset="0"/>
              <a:buNone/>
              <a:tabLst/>
              <a:defRPr/>
            </a:pPr>
            <a:r>
              <a:rPr lang="en-US" dirty="0"/>
              <a:t>Click to insert text</a:t>
            </a:r>
          </a:p>
        </p:txBody>
      </p:sp>
      <p:sp>
        <p:nvSpPr>
          <p:cNvPr id="5" name="Text Placeholder 7">
            <a:extLst>
              <a:ext uri="{FF2B5EF4-FFF2-40B4-BE49-F238E27FC236}">
                <a16:creationId xmlns:a16="http://schemas.microsoft.com/office/drawing/2014/main" id="{B2C87B7A-79DA-4338-A75C-77A4FD60F145}"/>
              </a:ext>
            </a:extLst>
          </p:cNvPr>
          <p:cNvSpPr>
            <a:spLocks noGrp="1"/>
          </p:cNvSpPr>
          <p:nvPr>
            <p:ph type="body" sz="quarter" idx="34" hasCustomPrompt="1"/>
          </p:nvPr>
        </p:nvSpPr>
        <p:spPr>
          <a:xfrm>
            <a:off x="652988" y="8120530"/>
            <a:ext cx="9458427" cy="755227"/>
          </a:xfrm>
          <a:prstGeom prst="rect">
            <a:avLst/>
          </a:prstGeom>
        </p:spPr>
        <p:txBody>
          <a:bodyPr wrap="square" anchor="t" anchorCtr="0">
            <a:noAutofit/>
          </a:bodyPr>
          <a:lstStyle>
            <a:lvl1pPr marL="0" marR="0" indent="0" algn="l" defTabSz="1507846" rtl="0" eaLnBrk="1" fontAlgn="auto" latinLnBrk="0" hangingPunct="1">
              <a:lnSpc>
                <a:spcPct val="100000"/>
              </a:lnSpc>
              <a:spcBef>
                <a:spcPts val="1649"/>
              </a:spcBef>
              <a:spcAft>
                <a:spcPts val="0"/>
              </a:spcAft>
              <a:buClrTx/>
              <a:buSzTx/>
              <a:buFont typeface="Arial" panose="020B0604020202020204" pitchFamily="34" charset="0"/>
              <a:buNone/>
              <a:tabLst/>
              <a:defRPr sz="2968" b="0">
                <a:solidFill>
                  <a:schemeClr val="bg1"/>
                </a:solidFill>
              </a:defRPr>
            </a:lvl1pPr>
            <a:lvl2pPr>
              <a:lnSpc>
                <a:spcPct val="100000"/>
              </a:lnSpc>
              <a:defRPr sz="2309"/>
            </a:lvl2pPr>
            <a:lvl3pPr>
              <a:lnSpc>
                <a:spcPct val="100000"/>
              </a:lnSpc>
              <a:defRPr sz="2309"/>
            </a:lvl3pPr>
            <a:lvl4pPr>
              <a:lnSpc>
                <a:spcPct val="100000"/>
              </a:lnSpc>
              <a:defRPr sz="2309"/>
            </a:lvl4pPr>
            <a:lvl5pPr>
              <a:lnSpc>
                <a:spcPct val="100000"/>
              </a:lnSpc>
              <a:defRPr sz="1979"/>
            </a:lvl5pPr>
          </a:lstStyle>
          <a:p>
            <a:pPr marL="0" marR="0" lvl="0" indent="0" algn="l" defTabSz="1507846" rtl="0" eaLnBrk="1" fontAlgn="auto" latinLnBrk="0" hangingPunct="1">
              <a:lnSpc>
                <a:spcPct val="100000"/>
              </a:lnSpc>
              <a:spcBef>
                <a:spcPts val="1649"/>
              </a:spcBef>
              <a:spcAft>
                <a:spcPts val="0"/>
              </a:spcAft>
              <a:buClrTx/>
              <a:buSzTx/>
              <a:buFont typeface="Arial" panose="020B0604020202020204" pitchFamily="34" charset="0"/>
              <a:buNone/>
              <a:tabLst/>
              <a:defRPr/>
            </a:pPr>
            <a:r>
              <a:rPr lang="en-US" dirty="0"/>
              <a:t>Click to insert text</a:t>
            </a:r>
          </a:p>
        </p:txBody>
      </p:sp>
      <p:sp>
        <p:nvSpPr>
          <p:cNvPr id="6" name="Text Placeholder 7">
            <a:extLst>
              <a:ext uri="{FF2B5EF4-FFF2-40B4-BE49-F238E27FC236}">
                <a16:creationId xmlns:a16="http://schemas.microsoft.com/office/drawing/2014/main" id="{C29E3B94-72A6-4A54-A041-7A68EF71C8D3}"/>
              </a:ext>
            </a:extLst>
          </p:cNvPr>
          <p:cNvSpPr>
            <a:spLocks noGrp="1"/>
          </p:cNvSpPr>
          <p:nvPr>
            <p:ph type="body" sz="quarter" idx="35" hasCustomPrompt="1"/>
          </p:nvPr>
        </p:nvSpPr>
        <p:spPr>
          <a:xfrm>
            <a:off x="652988" y="7246357"/>
            <a:ext cx="9458427" cy="755227"/>
          </a:xfrm>
          <a:prstGeom prst="rect">
            <a:avLst/>
          </a:prstGeom>
        </p:spPr>
        <p:txBody>
          <a:bodyPr wrap="square" anchor="t" anchorCtr="0">
            <a:noAutofit/>
          </a:bodyPr>
          <a:lstStyle>
            <a:lvl1pPr marL="0" marR="0" indent="0" algn="l" defTabSz="1507846" rtl="0" eaLnBrk="1" fontAlgn="auto" latinLnBrk="0" hangingPunct="1">
              <a:lnSpc>
                <a:spcPct val="100000"/>
              </a:lnSpc>
              <a:spcBef>
                <a:spcPts val="1649"/>
              </a:spcBef>
              <a:spcAft>
                <a:spcPts val="0"/>
              </a:spcAft>
              <a:buClrTx/>
              <a:buSzTx/>
              <a:buFont typeface="Arial" panose="020B0604020202020204" pitchFamily="34" charset="0"/>
              <a:buNone/>
              <a:tabLst/>
              <a:defRPr sz="3298" b="1">
                <a:solidFill>
                  <a:schemeClr val="bg1"/>
                </a:solidFill>
              </a:defRPr>
            </a:lvl1pPr>
            <a:lvl2pPr>
              <a:lnSpc>
                <a:spcPct val="100000"/>
              </a:lnSpc>
              <a:defRPr sz="2309"/>
            </a:lvl2pPr>
            <a:lvl3pPr>
              <a:lnSpc>
                <a:spcPct val="100000"/>
              </a:lnSpc>
              <a:defRPr sz="2309"/>
            </a:lvl3pPr>
            <a:lvl4pPr>
              <a:lnSpc>
                <a:spcPct val="100000"/>
              </a:lnSpc>
              <a:defRPr sz="2309"/>
            </a:lvl4pPr>
            <a:lvl5pPr>
              <a:lnSpc>
                <a:spcPct val="100000"/>
              </a:lnSpc>
              <a:defRPr sz="1979"/>
            </a:lvl5pPr>
          </a:lstStyle>
          <a:p>
            <a:pPr marL="0" marR="0" lvl="0" indent="0" algn="l" defTabSz="1507846" rtl="0" eaLnBrk="1" fontAlgn="auto" latinLnBrk="0" hangingPunct="1">
              <a:lnSpc>
                <a:spcPct val="100000"/>
              </a:lnSpc>
              <a:spcBef>
                <a:spcPts val="1649"/>
              </a:spcBef>
              <a:spcAft>
                <a:spcPts val="0"/>
              </a:spcAft>
              <a:buClrTx/>
              <a:buSzTx/>
              <a:buFont typeface="Arial" panose="020B0604020202020204" pitchFamily="34" charset="0"/>
              <a:buNone/>
              <a:tabLst/>
              <a:defRPr/>
            </a:pPr>
            <a:r>
              <a:rPr lang="en-US" dirty="0"/>
              <a:t>Click to insert text</a:t>
            </a:r>
          </a:p>
        </p:txBody>
      </p:sp>
      <p:sp>
        <p:nvSpPr>
          <p:cNvPr id="7" name="Picture Placeholder 17">
            <a:extLst>
              <a:ext uri="{FF2B5EF4-FFF2-40B4-BE49-F238E27FC236}">
                <a16:creationId xmlns:a16="http://schemas.microsoft.com/office/drawing/2014/main" id="{65A14B7A-E4D2-4DB3-A51F-9712AF70A6F8}"/>
              </a:ext>
            </a:extLst>
          </p:cNvPr>
          <p:cNvSpPr>
            <a:spLocks noGrp="1"/>
          </p:cNvSpPr>
          <p:nvPr>
            <p:ph type="pic" sz="quarter" idx="10"/>
          </p:nvPr>
        </p:nvSpPr>
        <p:spPr>
          <a:xfrm>
            <a:off x="652989" y="3517413"/>
            <a:ext cx="3342575" cy="3405499"/>
          </a:xfrm>
          <a:prstGeom prst="rect">
            <a:avLst/>
          </a:prstGeom>
          <a:solidFill>
            <a:srgbClr val="D9D9D9"/>
          </a:solidFill>
        </p:spPr>
        <p:txBody>
          <a:bodyPr anchor="ctr"/>
          <a:lstStyle>
            <a:lvl1pPr algn="ctr">
              <a:defRPr/>
            </a:lvl1pPr>
          </a:lstStyle>
          <a:p>
            <a:endParaRPr lang="pt-PT"/>
          </a:p>
        </p:txBody>
      </p:sp>
    </p:spTree>
    <p:extLst>
      <p:ext uri="{BB962C8B-B14F-4D97-AF65-F5344CB8AC3E}">
        <p14:creationId xmlns:p14="http://schemas.microsoft.com/office/powerpoint/2010/main" val="243007628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ext with shape 5">
    <p:spTree>
      <p:nvGrpSpPr>
        <p:cNvPr id="1" name=""/>
        <p:cNvGrpSpPr/>
        <p:nvPr/>
      </p:nvGrpSpPr>
      <p:grpSpPr>
        <a:xfrm>
          <a:off x="0" y="0"/>
          <a:ext cx="0" cy="0"/>
          <a:chOff x="0" y="0"/>
          <a:chExt cx="0" cy="0"/>
        </a:xfrm>
      </p:grpSpPr>
      <p:sp>
        <p:nvSpPr>
          <p:cNvPr id="3" name="Freeform 21">
            <a:extLst>
              <a:ext uri="{FF2B5EF4-FFF2-40B4-BE49-F238E27FC236}">
                <a16:creationId xmlns:a16="http://schemas.microsoft.com/office/drawing/2014/main" id="{4B07EBE9-FC0D-473A-B056-841D4546F56B}"/>
              </a:ext>
            </a:extLst>
          </p:cNvPr>
          <p:cNvSpPr/>
          <p:nvPr userDrawn="1"/>
        </p:nvSpPr>
        <p:spPr>
          <a:xfrm>
            <a:off x="-15156" y="0"/>
            <a:ext cx="13284498" cy="11328400"/>
          </a:xfrm>
          <a:custGeom>
            <a:avLst/>
            <a:gdLst>
              <a:gd name="connsiteX0" fmla="*/ 0 w 8056297"/>
              <a:gd name="connsiteY0" fmla="*/ 0 h 6858000"/>
              <a:gd name="connsiteX1" fmla="*/ 8056297 w 8056297"/>
              <a:gd name="connsiteY1" fmla="*/ 0 h 6858000"/>
              <a:gd name="connsiteX2" fmla="*/ 8056297 w 8056297"/>
              <a:gd name="connsiteY2" fmla="*/ 223850 h 6858000"/>
              <a:gd name="connsiteX3" fmla="*/ 8056297 w 8056297"/>
              <a:gd name="connsiteY3" fmla="*/ 6587097 h 6858000"/>
              <a:gd name="connsiteX4" fmla="*/ 8056297 w 8056297"/>
              <a:gd name="connsiteY4" fmla="*/ 6858000 h 6858000"/>
              <a:gd name="connsiteX5" fmla="*/ 3114070 w 8056297"/>
              <a:gd name="connsiteY5" fmla="*/ 6858000 h 6858000"/>
              <a:gd name="connsiteX6" fmla="*/ 2935863 w 8056297"/>
              <a:gd name="connsiteY6" fmla="*/ 6807788 h 6858000"/>
              <a:gd name="connsiteX7" fmla="*/ 0 w 8056297"/>
              <a:gd name="connsiteY7" fmla="*/ 2811350 h 6858000"/>
              <a:gd name="connsiteX8" fmla="*/ 0 w 8056297"/>
              <a:gd name="connsiteY8" fmla="*/ 126445 h 6858000"/>
              <a:gd name="connsiteX9" fmla="*/ 0 w 8056297"/>
              <a:gd name="connsiteY9"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56297" h="6858000">
                <a:moveTo>
                  <a:pt x="0" y="0"/>
                </a:moveTo>
                <a:lnTo>
                  <a:pt x="8056297" y="0"/>
                </a:lnTo>
                <a:lnTo>
                  <a:pt x="8056297" y="223850"/>
                </a:lnTo>
                <a:cubicBezTo>
                  <a:pt x="8056297" y="1771667"/>
                  <a:pt x="8056297" y="3835422"/>
                  <a:pt x="8056297" y="6587097"/>
                </a:cubicBezTo>
                <a:lnTo>
                  <a:pt x="8056297" y="6858000"/>
                </a:lnTo>
                <a:lnTo>
                  <a:pt x="3114070" y="6858000"/>
                </a:lnTo>
                <a:lnTo>
                  <a:pt x="2935863" y="6807788"/>
                </a:lnTo>
                <a:cubicBezTo>
                  <a:pt x="1205245" y="6277787"/>
                  <a:pt x="0" y="4673939"/>
                  <a:pt x="0" y="2811350"/>
                </a:cubicBezTo>
                <a:cubicBezTo>
                  <a:pt x="0" y="2811350"/>
                  <a:pt x="0" y="2811350"/>
                  <a:pt x="0" y="126445"/>
                </a:cubicBez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09" dirty="0">
              <a:solidFill>
                <a:schemeClr val="tx1"/>
              </a:solidFill>
            </a:endParaRPr>
          </a:p>
        </p:txBody>
      </p:sp>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solidFill>
                  <a:schemeClr val="bg1"/>
                </a:solidFill>
              </a:defRPr>
            </a:lvl1pPr>
          </a:lstStyle>
          <a:p>
            <a:r>
              <a:rPr lang="en-US" noProof="0"/>
              <a:t>Modifiez le style du titre</a:t>
            </a:r>
          </a:p>
        </p:txBody>
      </p:sp>
      <p:sp>
        <p:nvSpPr>
          <p:cNvPr id="4" name="Picture Placeholder 48">
            <a:extLst>
              <a:ext uri="{FF2B5EF4-FFF2-40B4-BE49-F238E27FC236}">
                <a16:creationId xmlns:a16="http://schemas.microsoft.com/office/drawing/2014/main" id="{05499993-F978-482C-A7E3-2CC87A10A64C}"/>
              </a:ext>
            </a:extLst>
          </p:cNvPr>
          <p:cNvSpPr>
            <a:spLocks noGrp="1"/>
          </p:cNvSpPr>
          <p:nvPr>
            <p:ph type="pic" sz="quarter" idx="10"/>
          </p:nvPr>
        </p:nvSpPr>
        <p:spPr>
          <a:xfrm>
            <a:off x="652987" y="2378667"/>
            <a:ext cx="10389704" cy="4497271"/>
          </a:xfrm>
          <a:prstGeom prst="rect">
            <a:avLst/>
          </a:prstGeom>
        </p:spPr>
        <p:txBody>
          <a:bodyPr anchor="ctr"/>
          <a:lstStyle>
            <a:lvl1pPr algn="ctr">
              <a:defRPr/>
            </a:lvl1pPr>
          </a:lstStyle>
          <a:p>
            <a:endParaRPr lang="pt-PT"/>
          </a:p>
        </p:txBody>
      </p:sp>
      <p:sp>
        <p:nvSpPr>
          <p:cNvPr id="5" name="Text Placeholder 7">
            <a:extLst>
              <a:ext uri="{FF2B5EF4-FFF2-40B4-BE49-F238E27FC236}">
                <a16:creationId xmlns:a16="http://schemas.microsoft.com/office/drawing/2014/main" id="{1E479B03-68C5-41EA-83D5-E4DFFE8B219D}"/>
              </a:ext>
            </a:extLst>
          </p:cNvPr>
          <p:cNvSpPr>
            <a:spLocks noGrp="1"/>
          </p:cNvSpPr>
          <p:nvPr>
            <p:ph type="body" sz="quarter" idx="33" hasCustomPrompt="1"/>
          </p:nvPr>
        </p:nvSpPr>
        <p:spPr>
          <a:xfrm>
            <a:off x="3392567" y="7426396"/>
            <a:ext cx="7706334" cy="3233315"/>
          </a:xfrm>
          <a:prstGeom prst="rect">
            <a:avLst/>
          </a:prstGeom>
        </p:spPr>
        <p:txBody>
          <a:bodyPr wrap="square" anchor="t" anchorCtr="0">
            <a:noAutofit/>
          </a:bodyPr>
          <a:lstStyle>
            <a:lvl1pPr marL="0" marR="0" indent="0" algn="l" defTabSz="1507846" rtl="0" eaLnBrk="1" fontAlgn="auto" latinLnBrk="0" hangingPunct="1">
              <a:lnSpc>
                <a:spcPct val="100000"/>
              </a:lnSpc>
              <a:spcBef>
                <a:spcPts val="1649"/>
              </a:spcBef>
              <a:spcAft>
                <a:spcPts val="0"/>
              </a:spcAft>
              <a:buClrTx/>
              <a:buSzTx/>
              <a:buFont typeface="Arial" panose="020B0604020202020204" pitchFamily="34" charset="0"/>
              <a:buNone/>
              <a:tabLst/>
              <a:defRPr sz="1814" b="0">
                <a:solidFill>
                  <a:schemeClr val="bg1"/>
                </a:solidFill>
              </a:defRPr>
            </a:lvl1pPr>
            <a:lvl2pPr>
              <a:lnSpc>
                <a:spcPct val="100000"/>
              </a:lnSpc>
              <a:defRPr sz="2309"/>
            </a:lvl2pPr>
            <a:lvl3pPr>
              <a:lnSpc>
                <a:spcPct val="100000"/>
              </a:lnSpc>
              <a:defRPr sz="2309"/>
            </a:lvl3pPr>
            <a:lvl4pPr>
              <a:lnSpc>
                <a:spcPct val="100000"/>
              </a:lnSpc>
              <a:defRPr sz="2309"/>
            </a:lvl4pPr>
            <a:lvl5pPr>
              <a:lnSpc>
                <a:spcPct val="100000"/>
              </a:lnSpc>
              <a:defRPr sz="1979"/>
            </a:lvl5pPr>
          </a:lstStyle>
          <a:p>
            <a:pPr marL="0" marR="0" lvl="0" indent="0" algn="l" defTabSz="1507846" rtl="0" eaLnBrk="1" fontAlgn="auto" latinLnBrk="0" hangingPunct="1">
              <a:lnSpc>
                <a:spcPct val="100000"/>
              </a:lnSpc>
              <a:spcBef>
                <a:spcPts val="1649"/>
              </a:spcBef>
              <a:spcAft>
                <a:spcPts val="0"/>
              </a:spcAft>
              <a:buClrTx/>
              <a:buSzTx/>
              <a:buFont typeface="Arial" panose="020B0604020202020204" pitchFamily="34" charset="0"/>
              <a:buNone/>
              <a:tabLst/>
              <a:defRPr/>
            </a:pPr>
            <a:r>
              <a:rPr lang="en-US" dirty="0"/>
              <a:t>Click to insert text</a:t>
            </a:r>
          </a:p>
        </p:txBody>
      </p:sp>
      <p:sp>
        <p:nvSpPr>
          <p:cNvPr id="6" name="Text Placeholder 7">
            <a:extLst>
              <a:ext uri="{FF2B5EF4-FFF2-40B4-BE49-F238E27FC236}">
                <a16:creationId xmlns:a16="http://schemas.microsoft.com/office/drawing/2014/main" id="{2E4AC362-34F9-4B4F-B3BC-BE19B9BEE42B}"/>
              </a:ext>
            </a:extLst>
          </p:cNvPr>
          <p:cNvSpPr>
            <a:spLocks noGrp="1"/>
          </p:cNvSpPr>
          <p:nvPr>
            <p:ph type="body" sz="quarter" idx="35" hasCustomPrompt="1"/>
          </p:nvPr>
        </p:nvSpPr>
        <p:spPr>
          <a:xfrm>
            <a:off x="13490987" y="2352433"/>
            <a:ext cx="5940359" cy="512993"/>
          </a:xfrm>
          <a:prstGeom prst="rect">
            <a:avLst/>
          </a:prstGeom>
        </p:spPr>
        <p:txBody>
          <a:bodyPr wrap="square" anchor="t" anchorCtr="0">
            <a:noAutofit/>
          </a:bodyPr>
          <a:lstStyle>
            <a:lvl1pPr marL="0" marR="0" indent="0" algn="l" defTabSz="1507846" rtl="0" eaLnBrk="1" fontAlgn="auto" latinLnBrk="0" hangingPunct="1">
              <a:lnSpc>
                <a:spcPct val="100000"/>
              </a:lnSpc>
              <a:spcBef>
                <a:spcPts val="1649"/>
              </a:spcBef>
              <a:spcAft>
                <a:spcPts val="0"/>
              </a:spcAft>
              <a:buClrTx/>
              <a:buSzTx/>
              <a:buFont typeface="Arial" panose="020B0604020202020204" pitchFamily="34" charset="0"/>
              <a:buNone/>
              <a:tabLst/>
              <a:defRPr sz="2309" b="1">
                <a:solidFill>
                  <a:schemeClr val="accent1"/>
                </a:solidFill>
              </a:defRPr>
            </a:lvl1pPr>
            <a:lvl2pPr>
              <a:lnSpc>
                <a:spcPct val="100000"/>
              </a:lnSpc>
              <a:defRPr sz="2309"/>
            </a:lvl2pPr>
            <a:lvl3pPr>
              <a:lnSpc>
                <a:spcPct val="100000"/>
              </a:lnSpc>
              <a:defRPr sz="2309"/>
            </a:lvl3pPr>
            <a:lvl4pPr>
              <a:lnSpc>
                <a:spcPct val="100000"/>
              </a:lnSpc>
              <a:defRPr sz="2309"/>
            </a:lvl4pPr>
            <a:lvl5pPr>
              <a:lnSpc>
                <a:spcPct val="100000"/>
              </a:lnSpc>
              <a:defRPr sz="1979"/>
            </a:lvl5pPr>
          </a:lstStyle>
          <a:p>
            <a:pPr marL="0" marR="0" lvl="0" indent="0" algn="l" defTabSz="1507846" rtl="0" eaLnBrk="1" fontAlgn="auto" latinLnBrk="0" hangingPunct="1">
              <a:lnSpc>
                <a:spcPct val="100000"/>
              </a:lnSpc>
              <a:spcBef>
                <a:spcPts val="1649"/>
              </a:spcBef>
              <a:spcAft>
                <a:spcPts val="0"/>
              </a:spcAft>
              <a:buClrTx/>
              <a:buSzTx/>
              <a:buFont typeface="Arial" panose="020B0604020202020204" pitchFamily="34" charset="0"/>
              <a:buNone/>
              <a:tabLst/>
              <a:defRPr/>
            </a:pPr>
            <a:r>
              <a:rPr lang="en-US" dirty="0"/>
              <a:t>Click to insert text</a:t>
            </a:r>
          </a:p>
        </p:txBody>
      </p:sp>
      <p:sp>
        <p:nvSpPr>
          <p:cNvPr id="7" name="Picture Placeholder 48">
            <a:extLst>
              <a:ext uri="{FF2B5EF4-FFF2-40B4-BE49-F238E27FC236}">
                <a16:creationId xmlns:a16="http://schemas.microsoft.com/office/drawing/2014/main" id="{A5473A73-00C8-46E5-B3BB-C3A3CFA926F5}"/>
              </a:ext>
            </a:extLst>
          </p:cNvPr>
          <p:cNvSpPr>
            <a:spLocks noGrp="1"/>
          </p:cNvSpPr>
          <p:nvPr>
            <p:ph type="pic" sz="quarter" idx="36"/>
          </p:nvPr>
        </p:nvSpPr>
        <p:spPr>
          <a:xfrm>
            <a:off x="11297357" y="4314233"/>
            <a:ext cx="2696339" cy="6345478"/>
          </a:xfrm>
          <a:prstGeom prst="rect">
            <a:avLst/>
          </a:prstGeom>
        </p:spPr>
        <p:txBody>
          <a:bodyPr anchor="ctr"/>
          <a:lstStyle>
            <a:lvl1pPr algn="ctr">
              <a:defRPr/>
            </a:lvl1pPr>
          </a:lstStyle>
          <a:p>
            <a:endParaRPr lang="pt-PT"/>
          </a:p>
        </p:txBody>
      </p:sp>
      <p:sp>
        <p:nvSpPr>
          <p:cNvPr id="8" name="Espace réservé du texte 2">
            <a:extLst>
              <a:ext uri="{FF2B5EF4-FFF2-40B4-BE49-F238E27FC236}">
                <a16:creationId xmlns:a16="http://schemas.microsoft.com/office/drawing/2014/main" id="{E0290EEC-BB50-46CF-B806-EE9D50B84E63}"/>
              </a:ext>
            </a:extLst>
          </p:cNvPr>
          <p:cNvSpPr>
            <a:spLocks noGrp="1"/>
          </p:cNvSpPr>
          <p:nvPr>
            <p:ph type="body" sz="quarter" idx="37"/>
          </p:nvPr>
        </p:nvSpPr>
        <p:spPr>
          <a:xfrm>
            <a:off x="13491736" y="2992062"/>
            <a:ext cx="6177822" cy="7549644"/>
          </a:xfrm>
          <a:prstGeom prst="rect">
            <a:avLst/>
          </a:prstGeom>
        </p:spPr>
        <p:txBody>
          <a:bodyPr>
            <a:normAutofit/>
          </a:bodyPr>
          <a:lstStyle>
            <a:lvl1pPr>
              <a:defRPr sz="2309"/>
            </a:lvl1pPr>
            <a:lvl2pPr>
              <a:defRPr sz="1979"/>
            </a:lvl2pPr>
            <a:lvl3pPr>
              <a:defRPr sz="1814"/>
            </a:lvl3pPr>
            <a:lvl4pPr>
              <a:defRPr sz="1731"/>
            </a:lvl4pPr>
          </a:lstStyle>
          <a:p>
            <a:pPr lvl="0"/>
            <a:r>
              <a:rPr lang="fr-FR" dirty="0"/>
              <a:t>Modifier les styles du texte du masque</a:t>
            </a:r>
          </a:p>
          <a:p>
            <a:pPr lvl="1"/>
            <a:r>
              <a:rPr lang="fr-FR" dirty="0"/>
              <a:t>Deuxième niveau</a:t>
            </a:r>
          </a:p>
          <a:p>
            <a:pPr lvl="2"/>
            <a:r>
              <a:rPr lang="fr-FR" dirty="0"/>
              <a:t>Troisième niveau</a:t>
            </a:r>
          </a:p>
          <a:p>
            <a:pPr lvl="3"/>
            <a:r>
              <a:rPr lang="fr-FR" dirty="0"/>
              <a:t>Quatrième niveau</a:t>
            </a:r>
          </a:p>
        </p:txBody>
      </p:sp>
    </p:spTree>
    <p:extLst>
      <p:ext uri="{BB962C8B-B14F-4D97-AF65-F5344CB8AC3E}">
        <p14:creationId xmlns:p14="http://schemas.microsoft.com/office/powerpoint/2010/main" val="346101098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ext with Imag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p>
            <a:r>
              <a:rPr lang="en-US" noProof="0"/>
              <a:t>Modifiez le style du titre</a:t>
            </a:r>
          </a:p>
        </p:txBody>
      </p:sp>
      <p:sp>
        <p:nvSpPr>
          <p:cNvPr id="3" name="Picture Placeholder 17">
            <a:extLst>
              <a:ext uri="{FF2B5EF4-FFF2-40B4-BE49-F238E27FC236}">
                <a16:creationId xmlns:a16="http://schemas.microsoft.com/office/drawing/2014/main" id="{C8E0B656-36C5-49F3-9D0D-F16AB2D3E6B9}"/>
              </a:ext>
            </a:extLst>
          </p:cNvPr>
          <p:cNvSpPr>
            <a:spLocks noGrp="1"/>
          </p:cNvSpPr>
          <p:nvPr>
            <p:ph type="pic" sz="quarter" idx="38"/>
          </p:nvPr>
        </p:nvSpPr>
        <p:spPr>
          <a:xfrm>
            <a:off x="10290263" y="2378667"/>
            <a:ext cx="9813835" cy="8163039"/>
          </a:xfrm>
          <a:prstGeom prst="rect">
            <a:avLst/>
          </a:prstGeom>
          <a:noFill/>
        </p:spPr>
        <p:txBody>
          <a:bodyPr anchor="ctr"/>
          <a:lstStyle>
            <a:lvl1pPr algn="ctr">
              <a:defRPr/>
            </a:lvl1pPr>
          </a:lstStyle>
          <a:p>
            <a:endParaRPr lang="pt-PT" dirty="0"/>
          </a:p>
        </p:txBody>
      </p:sp>
      <p:sp>
        <p:nvSpPr>
          <p:cNvPr id="6" name="Espace réservé du texte 5">
            <a:extLst>
              <a:ext uri="{FF2B5EF4-FFF2-40B4-BE49-F238E27FC236}">
                <a16:creationId xmlns:a16="http://schemas.microsoft.com/office/drawing/2014/main" id="{0F0A9670-1251-4E87-8D28-67C68D5BCD1E}"/>
              </a:ext>
            </a:extLst>
          </p:cNvPr>
          <p:cNvSpPr>
            <a:spLocks noGrp="1"/>
          </p:cNvSpPr>
          <p:nvPr>
            <p:ph type="body" sz="quarter" idx="39" hasCustomPrompt="1"/>
          </p:nvPr>
        </p:nvSpPr>
        <p:spPr>
          <a:xfrm>
            <a:off x="651813" y="2378667"/>
            <a:ext cx="9400237" cy="8163039"/>
          </a:xfrm>
        </p:spPr>
        <p:txBody>
          <a:bodyPr/>
          <a:lstStyle>
            <a:lvl4pPr>
              <a:defRPr/>
            </a:lvl4pPr>
            <a:lvl5pPr marL="1264391" indent="0">
              <a:buNone/>
              <a:defRPr/>
            </a:lvl5p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p:txBody>
      </p:sp>
    </p:spTree>
    <p:extLst>
      <p:ext uri="{BB962C8B-B14F-4D97-AF65-F5344CB8AC3E}">
        <p14:creationId xmlns:p14="http://schemas.microsoft.com/office/powerpoint/2010/main" val="43319077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noProof="0"/>
              <a:t>Modifiez le style du titre</a:t>
            </a:r>
          </a:p>
        </p:txBody>
      </p:sp>
      <p:sp>
        <p:nvSpPr>
          <p:cNvPr id="4" name="Espace réservé du tableau 3">
            <a:extLst>
              <a:ext uri="{FF2B5EF4-FFF2-40B4-BE49-F238E27FC236}">
                <a16:creationId xmlns:a16="http://schemas.microsoft.com/office/drawing/2014/main" id="{9860F927-93AF-47E5-8D95-FF388D3BFC54}"/>
              </a:ext>
            </a:extLst>
          </p:cNvPr>
          <p:cNvSpPr>
            <a:spLocks noGrp="1"/>
          </p:cNvSpPr>
          <p:nvPr>
            <p:ph type="tbl" sz="quarter" idx="10"/>
          </p:nvPr>
        </p:nvSpPr>
        <p:spPr>
          <a:xfrm>
            <a:off x="651814" y="3523162"/>
            <a:ext cx="18996803" cy="7018543"/>
          </a:xfrm>
        </p:spPr>
        <p:txBody>
          <a:bodyPr anchor="ctr"/>
          <a:lstStyle>
            <a:lvl1pPr algn="ctr">
              <a:defRPr/>
            </a:lvl1pPr>
          </a:lstStyle>
          <a:p>
            <a:endParaRPr lang="en-US"/>
          </a:p>
        </p:txBody>
      </p:sp>
      <p:sp>
        <p:nvSpPr>
          <p:cNvPr id="5" name="Espace réservé du texte 2">
            <a:extLst>
              <a:ext uri="{FF2B5EF4-FFF2-40B4-BE49-F238E27FC236}">
                <a16:creationId xmlns:a16="http://schemas.microsoft.com/office/drawing/2014/main" id="{59DE6943-EC89-42D3-AF34-E39DF0EB3649}"/>
              </a:ext>
            </a:extLst>
          </p:cNvPr>
          <p:cNvSpPr>
            <a:spLocks noGrp="1"/>
          </p:cNvSpPr>
          <p:nvPr>
            <p:ph type="body" idx="1" hasCustomPrompt="1"/>
          </p:nvPr>
        </p:nvSpPr>
        <p:spPr>
          <a:xfrm>
            <a:off x="652985" y="2378667"/>
            <a:ext cx="18994828" cy="1144495"/>
          </a:xfrm>
        </p:spPr>
        <p:txBody>
          <a:bodyPr anchor="t"/>
          <a:lstStyle>
            <a:lvl1pPr marL="0" indent="0" algn="l">
              <a:buNone/>
              <a:defRPr sz="2309" b="0">
                <a:solidFill>
                  <a:schemeClr val="tx1"/>
                </a:solidFill>
              </a:defRPr>
            </a:lvl1pPr>
            <a:lvl2pPr marL="753923" indent="0">
              <a:buNone/>
              <a:defRPr sz="3298" b="1"/>
            </a:lvl2pPr>
            <a:lvl3pPr marL="1507846" indent="0">
              <a:buNone/>
              <a:defRPr sz="2968" b="1"/>
            </a:lvl3pPr>
            <a:lvl4pPr marL="2261768" indent="0">
              <a:buNone/>
              <a:defRPr sz="2638" b="1"/>
            </a:lvl4pPr>
            <a:lvl5pPr marL="3015691" indent="0">
              <a:buNone/>
              <a:defRPr sz="2638" b="1"/>
            </a:lvl5pPr>
            <a:lvl6pPr marL="3769614" indent="0">
              <a:buNone/>
              <a:defRPr sz="2638" b="1"/>
            </a:lvl6pPr>
            <a:lvl7pPr marL="4523537" indent="0">
              <a:buNone/>
              <a:defRPr sz="2638" b="1"/>
            </a:lvl7pPr>
            <a:lvl8pPr marL="5277460" indent="0">
              <a:buNone/>
              <a:defRPr sz="2638" b="1"/>
            </a:lvl8pPr>
            <a:lvl9pPr marL="6031382" indent="0">
              <a:buNone/>
              <a:defRPr sz="2638" b="1"/>
            </a:lvl9pPr>
          </a:lstStyle>
          <a:p>
            <a:pPr lvl="0"/>
            <a:r>
              <a:rPr lang="en-US" noProof="0"/>
              <a:t>Modifier les styles du texte du masque</a:t>
            </a:r>
          </a:p>
        </p:txBody>
      </p:sp>
    </p:spTree>
    <p:extLst>
      <p:ext uri="{BB962C8B-B14F-4D97-AF65-F5344CB8AC3E}">
        <p14:creationId xmlns:p14="http://schemas.microsoft.com/office/powerpoint/2010/main" val="597929653"/>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2 charts with header">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noProof="0"/>
              <a:t>Modifiez le style du titre</a:t>
            </a:r>
          </a:p>
        </p:txBody>
      </p:sp>
      <p:sp>
        <p:nvSpPr>
          <p:cNvPr id="3" name="Chart Placeholder 18">
            <a:extLst>
              <a:ext uri="{FF2B5EF4-FFF2-40B4-BE49-F238E27FC236}">
                <a16:creationId xmlns:a16="http://schemas.microsoft.com/office/drawing/2014/main" id="{D07CEEB3-F05B-4A7A-A34B-6164F7E59119}"/>
              </a:ext>
            </a:extLst>
          </p:cNvPr>
          <p:cNvSpPr>
            <a:spLocks noGrp="1"/>
          </p:cNvSpPr>
          <p:nvPr>
            <p:ph type="chart" sz="quarter" idx="44"/>
          </p:nvPr>
        </p:nvSpPr>
        <p:spPr>
          <a:xfrm>
            <a:off x="652987" y="3094947"/>
            <a:ext cx="9141083" cy="5899756"/>
          </a:xfrm>
          <a:prstGeom prst="rect">
            <a:avLst/>
          </a:prstGeom>
        </p:spPr>
        <p:txBody>
          <a:bodyPr anchor="ctr"/>
          <a:lstStyle>
            <a:lvl1pPr marL="0" indent="0" algn="ctr">
              <a:buNone/>
              <a:defRPr sz="3298"/>
            </a:lvl1pPr>
          </a:lstStyle>
          <a:p>
            <a:endParaRPr lang="en-US" noProof="0"/>
          </a:p>
        </p:txBody>
      </p:sp>
      <p:sp>
        <p:nvSpPr>
          <p:cNvPr id="4" name="Text Placeholder 29">
            <a:extLst>
              <a:ext uri="{FF2B5EF4-FFF2-40B4-BE49-F238E27FC236}">
                <a16:creationId xmlns:a16="http://schemas.microsoft.com/office/drawing/2014/main" id="{0167E05D-6E5A-4441-B4F7-9F3ADECD8C4A}"/>
              </a:ext>
            </a:extLst>
          </p:cNvPr>
          <p:cNvSpPr>
            <a:spLocks noGrp="1"/>
          </p:cNvSpPr>
          <p:nvPr>
            <p:ph type="body" sz="quarter" idx="41" hasCustomPrompt="1"/>
          </p:nvPr>
        </p:nvSpPr>
        <p:spPr>
          <a:xfrm>
            <a:off x="652988" y="9210201"/>
            <a:ext cx="9141085" cy="1331505"/>
          </a:xfrm>
          <a:prstGeom prst="rect">
            <a:avLst/>
          </a:prstGeom>
        </p:spPr>
        <p:txBody>
          <a:bodyPr>
            <a:noAutofit/>
          </a:bodyPr>
          <a:lstStyle>
            <a:lvl1pPr marL="0" indent="0" algn="l">
              <a:lnSpc>
                <a:spcPts val="2638"/>
              </a:lnSpc>
              <a:spcBef>
                <a:spcPts val="0"/>
              </a:spcBef>
              <a:spcAft>
                <a:spcPts val="0"/>
              </a:spcAft>
              <a:buNone/>
              <a:defRPr sz="2309">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5" name="Text Placeholder 29">
            <a:extLst>
              <a:ext uri="{FF2B5EF4-FFF2-40B4-BE49-F238E27FC236}">
                <a16:creationId xmlns:a16="http://schemas.microsoft.com/office/drawing/2014/main" id="{A5AFC11C-9D23-437D-8241-6DBF1C7BE632}"/>
              </a:ext>
            </a:extLst>
          </p:cNvPr>
          <p:cNvSpPr>
            <a:spLocks noGrp="1"/>
          </p:cNvSpPr>
          <p:nvPr>
            <p:ph type="body" sz="quarter" idx="42" hasCustomPrompt="1"/>
          </p:nvPr>
        </p:nvSpPr>
        <p:spPr>
          <a:xfrm>
            <a:off x="10528761" y="9210201"/>
            <a:ext cx="9141083" cy="1331505"/>
          </a:xfrm>
          <a:prstGeom prst="rect">
            <a:avLst/>
          </a:prstGeom>
        </p:spPr>
        <p:txBody>
          <a:bodyPr>
            <a:noAutofit/>
          </a:bodyPr>
          <a:lstStyle>
            <a:lvl1pPr marL="0" indent="0" algn="l">
              <a:lnSpc>
                <a:spcPts val="2638"/>
              </a:lnSpc>
              <a:spcBef>
                <a:spcPts val="0"/>
              </a:spcBef>
              <a:spcAft>
                <a:spcPts val="0"/>
              </a:spcAft>
              <a:buNone/>
              <a:defRPr sz="2309">
                <a:solidFill>
                  <a:schemeClr val="tx1"/>
                </a:solidFill>
              </a:defRPr>
            </a:lvl1pPr>
            <a:lvl2pPr algn="ctr">
              <a:defRPr/>
            </a:lvl2pPr>
            <a:lvl3pPr algn="ctr">
              <a:defRPr/>
            </a:lvl3pPr>
            <a:lvl4pPr algn="ctr">
              <a:defRPr/>
            </a:lvl4pPr>
            <a:lvl5pPr algn="ctr">
              <a:defRPr/>
            </a:lvl5pPr>
          </a:lstStyle>
          <a:p>
            <a:pPr lvl="0"/>
            <a:r>
              <a:rPr lang="en-US" dirty="0"/>
              <a:t>Click to insert text</a:t>
            </a:r>
          </a:p>
        </p:txBody>
      </p:sp>
      <p:sp>
        <p:nvSpPr>
          <p:cNvPr id="6" name="Text Placeholder 4">
            <a:extLst>
              <a:ext uri="{FF2B5EF4-FFF2-40B4-BE49-F238E27FC236}">
                <a16:creationId xmlns:a16="http://schemas.microsoft.com/office/drawing/2014/main" id="{9629740E-D19F-4E86-B1F4-EB8795BFF008}"/>
              </a:ext>
            </a:extLst>
          </p:cNvPr>
          <p:cNvSpPr>
            <a:spLocks noGrp="1"/>
          </p:cNvSpPr>
          <p:nvPr>
            <p:ph type="body" sz="quarter" idx="29" hasCustomPrompt="1"/>
          </p:nvPr>
        </p:nvSpPr>
        <p:spPr>
          <a:xfrm>
            <a:off x="652988" y="2378667"/>
            <a:ext cx="9141085" cy="681163"/>
          </a:xfrm>
          <a:prstGeom prst="rect">
            <a:avLst/>
          </a:prstGeom>
          <a:noFill/>
        </p:spPr>
        <p:txBody>
          <a:bodyPr anchor="ctr">
            <a:noAutofit/>
          </a:bodyPr>
          <a:lstStyle>
            <a:lvl1pPr marL="0" indent="0" algn="l">
              <a:lnSpc>
                <a:spcPts val="2968"/>
              </a:lnSpc>
              <a:buNone/>
              <a:defRPr sz="2638" b="1">
                <a:solidFill>
                  <a:schemeClr val="accent2"/>
                </a:solidFill>
              </a:defRPr>
            </a:lvl1pPr>
            <a:lvl2pPr>
              <a:defRPr sz="2309"/>
            </a:lvl2pPr>
            <a:lvl3pPr>
              <a:defRPr sz="1979"/>
            </a:lvl3pPr>
            <a:lvl4pPr>
              <a:defRPr sz="1814"/>
            </a:lvl4pPr>
            <a:lvl5pPr>
              <a:defRPr sz="1814"/>
            </a:lvl5pPr>
          </a:lstStyle>
          <a:p>
            <a:pPr lvl="0"/>
            <a:r>
              <a:rPr lang="en-US" dirty="0"/>
              <a:t>Click to add chart title</a:t>
            </a:r>
          </a:p>
        </p:txBody>
      </p:sp>
      <p:sp>
        <p:nvSpPr>
          <p:cNvPr id="7" name="Text Placeholder 4">
            <a:extLst>
              <a:ext uri="{FF2B5EF4-FFF2-40B4-BE49-F238E27FC236}">
                <a16:creationId xmlns:a16="http://schemas.microsoft.com/office/drawing/2014/main" id="{A2C7C973-031C-4C00-8BF5-A0ED6AC8012F}"/>
              </a:ext>
            </a:extLst>
          </p:cNvPr>
          <p:cNvSpPr>
            <a:spLocks noGrp="1"/>
          </p:cNvSpPr>
          <p:nvPr>
            <p:ph type="body" sz="quarter" idx="43" hasCustomPrompt="1"/>
          </p:nvPr>
        </p:nvSpPr>
        <p:spPr>
          <a:xfrm>
            <a:off x="10528746" y="2378667"/>
            <a:ext cx="9141083" cy="681163"/>
          </a:xfrm>
          <a:prstGeom prst="rect">
            <a:avLst/>
          </a:prstGeom>
          <a:noFill/>
        </p:spPr>
        <p:txBody>
          <a:bodyPr anchor="ctr">
            <a:noAutofit/>
          </a:bodyPr>
          <a:lstStyle>
            <a:lvl1pPr marL="0" indent="0" algn="l">
              <a:lnSpc>
                <a:spcPts val="2968"/>
              </a:lnSpc>
              <a:buNone/>
              <a:defRPr sz="2638" b="1">
                <a:solidFill>
                  <a:schemeClr val="accent2"/>
                </a:solidFill>
              </a:defRPr>
            </a:lvl1pPr>
            <a:lvl2pPr>
              <a:defRPr sz="2309"/>
            </a:lvl2pPr>
            <a:lvl3pPr>
              <a:defRPr sz="1979"/>
            </a:lvl3pPr>
            <a:lvl4pPr>
              <a:defRPr sz="1814"/>
            </a:lvl4pPr>
            <a:lvl5pPr>
              <a:defRPr sz="1814"/>
            </a:lvl5pPr>
          </a:lstStyle>
          <a:p>
            <a:pPr lvl="0"/>
            <a:r>
              <a:rPr lang="en-US" dirty="0"/>
              <a:t>Click to add chart title</a:t>
            </a:r>
          </a:p>
        </p:txBody>
      </p:sp>
      <p:sp>
        <p:nvSpPr>
          <p:cNvPr id="8" name="Chart Placeholder 18">
            <a:extLst>
              <a:ext uri="{FF2B5EF4-FFF2-40B4-BE49-F238E27FC236}">
                <a16:creationId xmlns:a16="http://schemas.microsoft.com/office/drawing/2014/main" id="{09A4CCFD-2333-46C1-A1C0-3C8DA4CB1343}"/>
              </a:ext>
            </a:extLst>
          </p:cNvPr>
          <p:cNvSpPr>
            <a:spLocks noGrp="1"/>
          </p:cNvSpPr>
          <p:nvPr>
            <p:ph type="chart" sz="quarter" idx="45"/>
          </p:nvPr>
        </p:nvSpPr>
        <p:spPr>
          <a:xfrm>
            <a:off x="10528746" y="3094947"/>
            <a:ext cx="9141083" cy="5899756"/>
          </a:xfrm>
          <a:prstGeom prst="rect">
            <a:avLst/>
          </a:prstGeom>
        </p:spPr>
        <p:txBody>
          <a:bodyPr anchor="ctr"/>
          <a:lstStyle>
            <a:lvl1pPr marL="0" indent="0" algn="ctr">
              <a:buNone/>
              <a:defRPr sz="3298"/>
            </a:lvl1pPr>
          </a:lstStyle>
          <a:p>
            <a:endParaRPr lang="en-US" noProof="0"/>
          </a:p>
        </p:txBody>
      </p:sp>
    </p:spTree>
    <p:extLst>
      <p:ext uri="{BB962C8B-B14F-4D97-AF65-F5344CB8AC3E}">
        <p14:creationId xmlns:p14="http://schemas.microsoft.com/office/powerpoint/2010/main" val="347693263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2 chart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noProof="0"/>
              <a:t>Modifiez le style du titre</a:t>
            </a:r>
          </a:p>
        </p:txBody>
      </p:sp>
      <p:sp>
        <p:nvSpPr>
          <p:cNvPr id="3" name="Chart Placeholder 18">
            <a:extLst>
              <a:ext uri="{FF2B5EF4-FFF2-40B4-BE49-F238E27FC236}">
                <a16:creationId xmlns:a16="http://schemas.microsoft.com/office/drawing/2014/main" id="{D07CEEB3-F05B-4A7A-A34B-6164F7E59119}"/>
              </a:ext>
            </a:extLst>
          </p:cNvPr>
          <p:cNvSpPr>
            <a:spLocks noGrp="1"/>
          </p:cNvSpPr>
          <p:nvPr>
            <p:ph type="chart" sz="quarter" idx="44"/>
          </p:nvPr>
        </p:nvSpPr>
        <p:spPr>
          <a:xfrm>
            <a:off x="652987" y="3357162"/>
            <a:ext cx="9141083" cy="7184543"/>
          </a:xfrm>
          <a:prstGeom prst="rect">
            <a:avLst/>
          </a:prstGeom>
        </p:spPr>
        <p:txBody>
          <a:bodyPr anchor="ctr"/>
          <a:lstStyle>
            <a:lvl1pPr marL="0" indent="0" algn="ctr">
              <a:buNone/>
              <a:defRPr sz="3298"/>
            </a:lvl1pPr>
          </a:lstStyle>
          <a:p>
            <a:endParaRPr lang="en-US" noProof="0"/>
          </a:p>
        </p:txBody>
      </p:sp>
      <p:sp>
        <p:nvSpPr>
          <p:cNvPr id="6" name="Text Placeholder 4">
            <a:extLst>
              <a:ext uri="{FF2B5EF4-FFF2-40B4-BE49-F238E27FC236}">
                <a16:creationId xmlns:a16="http://schemas.microsoft.com/office/drawing/2014/main" id="{9629740E-D19F-4E86-B1F4-EB8795BFF008}"/>
              </a:ext>
            </a:extLst>
          </p:cNvPr>
          <p:cNvSpPr>
            <a:spLocks noGrp="1"/>
          </p:cNvSpPr>
          <p:nvPr>
            <p:ph type="body" sz="quarter" idx="29" hasCustomPrompt="1"/>
          </p:nvPr>
        </p:nvSpPr>
        <p:spPr>
          <a:xfrm>
            <a:off x="652988" y="2378667"/>
            <a:ext cx="9141085" cy="681163"/>
          </a:xfrm>
          <a:prstGeom prst="rect">
            <a:avLst/>
          </a:prstGeom>
          <a:noFill/>
        </p:spPr>
        <p:txBody>
          <a:bodyPr anchor="ctr">
            <a:noAutofit/>
          </a:bodyPr>
          <a:lstStyle>
            <a:lvl1pPr marL="0" indent="0" algn="ctr">
              <a:lnSpc>
                <a:spcPts val="2968"/>
              </a:lnSpc>
              <a:buNone/>
              <a:defRPr sz="2309" b="0">
                <a:solidFill>
                  <a:schemeClr val="tx1"/>
                </a:solidFill>
              </a:defRPr>
            </a:lvl1pPr>
            <a:lvl2pPr>
              <a:defRPr sz="2309"/>
            </a:lvl2pPr>
            <a:lvl3pPr>
              <a:defRPr sz="1979"/>
            </a:lvl3pPr>
            <a:lvl4pPr>
              <a:defRPr sz="1814"/>
            </a:lvl4pPr>
            <a:lvl5pPr>
              <a:defRPr sz="1814"/>
            </a:lvl5pPr>
          </a:lstStyle>
          <a:p>
            <a:pPr lvl="0"/>
            <a:r>
              <a:rPr lang="en-US" dirty="0"/>
              <a:t>Click to add chart title</a:t>
            </a:r>
          </a:p>
        </p:txBody>
      </p:sp>
      <p:sp>
        <p:nvSpPr>
          <p:cNvPr id="7" name="Text Placeholder 4">
            <a:extLst>
              <a:ext uri="{FF2B5EF4-FFF2-40B4-BE49-F238E27FC236}">
                <a16:creationId xmlns:a16="http://schemas.microsoft.com/office/drawing/2014/main" id="{A2C7C973-031C-4C00-8BF5-A0ED6AC8012F}"/>
              </a:ext>
            </a:extLst>
          </p:cNvPr>
          <p:cNvSpPr>
            <a:spLocks noGrp="1"/>
          </p:cNvSpPr>
          <p:nvPr>
            <p:ph type="body" sz="quarter" idx="43" hasCustomPrompt="1"/>
          </p:nvPr>
        </p:nvSpPr>
        <p:spPr>
          <a:xfrm>
            <a:off x="10528746" y="2378667"/>
            <a:ext cx="9141083" cy="681163"/>
          </a:xfrm>
          <a:prstGeom prst="rect">
            <a:avLst/>
          </a:prstGeom>
          <a:noFill/>
        </p:spPr>
        <p:txBody>
          <a:bodyPr anchor="ctr">
            <a:noAutofit/>
          </a:bodyPr>
          <a:lstStyle>
            <a:lvl1pPr marL="0" indent="0" algn="ctr">
              <a:lnSpc>
                <a:spcPts val="2968"/>
              </a:lnSpc>
              <a:buNone/>
              <a:defRPr sz="2309" b="0">
                <a:solidFill>
                  <a:schemeClr val="tx1"/>
                </a:solidFill>
              </a:defRPr>
            </a:lvl1pPr>
            <a:lvl2pPr>
              <a:defRPr sz="2309"/>
            </a:lvl2pPr>
            <a:lvl3pPr>
              <a:defRPr sz="1979"/>
            </a:lvl3pPr>
            <a:lvl4pPr>
              <a:defRPr sz="1814"/>
            </a:lvl4pPr>
            <a:lvl5pPr>
              <a:defRPr sz="1814"/>
            </a:lvl5pPr>
          </a:lstStyle>
          <a:p>
            <a:pPr lvl="0"/>
            <a:r>
              <a:rPr lang="en-US" dirty="0"/>
              <a:t>Click to add chart title</a:t>
            </a:r>
          </a:p>
        </p:txBody>
      </p:sp>
      <p:sp>
        <p:nvSpPr>
          <p:cNvPr id="8" name="Chart Placeholder 18">
            <a:extLst>
              <a:ext uri="{FF2B5EF4-FFF2-40B4-BE49-F238E27FC236}">
                <a16:creationId xmlns:a16="http://schemas.microsoft.com/office/drawing/2014/main" id="{09A4CCFD-2333-46C1-A1C0-3C8DA4CB1343}"/>
              </a:ext>
            </a:extLst>
          </p:cNvPr>
          <p:cNvSpPr>
            <a:spLocks noGrp="1"/>
          </p:cNvSpPr>
          <p:nvPr>
            <p:ph type="chart" sz="quarter" idx="45"/>
          </p:nvPr>
        </p:nvSpPr>
        <p:spPr>
          <a:xfrm>
            <a:off x="10528746" y="3357162"/>
            <a:ext cx="9141083" cy="7184543"/>
          </a:xfrm>
          <a:prstGeom prst="rect">
            <a:avLst/>
          </a:prstGeom>
        </p:spPr>
        <p:txBody>
          <a:bodyPr anchor="ctr"/>
          <a:lstStyle>
            <a:lvl1pPr marL="0" indent="0" algn="ctr">
              <a:buNone/>
              <a:defRPr sz="3298"/>
            </a:lvl1pPr>
          </a:lstStyle>
          <a:p>
            <a:endParaRPr lang="en-US" noProof="0"/>
          </a:p>
        </p:txBody>
      </p:sp>
    </p:spTree>
    <p:extLst>
      <p:ext uri="{BB962C8B-B14F-4D97-AF65-F5344CB8AC3E}">
        <p14:creationId xmlns:p14="http://schemas.microsoft.com/office/powerpoint/2010/main" val="3621084088"/>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2 charts icons">
    <p:spTree>
      <p:nvGrpSpPr>
        <p:cNvPr id="1" name=""/>
        <p:cNvGrpSpPr/>
        <p:nvPr/>
      </p:nvGrpSpPr>
      <p:grpSpPr>
        <a:xfrm>
          <a:off x="0" y="0"/>
          <a:ext cx="0" cy="0"/>
          <a:chOff x="0" y="0"/>
          <a:chExt cx="0" cy="0"/>
        </a:xfrm>
      </p:grpSpPr>
      <p:sp>
        <p:nvSpPr>
          <p:cNvPr id="9" name="Oval 20">
            <a:extLst>
              <a:ext uri="{FF2B5EF4-FFF2-40B4-BE49-F238E27FC236}">
                <a16:creationId xmlns:a16="http://schemas.microsoft.com/office/drawing/2014/main" id="{9162841E-F4CB-4A51-BA03-656E76E9232F}"/>
              </a:ext>
            </a:extLst>
          </p:cNvPr>
          <p:cNvSpPr/>
          <p:nvPr userDrawn="1"/>
        </p:nvSpPr>
        <p:spPr>
          <a:xfrm>
            <a:off x="12035526" y="4049604"/>
            <a:ext cx="6127523" cy="579965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10" name="Oval 20">
            <a:extLst>
              <a:ext uri="{FF2B5EF4-FFF2-40B4-BE49-F238E27FC236}">
                <a16:creationId xmlns:a16="http://schemas.microsoft.com/office/drawing/2014/main" id="{A789466F-BB37-460D-BA0C-63F4C8F06D11}"/>
              </a:ext>
            </a:extLst>
          </p:cNvPr>
          <p:cNvSpPr/>
          <p:nvPr userDrawn="1"/>
        </p:nvSpPr>
        <p:spPr>
          <a:xfrm>
            <a:off x="2159767" y="4049604"/>
            <a:ext cx="6127523" cy="579965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solidFill>
                <a:srgbClr val="FFFFFF"/>
              </a:solidFill>
            </a:endParaRPr>
          </a:p>
        </p:txBody>
      </p:sp>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noProof="0"/>
              <a:t>Modifiez le style du titre</a:t>
            </a:r>
          </a:p>
        </p:txBody>
      </p:sp>
      <p:sp>
        <p:nvSpPr>
          <p:cNvPr id="3" name="Chart Placeholder 18">
            <a:extLst>
              <a:ext uri="{FF2B5EF4-FFF2-40B4-BE49-F238E27FC236}">
                <a16:creationId xmlns:a16="http://schemas.microsoft.com/office/drawing/2014/main" id="{D07CEEB3-F05B-4A7A-A34B-6164F7E59119}"/>
              </a:ext>
            </a:extLst>
          </p:cNvPr>
          <p:cNvSpPr>
            <a:spLocks noGrp="1"/>
          </p:cNvSpPr>
          <p:nvPr>
            <p:ph type="chart" sz="quarter" idx="44"/>
          </p:nvPr>
        </p:nvSpPr>
        <p:spPr>
          <a:xfrm>
            <a:off x="652987" y="3357162"/>
            <a:ext cx="9141083" cy="7184543"/>
          </a:xfrm>
          <a:prstGeom prst="rect">
            <a:avLst/>
          </a:prstGeom>
        </p:spPr>
        <p:txBody>
          <a:bodyPr anchor="ctr"/>
          <a:lstStyle>
            <a:lvl1pPr marL="0" indent="0" algn="ctr">
              <a:buNone/>
              <a:defRPr sz="3298"/>
            </a:lvl1pPr>
          </a:lstStyle>
          <a:p>
            <a:endParaRPr lang="en-US" noProof="0"/>
          </a:p>
        </p:txBody>
      </p:sp>
      <p:sp>
        <p:nvSpPr>
          <p:cNvPr id="6" name="Text Placeholder 4">
            <a:extLst>
              <a:ext uri="{FF2B5EF4-FFF2-40B4-BE49-F238E27FC236}">
                <a16:creationId xmlns:a16="http://schemas.microsoft.com/office/drawing/2014/main" id="{9629740E-D19F-4E86-B1F4-EB8795BFF008}"/>
              </a:ext>
            </a:extLst>
          </p:cNvPr>
          <p:cNvSpPr>
            <a:spLocks noGrp="1"/>
          </p:cNvSpPr>
          <p:nvPr>
            <p:ph type="body" sz="quarter" idx="29" hasCustomPrompt="1"/>
          </p:nvPr>
        </p:nvSpPr>
        <p:spPr>
          <a:xfrm>
            <a:off x="652988" y="2378667"/>
            <a:ext cx="9141085" cy="681163"/>
          </a:xfrm>
          <a:prstGeom prst="rect">
            <a:avLst/>
          </a:prstGeom>
          <a:noFill/>
        </p:spPr>
        <p:txBody>
          <a:bodyPr anchor="ctr">
            <a:noAutofit/>
          </a:bodyPr>
          <a:lstStyle>
            <a:lvl1pPr marL="0" indent="0" algn="ctr">
              <a:lnSpc>
                <a:spcPts val="2968"/>
              </a:lnSpc>
              <a:buNone/>
              <a:defRPr sz="2309" b="0">
                <a:solidFill>
                  <a:schemeClr val="tx1"/>
                </a:solidFill>
              </a:defRPr>
            </a:lvl1pPr>
            <a:lvl2pPr>
              <a:defRPr sz="2309"/>
            </a:lvl2pPr>
            <a:lvl3pPr>
              <a:defRPr sz="1979"/>
            </a:lvl3pPr>
            <a:lvl4pPr>
              <a:defRPr sz="1814"/>
            </a:lvl4pPr>
            <a:lvl5pPr>
              <a:defRPr sz="1814"/>
            </a:lvl5pPr>
          </a:lstStyle>
          <a:p>
            <a:pPr lvl="0"/>
            <a:r>
              <a:rPr lang="en-US" dirty="0"/>
              <a:t>Click to add chart title</a:t>
            </a:r>
          </a:p>
        </p:txBody>
      </p:sp>
      <p:sp>
        <p:nvSpPr>
          <p:cNvPr id="7" name="Text Placeholder 4">
            <a:extLst>
              <a:ext uri="{FF2B5EF4-FFF2-40B4-BE49-F238E27FC236}">
                <a16:creationId xmlns:a16="http://schemas.microsoft.com/office/drawing/2014/main" id="{A2C7C973-031C-4C00-8BF5-A0ED6AC8012F}"/>
              </a:ext>
            </a:extLst>
          </p:cNvPr>
          <p:cNvSpPr>
            <a:spLocks noGrp="1"/>
          </p:cNvSpPr>
          <p:nvPr>
            <p:ph type="body" sz="quarter" idx="43" hasCustomPrompt="1"/>
          </p:nvPr>
        </p:nvSpPr>
        <p:spPr>
          <a:xfrm>
            <a:off x="10528746" y="2378667"/>
            <a:ext cx="9141083" cy="681163"/>
          </a:xfrm>
          <a:prstGeom prst="rect">
            <a:avLst/>
          </a:prstGeom>
          <a:noFill/>
        </p:spPr>
        <p:txBody>
          <a:bodyPr anchor="ctr">
            <a:noAutofit/>
          </a:bodyPr>
          <a:lstStyle>
            <a:lvl1pPr marL="0" indent="0" algn="ctr">
              <a:lnSpc>
                <a:spcPts val="2968"/>
              </a:lnSpc>
              <a:buNone/>
              <a:defRPr sz="2309" b="0">
                <a:solidFill>
                  <a:schemeClr val="tx1"/>
                </a:solidFill>
              </a:defRPr>
            </a:lvl1pPr>
            <a:lvl2pPr>
              <a:defRPr sz="2309"/>
            </a:lvl2pPr>
            <a:lvl3pPr>
              <a:defRPr sz="1979"/>
            </a:lvl3pPr>
            <a:lvl4pPr>
              <a:defRPr sz="1814"/>
            </a:lvl4pPr>
            <a:lvl5pPr>
              <a:defRPr sz="1814"/>
            </a:lvl5pPr>
          </a:lstStyle>
          <a:p>
            <a:pPr lvl="0"/>
            <a:r>
              <a:rPr lang="en-US" dirty="0"/>
              <a:t>Click to add chart title</a:t>
            </a:r>
          </a:p>
        </p:txBody>
      </p:sp>
      <p:sp>
        <p:nvSpPr>
          <p:cNvPr id="8" name="Chart Placeholder 18">
            <a:extLst>
              <a:ext uri="{FF2B5EF4-FFF2-40B4-BE49-F238E27FC236}">
                <a16:creationId xmlns:a16="http://schemas.microsoft.com/office/drawing/2014/main" id="{09A4CCFD-2333-46C1-A1C0-3C8DA4CB1343}"/>
              </a:ext>
            </a:extLst>
          </p:cNvPr>
          <p:cNvSpPr>
            <a:spLocks noGrp="1"/>
          </p:cNvSpPr>
          <p:nvPr>
            <p:ph type="chart" sz="quarter" idx="45"/>
          </p:nvPr>
        </p:nvSpPr>
        <p:spPr>
          <a:xfrm>
            <a:off x="10528746" y="3357162"/>
            <a:ext cx="9141083" cy="7184543"/>
          </a:xfrm>
          <a:prstGeom prst="rect">
            <a:avLst/>
          </a:prstGeom>
        </p:spPr>
        <p:txBody>
          <a:bodyPr anchor="ctr"/>
          <a:lstStyle>
            <a:lvl1pPr marL="0" indent="0" algn="ctr">
              <a:buNone/>
              <a:defRPr sz="3298"/>
            </a:lvl1pPr>
          </a:lstStyle>
          <a:p>
            <a:endParaRPr lang="en-US" noProof="0"/>
          </a:p>
        </p:txBody>
      </p:sp>
    </p:spTree>
    <p:extLst>
      <p:ext uri="{BB962C8B-B14F-4D97-AF65-F5344CB8AC3E}">
        <p14:creationId xmlns:p14="http://schemas.microsoft.com/office/powerpoint/2010/main" val="256603069"/>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Organization chart1">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hasCustomPrompt="1"/>
          </p:nvPr>
        </p:nvSpPr>
        <p:spPr/>
        <p:txBody>
          <a:bodyPr/>
          <a:lstStyle>
            <a:lvl1pPr>
              <a:defRPr/>
            </a:lvl1pPr>
          </a:lstStyle>
          <a:p>
            <a:r>
              <a:rPr lang="en-US" noProof="0"/>
              <a:t>Modifiez le style du titre</a:t>
            </a:r>
          </a:p>
        </p:txBody>
      </p:sp>
      <p:sp>
        <p:nvSpPr>
          <p:cNvPr id="3" name="Text Placeholder 7">
            <a:extLst>
              <a:ext uri="{FF2B5EF4-FFF2-40B4-BE49-F238E27FC236}">
                <a16:creationId xmlns:a16="http://schemas.microsoft.com/office/drawing/2014/main" id="{2B6352F5-5148-4872-A072-1895484AACFC}"/>
              </a:ext>
            </a:extLst>
          </p:cNvPr>
          <p:cNvSpPr>
            <a:spLocks noGrp="1"/>
          </p:cNvSpPr>
          <p:nvPr>
            <p:ph type="body" sz="quarter" idx="38" hasCustomPrompt="1"/>
          </p:nvPr>
        </p:nvSpPr>
        <p:spPr>
          <a:xfrm>
            <a:off x="1341307" y="9232595"/>
            <a:ext cx="3198854" cy="832626"/>
          </a:xfrm>
          <a:prstGeom prst="rect">
            <a:avLst/>
          </a:prstGeom>
          <a:solidFill>
            <a:srgbClr val="E6E7E7"/>
          </a:solidFill>
        </p:spPr>
        <p:txBody>
          <a:bodyPr anchor="ctr">
            <a:noAutofit/>
          </a:bodyPr>
          <a:lstStyle>
            <a:lvl1pPr algn="ctr">
              <a:lnSpc>
                <a:spcPts val="2309"/>
              </a:lnSpc>
              <a:spcBef>
                <a:spcPts val="0"/>
              </a:spcBef>
              <a:spcAft>
                <a:spcPts val="0"/>
              </a:spcAft>
              <a:defRPr sz="1979" b="0"/>
            </a:lvl1pPr>
            <a:lvl2pPr>
              <a:lnSpc>
                <a:spcPct val="100000"/>
              </a:lnSpc>
              <a:defRPr sz="2309"/>
            </a:lvl2pPr>
            <a:lvl3pPr>
              <a:lnSpc>
                <a:spcPct val="100000"/>
              </a:lnSpc>
              <a:defRPr sz="2309"/>
            </a:lvl3pPr>
            <a:lvl4pPr>
              <a:lnSpc>
                <a:spcPct val="100000"/>
              </a:lnSpc>
              <a:defRPr sz="2309"/>
            </a:lvl4pPr>
            <a:lvl5pPr>
              <a:lnSpc>
                <a:spcPct val="100000"/>
              </a:lnSpc>
              <a:defRPr sz="1979"/>
            </a:lvl5pPr>
          </a:lstStyle>
          <a:p>
            <a:pPr lvl="0"/>
            <a:r>
              <a:rPr lang="en-US" dirty="0"/>
              <a:t>Click to insert text</a:t>
            </a:r>
          </a:p>
        </p:txBody>
      </p:sp>
      <p:sp>
        <p:nvSpPr>
          <p:cNvPr id="4" name="Text Placeholder 7">
            <a:extLst>
              <a:ext uri="{FF2B5EF4-FFF2-40B4-BE49-F238E27FC236}">
                <a16:creationId xmlns:a16="http://schemas.microsoft.com/office/drawing/2014/main" id="{87D90589-56ED-4008-A8B0-F474E5791444}"/>
              </a:ext>
            </a:extLst>
          </p:cNvPr>
          <p:cNvSpPr>
            <a:spLocks noGrp="1"/>
          </p:cNvSpPr>
          <p:nvPr>
            <p:ph type="body" sz="quarter" idx="39" hasCustomPrompt="1"/>
          </p:nvPr>
        </p:nvSpPr>
        <p:spPr>
          <a:xfrm>
            <a:off x="4849324" y="9239840"/>
            <a:ext cx="3198854" cy="832626"/>
          </a:xfrm>
          <a:prstGeom prst="rect">
            <a:avLst/>
          </a:prstGeom>
          <a:solidFill>
            <a:srgbClr val="E6E7E7"/>
          </a:solidFill>
        </p:spPr>
        <p:txBody>
          <a:bodyPr anchor="ctr">
            <a:noAutofit/>
          </a:bodyPr>
          <a:lstStyle>
            <a:lvl1pPr algn="ctr">
              <a:lnSpc>
                <a:spcPts val="2309"/>
              </a:lnSpc>
              <a:spcBef>
                <a:spcPts val="0"/>
              </a:spcBef>
              <a:spcAft>
                <a:spcPts val="0"/>
              </a:spcAft>
              <a:defRPr sz="1979" b="0"/>
            </a:lvl1pPr>
            <a:lvl2pPr>
              <a:lnSpc>
                <a:spcPct val="100000"/>
              </a:lnSpc>
              <a:defRPr sz="2309"/>
            </a:lvl2pPr>
            <a:lvl3pPr>
              <a:lnSpc>
                <a:spcPct val="100000"/>
              </a:lnSpc>
              <a:defRPr sz="2309"/>
            </a:lvl3pPr>
            <a:lvl4pPr>
              <a:lnSpc>
                <a:spcPct val="100000"/>
              </a:lnSpc>
              <a:defRPr sz="2309"/>
            </a:lvl4pPr>
            <a:lvl5pPr>
              <a:lnSpc>
                <a:spcPct val="100000"/>
              </a:lnSpc>
              <a:defRPr sz="1979"/>
            </a:lvl5pPr>
          </a:lstStyle>
          <a:p>
            <a:pPr lvl="0"/>
            <a:r>
              <a:rPr lang="en-US" dirty="0"/>
              <a:t>Click to insert text</a:t>
            </a:r>
          </a:p>
        </p:txBody>
      </p:sp>
      <p:sp>
        <p:nvSpPr>
          <p:cNvPr id="5" name="Text Placeholder 7">
            <a:extLst>
              <a:ext uri="{FF2B5EF4-FFF2-40B4-BE49-F238E27FC236}">
                <a16:creationId xmlns:a16="http://schemas.microsoft.com/office/drawing/2014/main" id="{7B89B690-4081-4A9A-A9A3-9307B3F49946}"/>
              </a:ext>
            </a:extLst>
          </p:cNvPr>
          <p:cNvSpPr>
            <a:spLocks noGrp="1"/>
          </p:cNvSpPr>
          <p:nvPr>
            <p:ph type="body" sz="quarter" idx="40" hasCustomPrompt="1"/>
          </p:nvPr>
        </p:nvSpPr>
        <p:spPr>
          <a:xfrm>
            <a:off x="8367062" y="9239840"/>
            <a:ext cx="3198854" cy="832626"/>
          </a:xfrm>
          <a:prstGeom prst="rect">
            <a:avLst/>
          </a:prstGeom>
          <a:solidFill>
            <a:srgbClr val="E6E7E7"/>
          </a:solidFill>
        </p:spPr>
        <p:txBody>
          <a:bodyPr anchor="ctr">
            <a:noAutofit/>
          </a:bodyPr>
          <a:lstStyle>
            <a:lvl1pPr algn="ctr">
              <a:lnSpc>
                <a:spcPts val="2309"/>
              </a:lnSpc>
              <a:spcBef>
                <a:spcPts val="0"/>
              </a:spcBef>
              <a:spcAft>
                <a:spcPts val="0"/>
              </a:spcAft>
              <a:defRPr sz="1979" b="0"/>
            </a:lvl1pPr>
            <a:lvl2pPr>
              <a:lnSpc>
                <a:spcPct val="100000"/>
              </a:lnSpc>
              <a:defRPr sz="2309"/>
            </a:lvl2pPr>
            <a:lvl3pPr>
              <a:lnSpc>
                <a:spcPct val="100000"/>
              </a:lnSpc>
              <a:defRPr sz="2309"/>
            </a:lvl3pPr>
            <a:lvl4pPr>
              <a:lnSpc>
                <a:spcPct val="100000"/>
              </a:lnSpc>
              <a:defRPr sz="2309"/>
            </a:lvl4pPr>
            <a:lvl5pPr>
              <a:lnSpc>
                <a:spcPct val="100000"/>
              </a:lnSpc>
              <a:defRPr sz="1979"/>
            </a:lvl5pPr>
          </a:lstStyle>
          <a:p>
            <a:pPr lvl="0"/>
            <a:r>
              <a:rPr lang="en-US" dirty="0"/>
              <a:t>Click to insert text</a:t>
            </a:r>
          </a:p>
        </p:txBody>
      </p:sp>
      <p:sp>
        <p:nvSpPr>
          <p:cNvPr id="6" name="Text Placeholder 7">
            <a:extLst>
              <a:ext uri="{FF2B5EF4-FFF2-40B4-BE49-F238E27FC236}">
                <a16:creationId xmlns:a16="http://schemas.microsoft.com/office/drawing/2014/main" id="{F27398E3-A9C4-436A-A05C-9A9F0578339A}"/>
              </a:ext>
            </a:extLst>
          </p:cNvPr>
          <p:cNvSpPr>
            <a:spLocks noGrp="1"/>
          </p:cNvSpPr>
          <p:nvPr>
            <p:ph type="body" sz="quarter" idx="41" hasCustomPrompt="1"/>
          </p:nvPr>
        </p:nvSpPr>
        <p:spPr>
          <a:xfrm>
            <a:off x="11883840" y="9232431"/>
            <a:ext cx="3198854" cy="832626"/>
          </a:xfrm>
          <a:prstGeom prst="rect">
            <a:avLst/>
          </a:prstGeom>
          <a:solidFill>
            <a:srgbClr val="E6E7E7"/>
          </a:solidFill>
        </p:spPr>
        <p:txBody>
          <a:bodyPr anchor="ctr">
            <a:noAutofit/>
          </a:bodyPr>
          <a:lstStyle>
            <a:lvl1pPr algn="ctr">
              <a:lnSpc>
                <a:spcPts val="2309"/>
              </a:lnSpc>
              <a:spcBef>
                <a:spcPts val="0"/>
              </a:spcBef>
              <a:spcAft>
                <a:spcPts val="0"/>
              </a:spcAft>
              <a:defRPr sz="1979" b="0"/>
            </a:lvl1pPr>
            <a:lvl2pPr>
              <a:lnSpc>
                <a:spcPct val="100000"/>
              </a:lnSpc>
              <a:defRPr sz="2309"/>
            </a:lvl2pPr>
            <a:lvl3pPr>
              <a:lnSpc>
                <a:spcPct val="100000"/>
              </a:lnSpc>
              <a:defRPr sz="2309"/>
            </a:lvl3pPr>
            <a:lvl4pPr>
              <a:lnSpc>
                <a:spcPct val="100000"/>
              </a:lnSpc>
              <a:defRPr sz="2309"/>
            </a:lvl4pPr>
            <a:lvl5pPr>
              <a:lnSpc>
                <a:spcPct val="100000"/>
              </a:lnSpc>
              <a:defRPr sz="1979"/>
            </a:lvl5pPr>
          </a:lstStyle>
          <a:p>
            <a:pPr lvl="0"/>
            <a:r>
              <a:rPr lang="en-US" dirty="0"/>
              <a:t>Click to insert text</a:t>
            </a:r>
          </a:p>
        </p:txBody>
      </p:sp>
      <p:sp>
        <p:nvSpPr>
          <p:cNvPr id="7" name="Text Placeholder 7">
            <a:extLst>
              <a:ext uri="{FF2B5EF4-FFF2-40B4-BE49-F238E27FC236}">
                <a16:creationId xmlns:a16="http://schemas.microsoft.com/office/drawing/2014/main" id="{4F46C3B3-FC7A-419F-A412-7AA44224C2F5}"/>
              </a:ext>
            </a:extLst>
          </p:cNvPr>
          <p:cNvSpPr>
            <a:spLocks noGrp="1"/>
          </p:cNvSpPr>
          <p:nvPr>
            <p:ph type="body" sz="quarter" idx="42" hasCustomPrompt="1"/>
          </p:nvPr>
        </p:nvSpPr>
        <p:spPr>
          <a:xfrm>
            <a:off x="15400616" y="9232431"/>
            <a:ext cx="3198854" cy="832626"/>
          </a:xfrm>
          <a:prstGeom prst="rect">
            <a:avLst/>
          </a:prstGeom>
          <a:solidFill>
            <a:srgbClr val="E6E7E7"/>
          </a:solidFill>
        </p:spPr>
        <p:txBody>
          <a:bodyPr anchor="ctr">
            <a:noAutofit/>
          </a:bodyPr>
          <a:lstStyle>
            <a:lvl1pPr algn="ctr">
              <a:lnSpc>
                <a:spcPts val="2309"/>
              </a:lnSpc>
              <a:spcBef>
                <a:spcPts val="0"/>
              </a:spcBef>
              <a:spcAft>
                <a:spcPts val="0"/>
              </a:spcAft>
              <a:defRPr sz="1979" b="0"/>
            </a:lvl1pPr>
            <a:lvl2pPr>
              <a:lnSpc>
                <a:spcPct val="100000"/>
              </a:lnSpc>
              <a:defRPr sz="2309"/>
            </a:lvl2pPr>
            <a:lvl3pPr>
              <a:lnSpc>
                <a:spcPct val="100000"/>
              </a:lnSpc>
              <a:defRPr sz="2309"/>
            </a:lvl3pPr>
            <a:lvl4pPr>
              <a:lnSpc>
                <a:spcPct val="100000"/>
              </a:lnSpc>
              <a:defRPr sz="2309"/>
            </a:lvl4pPr>
            <a:lvl5pPr>
              <a:lnSpc>
                <a:spcPct val="100000"/>
              </a:lnSpc>
              <a:defRPr sz="1979"/>
            </a:lvl5pPr>
          </a:lstStyle>
          <a:p>
            <a:pPr lvl="0"/>
            <a:r>
              <a:rPr lang="en-US" dirty="0"/>
              <a:t>Click to insert text</a:t>
            </a:r>
          </a:p>
        </p:txBody>
      </p:sp>
      <p:sp>
        <p:nvSpPr>
          <p:cNvPr id="8" name="Text Placeholder 7">
            <a:extLst>
              <a:ext uri="{FF2B5EF4-FFF2-40B4-BE49-F238E27FC236}">
                <a16:creationId xmlns:a16="http://schemas.microsoft.com/office/drawing/2014/main" id="{2F71688D-9C32-4F31-A8AB-B52249BB76BB}"/>
              </a:ext>
            </a:extLst>
          </p:cNvPr>
          <p:cNvSpPr>
            <a:spLocks noGrp="1"/>
          </p:cNvSpPr>
          <p:nvPr>
            <p:ph type="body" sz="quarter" idx="37" hasCustomPrompt="1"/>
          </p:nvPr>
        </p:nvSpPr>
        <p:spPr>
          <a:xfrm>
            <a:off x="6256816" y="2996567"/>
            <a:ext cx="2374764" cy="1903145"/>
          </a:xfrm>
          <a:prstGeom prst="rect">
            <a:avLst/>
          </a:prstGeom>
          <a:solidFill>
            <a:schemeClr val="accent2"/>
          </a:solidFill>
        </p:spPr>
        <p:txBody>
          <a:bodyPr rIns="0" anchor="ctr">
            <a:noAutofit/>
          </a:bodyPr>
          <a:lstStyle>
            <a:lvl1pPr algn="ctr">
              <a:lnSpc>
                <a:spcPts val="2968"/>
              </a:lnSpc>
              <a:spcBef>
                <a:spcPts val="0"/>
              </a:spcBef>
              <a:spcAft>
                <a:spcPts val="0"/>
              </a:spcAft>
              <a:defRPr sz="2638" b="0">
                <a:solidFill>
                  <a:schemeClr val="bg1"/>
                </a:solidFill>
              </a:defRPr>
            </a:lvl1pPr>
            <a:lvl2pPr>
              <a:lnSpc>
                <a:spcPct val="100000"/>
              </a:lnSpc>
              <a:defRPr sz="2309"/>
            </a:lvl2pPr>
            <a:lvl3pPr>
              <a:lnSpc>
                <a:spcPct val="100000"/>
              </a:lnSpc>
              <a:defRPr sz="2309"/>
            </a:lvl3pPr>
            <a:lvl4pPr>
              <a:lnSpc>
                <a:spcPct val="100000"/>
              </a:lnSpc>
              <a:defRPr sz="2309"/>
            </a:lvl4pPr>
            <a:lvl5pPr>
              <a:lnSpc>
                <a:spcPct val="100000"/>
              </a:lnSpc>
              <a:defRPr sz="1979"/>
            </a:lvl5pPr>
          </a:lstStyle>
          <a:p>
            <a:pPr lvl="0"/>
            <a:r>
              <a:rPr lang="en-US" dirty="0"/>
              <a:t>Insert Group Name</a:t>
            </a:r>
          </a:p>
        </p:txBody>
      </p:sp>
      <p:sp>
        <p:nvSpPr>
          <p:cNvPr id="9" name="Text Placeholder 7">
            <a:extLst>
              <a:ext uri="{FF2B5EF4-FFF2-40B4-BE49-F238E27FC236}">
                <a16:creationId xmlns:a16="http://schemas.microsoft.com/office/drawing/2014/main" id="{61E2B833-06BB-4D09-A227-FACCE09281E5}"/>
              </a:ext>
            </a:extLst>
          </p:cNvPr>
          <p:cNvSpPr>
            <a:spLocks noGrp="1"/>
          </p:cNvSpPr>
          <p:nvPr>
            <p:ph type="body" sz="quarter" idx="35" hasCustomPrompt="1"/>
          </p:nvPr>
        </p:nvSpPr>
        <p:spPr>
          <a:xfrm>
            <a:off x="10768867" y="5426305"/>
            <a:ext cx="2374764" cy="1903145"/>
          </a:xfrm>
          <a:prstGeom prst="rect">
            <a:avLst/>
          </a:prstGeom>
          <a:solidFill>
            <a:schemeClr val="accent1"/>
          </a:solidFill>
        </p:spPr>
        <p:txBody>
          <a:bodyPr rIns="0" anchor="ctr">
            <a:noAutofit/>
          </a:bodyPr>
          <a:lstStyle>
            <a:lvl1pPr algn="ctr">
              <a:lnSpc>
                <a:spcPts val="2968"/>
              </a:lnSpc>
              <a:spcBef>
                <a:spcPts val="0"/>
              </a:spcBef>
              <a:spcAft>
                <a:spcPts val="0"/>
              </a:spcAft>
              <a:defRPr sz="2638" b="0">
                <a:solidFill>
                  <a:schemeClr val="bg1"/>
                </a:solidFill>
              </a:defRPr>
            </a:lvl1pPr>
            <a:lvl2pPr>
              <a:lnSpc>
                <a:spcPct val="100000"/>
              </a:lnSpc>
              <a:defRPr sz="2309"/>
            </a:lvl2pPr>
            <a:lvl3pPr>
              <a:lnSpc>
                <a:spcPct val="100000"/>
              </a:lnSpc>
              <a:defRPr sz="2309"/>
            </a:lvl3pPr>
            <a:lvl4pPr>
              <a:lnSpc>
                <a:spcPct val="100000"/>
              </a:lnSpc>
              <a:defRPr sz="2309"/>
            </a:lvl4pPr>
            <a:lvl5pPr>
              <a:lnSpc>
                <a:spcPct val="100000"/>
              </a:lnSpc>
              <a:defRPr sz="1979"/>
            </a:lvl5pPr>
          </a:lstStyle>
          <a:p>
            <a:pPr lvl="0"/>
            <a:r>
              <a:rPr lang="en-US" dirty="0"/>
              <a:t>Insert Group Name</a:t>
            </a:r>
          </a:p>
        </p:txBody>
      </p:sp>
      <p:sp>
        <p:nvSpPr>
          <p:cNvPr id="10" name="Rectangle 9">
            <a:extLst>
              <a:ext uri="{FF2B5EF4-FFF2-40B4-BE49-F238E27FC236}">
                <a16:creationId xmlns:a16="http://schemas.microsoft.com/office/drawing/2014/main" id="{1AAD4E89-6EDF-4A70-BBEF-BB42FE5BED46}"/>
              </a:ext>
            </a:extLst>
          </p:cNvPr>
          <p:cNvSpPr/>
          <p:nvPr userDrawn="1"/>
        </p:nvSpPr>
        <p:spPr>
          <a:xfrm>
            <a:off x="6161538" y="2928429"/>
            <a:ext cx="8264756" cy="2031953"/>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09" kern="0" dirty="0">
              <a:solidFill>
                <a:srgbClr val="FFFFFF"/>
              </a:solidFill>
              <a:sym typeface="Arial"/>
            </a:endParaRPr>
          </a:p>
        </p:txBody>
      </p:sp>
      <p:sp>
        <p:nvSpPr>
          <p:cNvPr id="11" name="Rectangle 10">
            <a:extLst>
              <a:ext uri="{FF2B5EF4-FFF2-40B4-BE49-F238E27FC236}">
                <a16:creationId xmlns:a16="http://schemas.microsoft.com/office/drawing/2014/main" id="{DE4DDCFC-0FAD-48A9-A73F-EDC6A14D2002}"/>
              </a:ext>
            </a:extLst>
          </p:cNvPr>
          <p:cNvSpPr/>
          <p:nvPr userDrawn="1"/>
        </p:nvSpPr>
        <p:spPr>
          <a:xfrm>
            <a:off x="10692659" y="5360755"/>
            <a:ext cx="8264756" cy="2031953"/>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09" kern="0" dirty="0">
              <a:solidFill>
                <a:srgbClr val="FFFFFF"/>
              </a:solidFill>
              <a:sym typeface="Arial"/>
            </a:endParaRPr>
          </a:p>
        </p:txBody>
      </p:sp>
      <p:sp>
        <p:nvSpPr>
          <p:cNvPr id="12" name="Rectangle 11">
            <a:extLst>
              <a:ext uri="{FF2B5EF4-FFF2-40B4-BE49-F238E27FC236}">
                <a16:creationId xmlns:a16="http://schemas.microsoft.com/office/drawing/2014/main" id="{D18781D0-052D-40B3-BC35-26A8603210C0}"/>
              </a:ext>
            </a:extLst>
          </p:cNvPr>
          <p:cNvSpPr/>
          <p:nvPr userDrawn="1"/>
        </p:nvSpPr>
        <p:spPr>
          <a:xfrm>
            <a:off x="1626640" y="5360755"/>
            <a:ext cx="8264756" cy="2031953"/>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09" kern="0" dirty="0">
              <a:solidFill>
                <a:srgbClr val="FFFFFF"/>
              </a:solidFill>
              <a:sym typeface="Arial"/>
            </a:endParaRPr>
          </a:p>
        </p:txBody>
      </p:sp>
      <p:sp>
        <p:nvSpPr>
          <p:cNvPr id="13" name="TextBox 16">
            <a:extLst>
              <a:ext uri="{FF2B5EF4-FFF2-40B4-BE49-F238E27FC236}">
                <a16:creationId xmlns:a16="http://schemas.microsoft.com/office/drawing/2014/main" id="{A22DE654-2EAB-481D-AC62-C125C8223E4E}"/>
              </a:ext>
            </a:extLst>
          </p:cNvPr>
          <p:cNvSpPr txBox="1"/>
          <p:nvPr userDrawn="1"/>
        </p:nvSpPr>
        <p:spPr>
          <a:xfrm>
            <a:off x="1698460" y="5893750"/>
            <a:ext cx="2044296" cy="782394"/>
          </a:xfrm>
          <a:prstGeom prst="rect">
            <a:avLst/>
          </a:prstGeom>
          <a:noFill/>
        </p:spPr>
        <p:txBody>
          <a:bodyPr wrap="square" rtlCol="0">
            <a:spAutoFit/>
          </a:bodyPr>
          <a:lstStyle/>
          <a:p>
            <a:pPr algn="r">
              <a:lnSpc>
                <a:spcPct val="85000"/>
              </a:lnSpc>
            </a:pPr>
            <a:r>
              <a:rPr lang="en-US" sz="2638" b="1" kern="0" dirty="0">
                <a:solidFill>
                  <a:schemeClr val="bg1"/>
                </a:solidFill>
                <a:latin typeface="+mj-lt"/>
                <a:ea typeface="Georgia" charset="0"/>
                <a:cs typeface="Georgia" charset="0"/>
                <a:sym typeface="Arial"/>
              </a:rPr>
              <a:t>Group Name</a:t>
            </a:r>
          </a:p>
        </p:txBody>
      </p:sp>
      <p:cxnSp>
        <p:nvCxnSpPr>
          <p:cNvPr id="14" name="Straight Connector 18">
            <a:extLst>
              <a:ext uri="{FF2B5EF4-FFF2-40B4-BE49-F238E27FC236}">
                <a16:creationId xmlns:a16="http://schemas.microsoft.com/office/drawing/2014/main" id="{03F96919-C38F-4D19-9534-87F8E2553C0D}"/>
              </a:ext>
            </a:extLst>
          </p:cNvPr>
          <p:cNvCxnSpPr>
            <a:cxnSpLocks/>
          </p:cNvCxnSpPr>
          <p:nvPr userDrawn="1"/>
        </p:nvCxnSpPr>
        <p:spPr>
          <a:xfrm>
            <a:off x="7444198" y="4981987"/>
            <a:ext cx="0" cy="35684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5" name="Straight Connector 19">
            <a:extLst>
              <a:ext uri="{FF2B5EF4-FFF2-40B4-BE49-F238E27FC236}">
                <a16:creationId xmlns:a16="http://schemas.microsoft.com/office/drawing/2014/main" id="{C913D4B3-E1C4-4923-B061-1747A7034EC8}"/>
              </a:ext>
            </a:extLst>
          </p:cNvPr>
          <p:cNvCxnSpPr>
            <a:cxnSpLocks/>
          </p:cNvCxnSpPr>
          <p:nvPr userDrawn="1"/>
        </p:nvCxnSpPr>
        <p:spPr>
          <a:xfrm>
            <a:off x="11956249" y="4981987"/>
            <a:ext cx="0" cy="35684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6" name="Straight Connector 20">
            <a:extLst>
              <a:ext uri="{FF2B5EF4-FFF2-40B4-BE49-F238E27FC236}">
                <a16:creationId xmlns:a16="http://schemas.microsoft.com/office/drawing/2014/main" id="{6A86BAFE-E7F7-43EC-A56E-2E16522B7B1D}"/>
              </a:ext>
            </a:extLst>
          </p:cNvPr>
          <p:cNvCxnSpPr>
            <a:cxnSpLocks/>
          </p:cNvCxnSpPr>
          <p:nvPr userDrawn="1"/>
        </p:nvCxnSpPr>
        <p:spPr>
          <a:xfrm>
            <a:off x="9937700" y="6376731"/>
            <a:ext cx="712429"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7" name="Straight Connector 21">
            <a:extLst>
              <a:ext uri="{FF2B5EF4-FFF2-40B4-BE49-F238E27FC236}">
                <a16:creationId xmlns:a16="http://schemas.microsoft.com/office/drawing/2014/main" id="{01037AFB-4A9C-44BC-A8D6-388F08B08F95}"/>
              </a:ext>
            </a:extLst>
          </p:cNvPr>
          <p:cNvCxnSpPr>
            <a:cxnSpLocks/>
          </p:cNvCxnSpPr>
          <p:nvPr userDrawn="1"/>
        </p:nvCxnSpPr>
        <p:spPr>
          <a:xfrm>
            <a:off x="4713219" y="7448396"/>
            <a:ext cx="0" cy="832626"/>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18" name="Straight Connector 27">
            <a:extLst>
              <a:ext uri="{FF2B5EF4-FFF2-40B4-BE49-F238E27FC236}">
                <a16:creationId xmlns:a16="http://schemas.microsoft.com/office/drawing/2014/main" id="{417B504E-09A8-4617-83C4-405FEEE279A2}"/>
              </a:ext>
            </a:extLst>
          </p:cNvPr>
          <p:cNvCxnSpPr>
            <a:cxnSpLocks/>
          </p:cNvCxnSpPr>
          <p:nvPr userDrawn="1"/>
        </p:nvCxnSpPr>
        <p:spPr>
          <a:xfrm>
            <a:off x="2900734" y="8396034"/>
            <a:ext cx="14161257" cy="0"/>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19" name="Straight Connector 28">
            <a:extLst>
              <a:ext uri="{FF2B5EF4-FFF2-40B4-BE49-F238E27FC236}">
                <a16:creationId xmlns:a16="http://schemas.microsoft.com/office/drawing/2014/main" id="{0D79BD2B-E655-4613-ABE1-A5309841EE4C}"/>
              </a:ext>
            </a:extLst>
          </p:cNvPr>
          <p:cNvCxnSpPr>
            <a:cxnSpLocks/>
          </p:cNvCxnSpPr>
          <p:nvPr userDrawn="1"/>
        </p:nvCxnSpPr>
        <p:spPr>
          <a:xfrm>
            <a:off x="2932453" y="8399806"/>
            <a:ext cx="0" cy="713843"/>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0" name="Straight Connector 29">
            <a:extLst>
              <a:ext uri="{FF2B5EF4-FFF2-40B4-BE49-F238E27FC236}">
                <a16:creationId xmlns:a16="http://schemas.microsoft.com/office/drawing/2014/main" id="{819C2236-70D5-4D77-A0B5-DC54E24F4214}"/>
              </a:ext>
            </a:extLst>
          </p:cNvPr>
          <p:cNvCxnSpPr>
            <a:cxnSpLocks/>
          </p:cNvCxnSpPr>
          <p:nvPr userDrawn="1"/>
        </p:nvCxnSpPr>
        <p:spPr>
          <a:xfrm>
            <a:off x="6449231" y="8399970"/>
            <a:ext cx="0" cy="713843"/>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1" name="Straight Connector 30">
            <a:extLst>
              <a:ext uri="{FF2B5EF4-FFF2-40B4-BE49-F238E27FC236}">
                <a16:creationId xmlns:a16="http://schemas.microsoft.com/office/drawing/2014/main" id="{6FCC22BF-B0B7-4584-AC77-5BD1C2F56495}"/>
              </a:ext>
            </a:extLst>
          </p:cNvPr>
          <p:cNvCxnSpPr>
            <a:cxnSpLocks/>
          </p:cNvCxnSpPr>
          <p:nvPr userDrawn="1"/>
        </p:nvCxnSpPr>
        <p:spPr>
          <a:xfrm>
            <a:off x="9966009" y="8399970"/>
            <a:ext cx="0" cy="713843"/>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2" name="Straight Connector 31">
            <a:extLst>
              <a:ext uri="{FF2B5EF4-FFF2-40B4-BE49-F238E27FC236}">
                <a16:creationId xmlns:a16="http://schemas.microsoft.com/office/drawing/2014/main" id="{A5B92A7E-D290-43BE-B101-30F03CF2FDFA}"/>
              </a:ext>
            </a:extLst>
          </p:cNvPr>
          <p:cNvCxnSpPr>
            <a:cxnSpLocks/>
          </p:cNvCxnSpPr>
          <p:nvPr userDrawn="1"/>
        </p:nvCxnSpPr>
        <p:spPr>
          <a:xfrm>
            <a:off x="13482787" y="8399970"/>
            <a:ext cx="0" cy="713843"/>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cxnSp>
        <p:nvCxnSpPr>
          <p:cNvPr id="23" name="Straight Connector 32">
            <a:extLst>
              <a:ext uri="{FF2B5EF4-FFF2-40B4-BE49-F238E27FC236}">
                <a16:creationId xmlns:a16="http://schemas.microsoft.com/office/drawing/2014/main" id="{ED430A27-E68E-4449-B824-1E940DA626B3}"/>
              </a:ext>
            </a:extLst>
          </p:cNvPr>
          <p:cNvCxnSpPr>
            <a:cxnSpLocks/>
          </p:cNvCxnSpPr>
          <p:nvPr userDrawn="1"/>
        </p:nvCxnSpPr>
        <p:spPr>
          <a:xfrm>
            <a:off x="17027050" y="8384236"/>
            <a:ext cx="0" cy="713843"/>
          </a:xfrm>
          <a:prstGeom prst="line">
            <a:avLst/>
          </a:prstGeom>
          <a:ln w="38100">
            <a:solidFill>
              <a:srgbClr val="12ABDB"/>
            </a:solidFill>
          </a:ln>
        </p:spPr>
        <p:style>
          <a:lnRef idx="1">
            <a:schemeClr val="accent1"/>
          </a:lnRef>
          <a:fillRef idx="0">
            <a:schemeClr val="accent1"/>
          </a:fillRef>
          <a:effectRef idx="0">
            <a:schemeClr val="accent1"/>
          </a:effectRef>
          <a:fontRef idx="minor">
            <a:schemeClr val="tx1"/>
          </a:fontRef>
        </p:style>
      </p:cxnSp>
      <p:sp>
        <p:nvSpPr>
          <p:cNvPr id="24" name="Text Placeholder 7">
            <a:extLst>
              <a:ext uri="{FF2B5EF4-FFF2-40B4-BE49-F238E27FC236}">
                <a16:creationId xmlns:a16="http://schemas.microsoft.com/office/drawing/2014/main" id="{B38E983C-FDA7-4D08-B09F-02AAEB6D7E5E}"/>
              </a:ext>
            </a:extLst>
          </p:cNvPr>
          <p:cNvSpPr>
            <a:spLocks noGrp="1"/>
          </p:cNvSpPr>
          <p:nvPr>
            <p:ph type="body" sz="quarter" idx="32" hasCustomPrompt="1"/>
          </p:nvPr>
        </p:nvSpPr>
        <p:spPr>
          <a:xfrm>
            <a:off x="8746377" y="3217406"/>
            <a:ext cx="5465898" cy="1454000"/>
          </a:xfrm>
          <a:prstGeom prst="rect">
            <a:avLst/>
          </a:prstGeom>
        </p:spPr>
        <p:txBody>
          <a:bodyPr>
            <a:noAutofit/>
          </a:bodyPr>
          <a:lstStyle>
            <a:lvl1pPr>
              <a:lnSpc>
                <a:spcPts val="2309"/>
              </a:lnSpc>
              <a:spcBef>
                <a:spcPts val="0"/>
              </a:spcBef>
              <a:spcAft>
                <a:spcPts val="0"/>
              </a:spcAft>
              <a:defRPr sz="1979"/>
            </a:lvl1pPr>
            <a:lvl2pPr>
              <a:lnSpc>
                <a:spcPct val="100000"/>
              </a:lnSpc>
              <a:defRPr sz="2309"/>
            </a:lvl2pPr>
            <a:lvl3pPr>
              <a:lnSpc>
                <a:spcPct val="100000"/>
              </a:lnSpc>
              <a:defRPr sz="2309"/>
            </a:lvl3pPr>
            <a:lvl4pPr>
              <a:lnSpc>
                <a:spcPct val="100000"/>
              </a:lnSpc>
              <a:defRPr sz="2309"/>
            </a:lvl4pPr>
            <a:lvl5pPr>
              <a:lnSpc>
                <a:spcPct val="100000"/>
              </a:lnSpc>
              <a:defRPr sz="1979"/>
            </a:lvl5pPr>
          </a:lstStyle>
          <a:p>
            <a:pPr lvl="0"/>
            <a:r>
              <a:rPr lang="en-US" dirty="0"/>
              <a:t>Click to insert text</a:t>
            </a:r>
          </a:p>
        </p:txBody>
      </p:sp>
      <p:sp>
        <p:nvSpPr>
          <p:cNvPr id="25" name="Text Placeholder 7">
            <a:extLst>
              <a:ext uri="{FF2B5EF4-FFF2-40B4-BE49-F238E27FC236}">
                <a16:creationId xmlns:a16="http://schemas.microsoft.com/office/drawing/2014/main" id="{C71E674F-BDEA-4196-90AD-426564B04521}"/>
              </a:ext>
            </a:extLst>
          </p:cNvPr>
          <p:cNvSpPr>
            <a:spLocks noGrp="1"/>
          </p:cNvSpPr>
          <p:nvPr>
            <p:ph type="body" sz="quarter" idx="33" hasCustomPrompt="1"/>
          </p:nvPr>
        </p:nvSpPr>
        <p:spPr>
          <a:xfrm>
            <a:off x="4185912" y="5649731"/>
            <a:ext cx="5465898" cy="1454000"/>
          </a:xfrm>
          <a:prstGeom prst="rect">
            <a:avLst/>
          </a:prstGeom>
        </p:spPr>
        <p:txBody>
          <a:bodyPr>
            <a:noAutofit/>
          </a:bodyPr>
          <a:lstStyle>
            <a:lvl1pPr>
              <a:lnSpc>
                <a:spcPts val="2309"/>
              </a:lnSpc>
              <a:spcBef>
                <a:spcPts val="0"/>
              </a:spcBef>
              <a:spcAft>
                <a:spcPts val="0"/>
              </a:spcAft>
              <a:defRPr sz="1979"/>
            </a:lvl1pPr>
            <a:lvl2pPr>
              <a:lnSpc>
                <a:spcPct val="100000"/>
              </a:lnSpc>
              <a:defRPr sz="2309"/>
            </a:lvl2pPr>
            <a:lvl3pPr>
              <a:lnSpc>
                <a:spcPct val="100000"/>
              </a:lnSpc>
              <a:defRPr sz="2309"/>
            </a:lvl3pPr>
            <a:lvl4pPr>
              <a:lnSpc>
                <a:spcPct val="100000"/>
              </a:lnSpc>
              <a:defRPr sz="2309"/>
            </a:lvl4pPr>
            <a:lvl5pPr>
              <a:lnSpc>
                <a:spcPct val="100000"/>
              </a:lnSpc>
              <a:defRPr sz="1979"/>
            </a:lvl5pPr>
          </a:lstStyle>
          <a:p>
            <a:pPr lvl="0"/>
            <a:r>
              <a:rPr lang="en-US" dirty="0"/>
              <a:t>Click to insert text</a:t>
            </a:r>
          </a:p>
        </p:txBody>
      </p:sp>
      <p:sp>
        <p:nvSpPr>
          <p:cNvPr id="26" name="Text Placeholder 7">
            <a:extLst>
              <a:ext uri="{FF2B5EF4-FFF2-40B4-BE49-F238E27FC236}">
                <a16:creationId xmlns:a16="http://schemas.microsoft.com/office/drawing/2014/main" id="{C2EE0D59-678E-44D0-8754-5A7E6662D503}"/>
              </a:ext>
            </a:extLst>
          </p:cNvPr>
          <p:cNvSpPr>
            <a:spLocks noGrp="1"/>
          </p:cNvSpPr>
          <p:nvPr>
            <p:ph type="body" sz="quarter" idx="34" hasCustomPrompt="1"/>
          </p:nvPr>
        </p:nvSpPr>
        <p:spPr>
          <a:xfrm>
            <a:off x="13263065" y="5649731"/>
            <a:ext cx="5465898" cy="1454000"/>
          </a:xfrm>
          <a:prstGeom prst="rect">
            <a:avLst/>
          </a:prstGeom>
        </p:spPr>
        <p:txBody>
          <a:bodyPr>
            <a:noAutofit/>
          </a:bodyPr>
          <a:lstStyle>
            <a:lvl1pPr>
              <a:lnSpc>
                <a:spcPts val="2309"/>
              </a:lnSpc>
              <a:spcBef>
                <a:spcPts val="0"/>
              </a:spcBef>
              <a:spcAft>
                <a:spcPts val="0"/>
              </a:spcAft>
              <a:defRPr sz="1979"/>
            </a:lvl1pPr>
            <a:lvl2pPr>
              <a:lnSpc>
                <a:spcPct val="100000"/>
              </a:lnSpc>
              <a:defRPr sz="2309"/>
            </a:lvl2pPr>
            <a:lvl3pPr>
              <a:lnSpc>
                <a:spcPct val="100000"/>
              </a:lnSpc>
              <a:defRPr sz="2309"/>
            </a:lvl3pPr>
            <a:lvl4pPr>
              <a:lnSpc>
                <a:spcPct val="100000"/>
              </a:lnSpc>
              <a:defRPr sz="2309"/>
            </a:lvl4pPr>
            <a:lvl5pPr>
              <a:lnSpc>
                <a:spcPct val="100000"/>
              </a:lnSpc>
              <a:defRPr sz="1979"/>
            </a:lvl5pPr>
          </a:lstStyle>
          <a:p>
            <a:pPr lvl="0"/>
            <a:r>
              <a:rPr lang="en-US" dirty="0"/>
              <a:t>Click to insert text</a:t>
            </a:r>
          </a:p>
        </p:txBody>
      </p:sp>
      <p:sp>
        <p:nvSpPr>
          <p:cNvPr id="27" name="Text Placeholder 7">
            <a:extLst>
              <a:ext uri="{FF2B5EF4-FFF2-40B4-BE49-F238E27FC236}">
                <a16:creationId xmlns:a16="http://schemas.microsoft.com/office/drawing/2014/main" id="{0BA6AC28-95EF-47B5-9BC8-E814708DAAFA}"/>
              </a:ext>
            </a:extLst>
          </p:cNvPr>
          <p:cNvSpPr>
            <a:spLocks noGrp="1"/>
          </p:cNvSpPr>
          <p:nvPr>
            <p:ph type="body" sz="quarter" idx="36" hasCustomPrompt="1"/>
          </p:nvPr>
        </p:nvSpPr>
        <p:spPr>
          <a:xfrm>
            <a:off x="1694700" y="5424830"/>
            <a:ext cx="2374764" cy="1903145"/>
          </a:xfrm>
          <a:prstGeom prst="rect">
            <a:avLst/>
          </a:prstGeom>
          <a:solidFill>
            <a:schemeClr val="accent1"/>
          </a:solidFill>
        </p:spPr>
        <p:txBody>
          <a:bodyPr rIns="0" anchor="ctr">
            <a:noAutofit/>
          </a:bodyPr>
          <a:lstStyle>
            <a:lvl1pPr algn="ctr">
              <a:lnSpc>
                <a:spcPts val="2968"/>
              </a:lnSpc>
              <a:spcBef>
                <a:spcPts val="0"/>
              </a:spcBef>
              <a:spcAft>
                <a:spcPts val="0"/>
              </a:spcAft>
              <a:defRPr sz="2638" b="0">
                <a:solidFill>
                  <a:schemeClr val="bg1"/>
                </a:solidFill>
              </a:defRPr>
            </a:lvl1pPr>
            <a:lvl2pPr>
              <a:lnSpc>
                <a:spcPct val="100000"/>
              </a:lnSpc>
              <a:defRPr sz="2309"/>
            </a:lvl2pPr>
            <a:lvl3pPr>
              <a:lnSpc>
                <a:spcPct val="100000"/>
              </a:lnSpc>
              <a:defRPr sz="2309"/>
            </a:lvl3pPr>
            <a:lvl4pPr>
              <a:lnSpc>
                <a:spcPct val="100000"/>
              </a:lnSpc>
              <a:defRPr sz="2309"/>
            </a:lvl4pPr>
            <a:lvl5pPr>
              <a:lnSpc>
                <a:spcPct val="100000"/>
              </a:lnSpc>
              <a:defRPr sz="1979"/>
            </a:lvl5pPr>
          </a:lstStyle>
          <a:p>
            <a:pPr lvl="0"/>
            <a:r>
              <a:rPr lang="en-US" dirty="0"/>
              <a:t>Insert Group Name</a:t>
            </a:r>
          </a:p>
        </p:txBody>
      </p:sp>
    </p:spTree>
    <p:extLst>
      <p:ext uri="{BB962C8B-B14F-4D97-AF65-F5344CB8AC3E}">
        <p14:creationId xmlns:p14="http://schemas.microsoft.com/office/powerpoint/2010/main" val="301230941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ext with shape 6">
    <p:spTree>
      <p:nvGrpSpPr>
        <p:cNvPr id="1" name=""/>
        <p:cNvGrpSpPr/>
        <p:nvPr/>
      </p:nvGrpSpPr>
      <p:grpSpPr>
        <a:xfrm>
          <a:off x="0" y="0"/>
          <a:ext cx="0" cy="0"/>
          <a:chOff x="0" y="0"/>
          <a:chExt cx="0" cy="0"/>
        </a:xfrm>
      </p:grpSpPr>
      <p:sp>
        <p:nvSpPr>
          <p:cNvPr id="9" name="Freeform 10">
            <a:extLst>
              <a:ext uri="{FF2B5EF4-FFF2-40B4-BE49-F238E27FC236}">
                <a16:creationId xmlns:a16="http://schemas.microsoft.com/office/drawing/2014/main" id="{864CE6E5-A4BC-441C-AA47-9924021C2BBA}"/>
              </a:ext>
            </a:extLst>
          </p:cNvPr>
          <p:cNvSpPr>
            <a:spLocks/>
          </p:cNvSpPr>
          <p:nvPr userDrawn="1"/>
        </p:nvSpPr>
        <p:spPr bwMode="auto">
          <a:xfrm>
            <a:off x="0" y="0"/>
            <a:ext cx="6910784" cy="11231846"/>
          </a:xfrm>
          <a:custGeom>
            <a:avLst/>
            <a:gdLst>
              <a:gd name="T0" fmla="*/ 0 w 532"/>
              <a:gd name="T1" fmla="*/ 0 h 861"/>
              <a:gd name="T2" fmla="*/ 0 w 532"/>
              <a:gd name="T3" fmla="*/ 727 h 861"/>
              <a:gd name="T4" fmla="*/ 532 w 532"/>
              <a:gd name="T5" fmla="*/ 616 h 861"/>
              <a:gd name="T6" fmla="*/ 532 w 532"/>
              <a:gd name="T7" fmla="*/ 0 h 861"/>
              <a:gd name="T8" fmla="*/ 0 w 532"/>
              <a:gd name="T9" fmla="*/ 0 h 861"/>
            </a:gdLst>
            <a:ahLst/>
            <a:cxnLst>
              <a:cxn ang="0">
                <a:pos x="T0" y="T1"/>
              </a:cxn>
              <a:cxn ang="0">
                <a:pos x="T2" y="T3"/>
              </a:cxn>
              <a:cxn ang="0">
                <a:pos x="T4" y="T5"/>
              </a:cxn>
              <a:cxn ang="0">
                <a:pos x="T6" y="T7"/>
              </a:cxn>
              <a:cxn ang="0">
                <a:pos x="T8" y="T9"/>
              </a:cxn>
            </a:cxnLst>
            <a:rect l="0" t="0" r="r" b="b"/>
            <a:pathLst>
              <a:path w="532" h="861">
                <a:moveTo>
                  <a:pt x="0" y="0"/>
                </a:moveTo>
                <a:cubicBezTo>
                  <a:pt x="0" y="727"/>
                  <a:pt x="0" y="727"/>
                  <a:pt x="0" y="727"/>
                </a:cubicBezTo>
                <a:cubicBezTo>
                  <a:pt x="63" y="743"/>
                  <a:pt x="532" y="861"/>
                  <a:pt x="532" y="616"/>
                </a:cubicBezTo>
                <a:cubicBezTo>
                  <a:pt x="532" y="0"/>
                  <a:pt x="532" y="0"/>
                  <a:pt x="532" y="0"/>
                </a:cubicBez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0781" tIns="75390" rIns="150781" bIns="75390" numCol="1" anchor="t" anchorCtr="0" compatLnSpc="1">
            <a:prstTxWarp prst="textNoShape">
              <a:avLst/>
            </a:prstTxWarp>
          </a:bodyPr>
          <a:lstStyle/>
          <a:p>
            <a:endParaRPr lang="en-US" dirty="0"/>
          </a:p>
        </p:txBody>
      </p:sp>
      <p:graphicFrame>
        <p:nvGraphicFramePr>
          <p:cNvPr id="5" name="Object 4" hidden="1"/>
          <p:cNvGraphicFramePr>
            <a:graphicFrameLocks noChangeAspect="1"/>
          </p:cNvGraphicFramePr>
          <p:nvPr>
            <p:custDataLst>
              <p:tags r:id="rId1"/>
            </p:custDataLst>
          </p:nvPr>
        </p:nvGraphicFramePr>
        <p:xfrm>
          <a:off x="2618" y="2624"/>
          <a:ext cx="2617" cy="2621"/>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18" y="2624"/>
                        <a:ext cx="2617" cy="262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49">
            <a:extLst>
              <a:ext uri="{FF2B5EF4-FFF2-40B4-BE49-F238E27FC236}">
                <a16:creationId xmlns:a16="http://schemas.microsoft.com/office/drawing/2014/main" id="{A9693E6A-90D9-4C93-BF94-8E82C4BE65F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272121" y="2381660"/>
            <a:ext cx="4900374" cy="8277796"/>
          </a:xfrm>
          <a:prstGeom prst="rect">
            <a:avLst/>
          </a:prstGeom>
        </p:spPr>
      </p:pic>
      <p:sp>
        <p:nvSpPr>
          <p:cNvPr id="7" name="Text Placeholder 7">
            <a:extLst>
              <a:ext uri="{FF2B5EF4-FFF2-40B4-BE49-F238E27FC236}">
                <a16:creationId xmlns:a16="http://schemas.microsoft.com/office/drawing/2014/main" id="{66EFA0DE-0814-4F2F-957C-1DADE549A27B}"/>
              </a:ext>
            </a:extLst>
          </p:cNvPr>
          <p:cNvSpPr>
            <a:spLocks noGrp="1"/>
          </p:cNvSpPr>
          <p:nvPr>
            <p:ph type="body" sz="quarter" idx="32" hasCustomPrompt="1"/>
          </p:nvPr>
        </p:nvSpPr>
        <p:spPr>
          <a:xfrm>
            <a:off x="674154" y="2283077"/>
            <a:ext cx="5562477" cy="405945"/>
          </a:xfrm>
          <a:prstGeom prst="rect">
            <a:avLst/>
          </a:prstGeom>
        </p:spPr>
        <p:txBody>
          <a:bodyPr anchor="t" anchorCtr="0">
            <a:spAutoFit/>
          </a:bodyPr>
          <a:lstStyle>
            <a:lvl1pPr marL="0" marR="0" indent="0" algn="l" defTabSz="1507846" rtl="0" eaLnBrk="1" fontAlgn="auto" latinLnBrk="0" hangingPunct="1">
              <a:lnSpc>
                <a:spcPct val="100000"/>
              </a:lnSpc>
              <a:spcBef>
                <a:spcPts val="1649"/>
              </a:spcBef>
              <a:spcAft>
                <a:spcPts val="0"/>
              </a:spcAft>
              <a:buClrTx/>
              <a:buSzTx/>
              <a:buFont typeface="Arial" panose="020B0604020202020204" pitchFamily="34" charset="0"/>
              <a:buNone/>
              <a:tabLst/>
              <a:defRPr sz="2638" b="1">
                <a:solidFill>
                  <a:schemeClr val="bg1"/>
                </a:solidFill>
              </a:defRPr>
            </a:lvl1pPr>
            <a:lvl2pPr>
              <a:lnSpc>
                <a:spcPct val="100000"/>
              </a:lnSpc>
              <a:defRPr sz="2309"/>
            </a:lvl2pPr>
            <a:lvl3pPr>
              <a:lnSpc>
                <a:spcPct val="100000"/>
              </a:lnSpc>
              <a:defRPr sz="2309"/>
            </a:lvl3pPr>
            <a:lvl4pPr>
              <a:lnSpc>
                <a:spcPct val="100000"/>
              </a:lnSpc>
              <a:defRPr sz="2309"/>
            </a:lvl4pPr>
            <a:lvl5pPr>
              <a:lnSpc>
                <a:spcPct val="100000"/>
              </a:lnSpc>
              <a:defRPr sz="1979"/>
            </a:lvl5pPr>
          </a:lstStyle>
          <a:p>
            <a:pPr marL="0" marR="0" lvl="0" indent="0" algn="l" defTabSz="1507846" rtl="0" eaLnBrk="1" fontAlgn="auto" latinLnBrk="0" hangingPunct="1">
              <a:lnSpc>
                <a:spcPct val="100000"/>
              </a:lnSpc>
              <a:spcBef>
                <a:spcPts val="1649"/>
              </a:spcBef>
              <a:spcAft>
                <a:spcPts val="0"/>
              </a:spcAft>
              <a:buClrTx/>
              <a:buSzTx/>
              <a:buFont typeface="Arial" panose="020B0604020202020204" pitchFamily="34" charset="0"/>
              <a:buNone/>
              <a:tabLst/>
              <a:defRPr/>
            </a:pPr>
            <a:r>
              <a:rPr lang="en-US" dirty="0"/>
              <a:t>Click to insert text</a:t>
            </a:r>
          </a:p>
        </p:txBody>
      </p:sp>
      <p:sp>
        <p:nvSpPr>
          <p:cNvPr id="8" name="Text Placeholder 7">
            <a:extLst>
              <a:ext uri="{FF2B5EF4-FFF2-40B4-BE49-F238E27FC236}">
                <a16:creationId xmlns:a16="http://schemas.microsoft.com/office/drawing/2014/main" id="{3B51C64A-1536-4556-9BD8-D4EDFB6DA4AB}"/>
              </a:ext>
            </a:extLst>
          </p:cNvPr>
          <p:cNvSpPr>
            <a:spLocks noGrp="1"/>
          </p:cNvSpPr>
          <p:nvPr>
            <p:ph type="body" sz="quarter" idx="33" hasCustomPrompt="1"/>
          </p:nvPr>
        </p:nvSpPr>
        <p:spPr>
          <a:xfrm>
            <a:off x="674154" y="3122217"/>
            <a:ext cx="3429373" cy="355354"/>
          </a:xfrm>
          <a:prstGeom prst="rect">
            <a:avLst/>
          </a:prstGeom>
        </p:spPr>
        <p:txBody>
          <a:bodyPr wrap="square" anchor="t" anchorCtr="0">
            <a:spAutoFit/>
          </a:bodyPr>
          <a:lstStyle>
            <a:lvl1pPr marL="0" marR="0" indent="0" algn="l" defTabSz="1507846" rtl="0" eaLnBrk="1" fontAlgn="auto" latinLnBrk="0" hangingPunct="1">
              <a:lnSpc>
                <a:spcPct val="100000"/>
              </a:lnSpc>
              <a:spcBef>
                <a:spcPts val="1649"/>
              </a:spcBef>
              <a:spcAft>
                <a:spcPts val="0"/>
              </a:spcAft>
              <a:buClrTx/>
              <a:buSzTx/>
              <a:buFont typeface="Arial" panose="020B0604020202020204" pitchFamily="34" charset="0"/>
              <a:buNone/>
              <a:tabLst/>
              <a:defRPr sz="2309" b="0">
                <a:solidFill>
                  <a:schemeClr val="bg1"/>
                </a:solidFill>
              </a:defRPr>
            </a:lvl1pPr>
            <a:lvl2pPr>
              <a:lnSpc>
                <a:spcPct val="100000"/>
              </a:lnSpc>
              <a:defRPr sz="2309"/>
            </a:lvl2pPr>
            <a:lvl3pPr>
              <a:lnSpc>
                <a:spcPct val="100000"/>
              </a:lnSpc>
              <a:defRPr sz="2309"/>
            </a:lvl3pPr>
            <a:lvl4pPr>
              <a:lnSpc>
                <a:spcPct val="100000"/>
              </a:lnSpc>
              <a:defRPr sz="2309"/>
            </a:lvl4pPr>
            <a:lvl5pPr>
              <a:lnSpc>
                <a:spcPct val="100000"/>
              </a:lnSpc>
              <a:defRPr sz="1979"/>
            </a:lvl5pPr>
          </a:lstStyle>
          <a:p>
            <a:pPr marL="0" marR="0" lvl="0" indent="0" algn="l" defTabSz="1507846" rtl="0" eaLnBrk="1" fontAlgn="auto" latinLnBrk="0" hangingPunct="1">
              <a:lnSpc>
                <a:spcPct val="100000"/>
              </a:lnSpc>
              <a:spcBef>
                <a:spcPts val="1649"/>
              </a:spcBef>
              <a:spcAft>
                <a:spcPts val="0"/>
              </a:spcAft>
              <a:buClrTx/>
              <a:buSzTx/>
              <a:buFont typeface="Arial" panose="020B0604020202020204" pitchFamily="34" charset="0"/>
              <a:buNone/>
              <a:tabLst/>
              <a:defRPr/>
            </a:pPr>
            <a:r>
              <a:rPr lang="en-US" dirty="0"/>
              <a:t>Click to insert text</a:t>
            </a:r>
          </a:p>
        </p:txBody>
      </p:sp>
      <p:sp>
        <p:nvSpPr>
          <p:cNvPr id="2" name="Title 1"/>
          <p:cNvSpPr>
            <a:spLocks noGrp="1"/>
          </p:cNvSpPr>
          <p:nvPr>
            <p:ph type="title" hasCustomPrompt="1"/>
          </p:nvPr>
        </p:nvSpPr>
        <p:spPr/>
        <p:txBody>
          <a:bodyPr/>
          <a:lstStyle>
            <a:lvl1pPr>
              <a:defRPr>
                <a:solidFill>
                  <a:schemeClr val="bg1"/>
                </a:solidFill>
              </a:defRPr>
            </a:lvl1pPr>
          </a:lstStyle>
          <a:p>
            <a:r>
              <a:rPr lang="en-US" noProof="0"/>
              <a:t>Modifiez le style du titre</a:t>
            </a:r>
          </a:p>
        </p:txBody>
      </p:sp>
      <p:sp>
        <p:nvSpPr>
          <p:cNvPr id="10" name="Espace réservé du texte 9">
            <a:extLst>
              <a:ext uri="{FF2B5EF4-FFF2-40B4-BE49-F238E27FC236}">
                <a16:creationId xmlns:a16="http://schemas.microsoft.com/office/drawing/2014/main" id="{37EDD487-2CB6-4B80-BCA4-0B2C451F52F6}"/>
              </a:ext>
            </a:extLst>
          </p:cNvPr>
          <p:cNvSpPr>
            <a:spLocks noGrp="1"/>
          </p:cNvSpPr>
          <p:nvPr>
            <p:ph type="body" sz="quarter" idx="34" hasCustomPrompt="1"/>
          </p:nvPr>
        </p:nvSpPr>
        <p:spPr>
          <a:xfrm>
            <a:off x="10052051" y="2354807"/>
            <a:ext cx="9596566" cy="8160399"/>
          </a:xfrm>
        </p:spPr>
        <p:txBody>
          <a:bodyPr/>
          <a:lstStyle/>
          <a:p>
            <a:pPr lvl="0"/>
            <a:r>
              <a:rPr lang="en-US" noProof="0"/>
              <a:t>Modifier les styles du texte du masque</a:t>
            </a:r>
          </a:p>
          <a:p>
            <a:pPr lvl="1"/>
            <a:r>
              <a:rPr lang="en-US" noProof="0"/>
              <a:t>Deuxième niveau</a:t>
            </a:r>
          </a:p>
          <a:p>
            <a:pPr lvl="2"/>
            <a:r>
              <a:rPr lang="en-US" noProof="0"/>
              <a:t>Troisième niveau</a:t>
            </a:r>
          </a:p>
          <a:p>
            <a:pPr lvl="3"/>
            <a:r>
              <a:rPr lang="en-US" noProof="0"/>
              <a:t>Quatrième niveau</a:t>
            </a:r>
          </a:p>
          <a:p>
            <a:pPr lvl="4"/>
            <a:r>
              <a:rPr lang="en-US" noProof="0"/>
              <a:t>Cinquième niveau</a:t>
            </a:r>
          </a:p>
        </p:txBody>
      </p:sp>
    </p:spTree>
    <p:extLst>
      <p:ext uri="{BB962C8B-B14F-4D97-AF65-F5344CB8AC3E}">
        <p14:creationId xmlns:p14="http://schemas.microsoft.com/office/powerpoint/2010/main" val="325069735"/>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1691491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5_Title and Content">
    <p:spTree>
      <p:nvGrpSpPr>
        <p:cNvPr id="1" name=""/>
        <p:cNvGrpSpPr/>
        <p:nvPr/>
      </p:nvGrpSpPr>
      <p:grpSpPr>
        <a:xfrm>
          <a:off x="0" y="0"/>
          <a:ext cx="0" cy="0"/>
          <a:chOff x="0" y="0"/>
          <a:chExt cx="0" cy="0"/>
        </a:xfrm>
      </p:grpSpPr>
      <p:sp>
        <p:nvSpPr>
          <p:cNvPr id="10" name="Rectángulo 9">
            <a:extLst>
              <a:ext uri="{FF2B5EF4-FFF2-40B4-BE49-F238E27FC236}">
                <a16:creationId xmlns:a16="http://schemas.microsoft.com/office/drawing/2014/main" id="{E7BF236D-D0D3-10D7-3261-21E349035258}"/>
              </a:ext>
            </a:extLst>
          </p:cNvPr>
          <p:cNvSpPr/>
          <p:nvPr userDrawn="1"/>
        </p:nvSpPr>
        <p:spPr>
          <a:xfrm>
            <a:off x="-43421" y="0"/>
            <a:ext cx="20147521" cy="11328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6" name="Imagen 5" descr="Imagen que contiene edificio, caminando, aeropuerto, tabla&#10;&#10;Descripción generada automáticamente">
            <a:extLst>
              <a:ext uri="{FF2B5EF4-FFF2-40B4-BE49-F238E27FC236}">
                <a16:creationId xmlns:a16="http://schemas.microsoft.com/office/drawing/2014/main" id="{7E7A7441-8F2D-F718-AD73-08797565F899}"/>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43421" y="0"/>
            <a:ext cx="10476470" cy="11328400"/>
          </a:xfrm>
          <a:prstGeom prst="rect">
            <a:avLst/>
          </a:prstGeom>
        </p:spPr>
      </p:pic>
      <p:sp>
        <p:nvSpPr>
          <p:cNvPr id="4" name="Holder 4"/>
          <p:cNvSpPr>
            <a:spLocks noGrp="1"/>
          </p:cNvSpPr>
          <p:nvPr>
            <p:ph type="ftr" sz="quarter" idx="5"/>
          </p:nvPr>
        </p:nvSpPr>
        <p:spPr>
          <a:xfrm>
            <a:off x="16647741" y="10759212"/>
            <a:ext cx="2962677" cy="200055"/>
          </a:xfrm>
          <a:prstGeom prst="rect">
            <a:avLst/>
          </a:prstGeom>
        </p:spPr>
        <p:txBody>
          <a:bodyPr lIns="0" tIns="0" rIns="0" bIns="0"/>
          <a:lstStyle>
            <a:lvl1pPr>
              <a:defRPr sz="1300" b="0" i="0">
                <a:solidFill>
                  <a:schemeClr val="bg1"/>
                </a:solidFill>
                <a:latin typeface="Ubuntu Light"/>
                <a:cs typeface="Ubuntu Light"/>
              </a:defRPr>
            </a:lvl1pPr>
          </a:lstStyle>
          <a:p>
            <a:pPr marL="26034">
              <a:spcBef>
                <a:spcPts val="30"/>
              </a:spcBef>
            </a:pPr>
            <a:r>
              <a:rPr lang="es-ES" err="1"/>
              <a:t>Public</a:t>
            </a:r>
            <a:r>
              <a:rPr lang="es-ES" spc="-40"/>
              <a:t> </a:t>
            </a:r>
            <a:r>
              <a:rPr lang="es-ES"/>
              <a:t>©</a:t>
            </a:r>
            <a:r>
              <a:rPr lang="es-ES" spc="-40"/>
              <a:t> </a:t>
            </a:r>
            <a:r>
              <a:rPr lang="es-ES"/>
              <a:t>2023</a:t>
            </a:r>
            <a:r>
              <a:rPr lang="es-ES" spc="-40"/>
              <a:t> </a:t>
            </a:r>
            <a:r>
              <a:rPr lang="es-ES" spc="-10"/>
              <a:t>Sogeti.</a:t>
            </a:r>
            <a:r>
              <a:rPr lang="es-ES" spc="-35"/>
              <a:t> </a:t>
            </a:r>
            <a:r>
              <a:rPr lang="es-ES" err="1"/>
              <a:t>All</a:t>
            </a:r>
            <a:r>
              <a:rPr lang="es-ES" spc="-40"/>
              <a:t> </a:t>
            </a:r>
            <a:r>
              <a:rPr lang="es-ES" err="1"/>
              <a:t>rights</a:t>
            </a:r>
            <a:r>
              <a:rPr lang="es-ES" spc="-40"/>
              <a:t> </a:t>
            </a:r>
            <a:r>
              <a:rPr lang="es-ES" spc="-10" err="1"/>
              <a:t>reserved</a:t>
            </a:r>
            <a:endParaRPr lang="es-ES" spc="-10"/>
          </a:p>
        </p:txBody>
      </p:sp>
      <p:sp>
        <p:nvSpPr>
          <p:cNvPr id="2" name="CuadroTexto 1">
            <a:extLst>
              <a:ext uri="{FF2B5EF4-FFF2-40B4-BE49-F238E27FC236}">
                <a16:creationId xmlns:a16="http://schemas.microsoft.com/office/drawing/2014/main" id="{72E5CF79-7DA3-E21E-3060-87CB44907F25}"/>
              </a:ext>
            </a:extLst>
          </p:cNvPr>
          <p:cNvSpPr txBox="1"/>
          <p:nvPr userDrawn="1"/>
        </p:nvSpPr>
        <p:spPr>
          <a:xfrm>
            <a:off x="755650" y="10845800"/>
            <a:ext cx="7772400" cy="292388"/>
          </a:xfrm>
          <a:prstGeom prst="rect">
            <a:avLst/>
          </a:prstGeom>
          <a:noFill/>
        </p:spPr>
        <p:txBody>
          <a:bodyPr wrap="square" rtlCol="0">
            <a:spAutoFit/>
          </a:bodyPr>
          <a:lstStyle/>
          <a:p>
            <a:r>
              <a:rPr lang="es-ES" sz="1300" b="0" i="0">
                <a:solidFill>
                  <a:schemeClr val="bg1"/>
                </a:solidFill>
                <a:latin typeface="Ubuntu Medium" panose="020B0504030602030204" pitchFamily="34" charset="0"/>
              </a:rPr>
              <a:t>#FlourishingDigitalBusinessWithQuality </a:t>
            </a:r>
            <a:r>
              <a:rPr lang="es-ES" sz="1300" b="1" i="0">
                <a:solidFill>
                  <a:schemeClr val="bg1"/>
                </a:solidFill>
                <a:latin typeface="Ubuntu" panose="020B0504030602030204" pitchFamily="34" charset="0"/>
              </a:rPr>
              <a:t> ·</a:t>
            </a:r>
            <a:r>
              <a:rPr lang="es-ES" sz="1300" b="0" i="0">
                <a:solidFill>
                  <a:schemeClr val="bg1"/>
                </a:solidFill>
                <a:latin typeface="Ubuntu Medium" panose="020B0504030602030204" pitchFamily="34" charset="0"/>
              </a:rPr>
              <a:t>   </a:t>
            </a:r>
            <a:r>
              <a:rPr lang="es-ES" sz="1300" b="0" i="0" err="1">
                <a:solidFill>
                  <a:schemeClr val="bg1"/>
                </a:solidFill>
                <a:latin typeface="Ubuntu Medium" panose="020B0504030602030204" pitchFamily="34" charset="0"/>
              </a:rPr>
              <a:t>by</a:t>
            </a:r>
            <a:r>
              <a:rPr lang="es-ES" sz="1300" b="0" i="0">
                <a:solidFill>
                  <a:schemeClr val="bg1"/>
                </a:solidFill>
                <a:latin typeface="Ubuntu Medium" panose="020B0504030602030204" pitchFamily="34" charset="0"/>
              </a:rPr>
              <a:t> </a:t>
            </a:r>
            <a:r>
              <a:rPr lang="es-ES" sz="1300" b="1" i="0">
                <a:solidFill>
                  <a:schemeClr val="bg1"/>
                </a:solidFill>
                <a:latin typeface="Ubuntu" panose="020B0504030602030204" pitchFamily="34" charset="0"/>
              </a:rPr>
              <a:t>Sogeti España</a:t>
            </a:r>
          </a:p>
        </p:txBody>
      </p:sp>
      <p:sp>
        <p:nvSpPr>
          <p:cNvPr id="5" name="Forma libre 4">
            <a:extLst>
              <a:ext uri="{FF2B5EF4-FFF2-40B4-BE49-F238E27FC236}">
                <a16:creationId xmlns:a16="http://schemas.microsoft.com/office/drawing/2014/main" id="{FBAABD7F-C513-9B40-6AE2-E43DB3944CCE}"/>
              </a:ext>
            </a:extLst>
          </p:cNvPr>
          <p:cNvSpPr/>
          <p:nvPr userDrawn="1"/>
        </p:nvSpPr>
        <p:spPr>
          <a:xfrm flipV="1">
            <a:off x="755650" y="10384024"/>
            <a:ext cx="2362200" cy="385576"/>
          </a:xfrm>
          <a:custGeom>
            <a:avLst/>
            <a:gdLst/>
            <a:ahLst/>
            <a:cxnLst/>
            <a:rect l="l" t="t" r="r" b="b"/>
            <a:pathLst>
              <a:path w="4876802" h="796029">
                <a:moveTo>
                  <a:pt x="2572782" y="405299"/>
                </a:moveTo>
                <a:cubicBezTo>
                  <a:pt x="2589609" y="405299"/>
                  <a:pt x="2601809" y="398820"/>
                  <a:pt x="2609382" y="385863"/>
                </a:cubicBezTo>
                <a:cubicBezTo>
                  <a:pt x="2616954" y="372906"/>
                  <a:pt x="2620740" y="355826"/>
                  <a:pt x="2620740" y="334623"/>
                </a:cubicBezTo>
                <a:cubicBezTo>
                  <a:pt x="2620740" y="313420"/>
                  <a:pt x="2616618" y="296256"/>
                  <a:pt x="2608372" y="283131"/>
                </a:cubicBezTo>
                <a:cubicBezTo>
                  <a:pt x="2600126" y="270006"/>
                  <a:pt x="2587927" y="263443"/>
                  <a:pt x="2571772" y="263443"/>
                </a:cubicBezTo>
                <a:cubicBezTo>
                  <a:pt x="2554945" y="263443"/>
                  <a:pt x="2542744" y="270006"/>
                  <a:pt x="2535172" y="283131"/>
                </a:cubicBezTo>
                <a:cubicBezTo>
                  <a:pt x="2527600" y="296256"/>
                  <a:pt x="2523814" y="313420"/>
                  <a:pt x="2523814" y="334623"/>
                </a:cubicBezTo>
                <a:cubicBezTo>
                  <a:pt x="2523814" y="355826"/>
                  <a:pt x="2527937" y="372906"/>
                  <a:pt x="2536182" y="385863"/>
                </a:cubicBezTo>
                <a:cubicBezTo>
                  <a:pt x="2544428" y="398820"/>
                  <a:pt x="2556628" y="405299"/>
                  <a:pt x="2572782" y="405299"/>
                </a:cubicBezTo>
                <a:close/>
                <a:moveTo>
                  <a:pt x="1810782" y="405299"/>
                </a:moveTo>
                <a:cubicBezTo>
                  <a:pt x="1827610" y="405299"/>
                  <a:pt x="1839810" y="398820"/>
                  <a:pt x="1847382" y="385863"/>
                </a:cubicBezTo>
                <a:cubicBezTo>
                  <a:pt x="1854954" y="372906"/>
                  <a:pt x="1858740" y="355826"/>
                  <a:pt x="1858740" y="334623"/>
                </a:cubicBezTo>
                <a:cubicBezTo>
                  <a:pt x="1858740" y="313420"/>
                  <a:pt x="1854618" y="296256"/>
                  <a:pt x="1846372" y="283131"/>
                </a:cubicBezTo>
                <a:cubicBezTo>
                  <a:pt x="1838127" y="270006"/>
                  <a:pt x="1825927" y="263443"/>
                  <a:pt x="1809772" y="263443"/>
                </a:cubicBezTo>
                <a:cubicBezTo>
                  <a:pt x="1792945" y="263443"/>
                  <a:pt x="1780745" y="270006"/>
                  <a:pt x="1773173" y="283131"/>
                </a:cubicBezTo>
                <a:cubicBezTo>
                  <a:pt x="1765600" y="296256"/>
                  <a:pt x="1761814" y="313420"/>
                  <a:pt x="1761814" y="334623"/>
                </a:cubicBezTo>
                <a:cubicBezTo>
                  <a:pt x="1761814" y="355826"/>
                  <a:pt x="1765937" y="372906"/>
                  <a:pt x="1774182" y="385863"/>
                </a:cubicBezTo>
                <a:cubicBezTo>
                  <a:pt x="1782428" y="398820"/>
                  <a:pt x="1794628" y="405299"/>
                  <a:pt x="1810782" y="405299"/>
                </a:cubicBezTo>
                <a:close/>
                <a:moveTo>
                  <a:pt x="810657" y="405299"/>
                </a:moveTo>
                <a:cubicBezTo>
                  <a:pt x="827485" y="405299"/>
                  <a:pt x="839684" y="398820"/>
                  <a:pt x="847257" y="385863"/>
                </a:cubicBezTo>
                <a:cubicBezTo>
                  <a:pt x="854829" y="372906"/>
                  <a:pt x="858615" y="355826"/>
                  <a:pt x="858616" y="334623"/>
                </a:cubicBezTo>
                <a:cubicBezTo>
                  <a:pt x="858615" y="313420"/>
                  <a:pt x="854493" y="296256"/>
                  <a:pt x="846247" y="283131"/>
                </a:cubicBezTo>
                <a:cubicBezTo>
                  <a:pt x="838002" y="270006"/>
                  <a:pt x="825802" y="263443"/>
                  <a:pt x="809647" y="263443"/>
                </a:cubicBezTo>
                <a:cubicBezTo>
                  <a:pt x="792820" y="263443"/>
                  <a:pt x="780620" y="270006"/>
                  <a:pt x="773048" y="283131"/>
                </a:cubicBezTo>
                <a:cubicBezTo>
                  <a:pt x="765475" y="296256"/>
                  <a:pt x="761689" y="313420"/>
                  <a:pt x="761689" y="334623"/>
                </a:cubicBezTo>
                <a:cubicBezTo>
                  <a:pt x="761689" y="355826"/>
                  <a:pt x="765812" y="372906"/>
                  <a:pt x="774057" y="385863"/>
                </a:cubicBezTo>
                <a:cubicBezTo>
                  <a:pt x="782303" y="398820"/>
                  <a:pt x="794503" y="405299"/>
                  <a:pt x="810657" y="405299"/>
                </a:cubicBezTo>
                <a:close/>
                <a:moveTo>
                  <a:pt x="3325256" y="411861"/>
                </a:moveTo>
                <a:cubicBezTo>
                  <a:pt x="3316506" y="411861"/>
                  <a:pt x="3309608" y="408496"/>
                  <a:pt x="3304560" y="401765"/>
                </a:cubicBezTo>
                <a:cubicBezTo>
                  <a:pt x="3299512" y="395034"/>
                  <a:pt x="3296988" y="387125"/>
                  <a:pt x="3296988" y="378038"/>
                </a:cubicBezTo>
                <a:cubicBezTo>
                  <a:pt x="3296988" y="368951"/>
                  <a:pt x="3299512" y="361126"/>
                  <a:pt x="3304560" y="354564"/>
                </a:cubicBezTo>
                <a:cubicBezTo>
                  <a:pt x="3309608" y="348001"/>
                  <a:pt x="3316506" y="344720"/>
                  <a:pt x="3325256" y="344720"/>
                </a:cubicBezTo>
                <a:cubicBezTo>
                  <a:pt x="3333334" y="344720"/>
                  <a:pt x="3339980" y="348001"/>
                  <a:pt x="3345198" y="354564"/>
                </a:cubicBezTo>
                <a:cubicBezTo>
                  <a:pt x="3350414" y="361126"/>
                  <a:pt x="3353022" y="368951"/>
                  <a:pt x="3353022" y="378038"/>
                </a:cubicBezTo>
                <a:cubicBezTo>
                  <a:pt x="3353022" y="387125"/>
                  <a:pt x="3350414" y="395034"/>
                  <a:pt x="3345198" y="401765"/>
                </a:cubicBezTo>
                <a:cubicBezTo>
                  <a:pt x="3339980" y="408496"/>
                  <a:pt x="3333334" y="411861"/>
                  <a:pt x="3325256" y="411861"/>
                </a:cubicBezTo>
                <a:close/>
                <a:moveTo>
                  <a:pt x="2207070" y="453257"/>
                </a:moveTo>
                <a:lnTo>
                  <a:pt x="2207070" y="401765"/>
                </a:lnTo>
                <a:lnTo>
                  <a:pt x="2272697" y="401765"/>
                </a:lnTo>
                <a:lnTo>
                  <a:pt x="2272697" y="314430"/>
                </a:lnTo>
                <a:cubicBezTo>
                  <a:pt x="2272697" y="297939"/>
                  <a:pt x="2274043" y="283299"/>
                  <a:pt x="2276735" y="270510"/>
                </a:cubicBezTo>
                <a:cubicBezTo>
                  <a:pt x="2279428" y="257721"/>
                  <a:pt x="2284055" y="246868"/>
                  <a:pt x="2290618" y="237949"/>
                </a:cubicBezTo>
                <a:cubicBezTo>
                  <a:pt x="2297181" y="229031"/>
                  <a:pt x="2305931" y="222215"/>
                  <a:pt x="2316869" y="217504"/>
                </a:cubicBezTo>
                <a:cubicBezTo>
                  <a:pt x="2327807" y="212792"/>
                  <a:pt x="2341353" y="210436"/>
                  <a:pt x="2357508" y="210436"/>
                </a:cubicBezTo>
                <a:cubicBezTo>
                  <a:pt x="2366931" y="210436"/>
                  <a:pt x="2377280" y="211530"/>
                  <a:pt x="2388554" y="213718"/>
                </a:cubicBezTo>
                <a:cubicBezTo>
                  <a:pt x="2399829" y="215905"/>
                  <a:pt x="2411860" y="220028"/>
                  <a:pt x="2424649" y="226086"/>
                </a:cubicBezTo>
                <a:lnTo>
                  <a:pt x="2416572" y="276063"/>
                </a:lnTo>
                <a:cubicBezTo>
                  <a:pt x="2406475" y="271352"/>
                  <a:pt x="2397388" y="268239"/>
                  <a:pt x="2389312" y="266724"/>
                </a:cubicBezTo>
                <a:cubicBezTo>
                  <a:pt x="2381234" y="265210"/>
                  <a:pt x="2374335" y="264452"/>
                  <a:pt x="2368614" y="264452"/>
                </a:cubicBezTo>
                <a:cubicBezTo>
                  <a:pt x="2356498" y="264452"/>
                  <a:pt x="2347832" y="267902"/>
                  <a:pt x="2342615" y="274801"/>
                </a:cubicBezTo>
                <a:cubicBezTo>
                  <a:pt x="2337398" y="281701"/>
                  <a:pt x="2334790" y="292218"/>
                  <a:pt x="2334790" y="306353"/>
                </a:cubicBezTo>
                <a:lnTo>
                  <a:pt x="2334790" y="453257"/>
                </a:lnTo>
                <a:close/>
                <a:moveTo>
                  <a:pt x="1088092" y="457800"/>
                </a:moveTo>
                <a:cubicBezTo>
                  <a:pt x="1064870" y="457800"/>
                  <a:pt x="1044593" y="455949"/>
                  <a:pt x="1027260" y="452247"/>
                </a:cubicBezTo>
                <a:cubicBezTo>
                  <a:pt x="1009928" y="448545"/>
                  <a:pt x="993016" y="443665"/>
                  <a:pt x="976526" y="437607"/>
                </a:cubicBezTo>
                <a:lnTo>
                  <a:pt x="976526" y="215989"/>
                </a:lnTo>
                <a:lnTo>
                  <a:pt x="1039124" y="215989"/>
                </a:lnTo>
                <a:lnTo>
                  <a:pt x="1039124" y="392173"/>
                </a:lnTo>
                <a:cubicBezTo>
                  <a:pt x="1047874" y="394529"/>
                  <a:pt x="1056456" y="396128"/>
                  <a:pt x="1064870" y="396969"/>
                </a:cubicBezTo>
                <a:cubicBezTo>
                  <a:pt x="1073284" y="397810"/>
                  <a:pt x="1081866" y="398231"/>
                  <a:pt x="1090616" y="398231"/>
                </a:cubicBezTo>
                <a:cubicBezTo>
                  <a:pt x="1094318" y="398231"/>
                  <a:pt x="1098861" y="398063"/>
                  <a:pt x="1104246" y="397726"/>
                </a:cubicBezTo>
                <a:cubicBezTo>
                  <a:pt x="1109631" y="397390"/>
                  <a:pt x="1115184" y="396801"/>
                  <a:pt x="1120905" y="395959"/>
                </a:cubicBezTo>
                <a:cubicBezTo>
                  <a:pt x="1126627" y="395118"/>
                  <a:pt x="1132264" y="394192"/>
                  <a:pt x="1137817" y="393183"/>
                </a:cubicBezTo>
                <a:cubicBezTo>
                  <a:pt x="1143370" y="392173"/>
                  <a:pt x="1148166" y="391164"/>
                  <a:pt x="1152205" y="390154"/>
                </a:cubicBezTo>
                <a:lnTo>
                  <a:pt x="1163311" y="447704"/>
                </a:lnTo>
                <a:cubicBezTo>
                  <a:pt x="1157589" y="449723"/>
                  <a:pt x="1151111" y="451322"/>
                  <a:pt x="1143875" y="452500"/>
                </a:cubicBezTo>
                <a:cubicBezTo>
                  <a:pt x="1136639" y="453678"/>
                  <a:pt x="1129487" y="454687"/>
                  <a:pt x="1122420" y="455529"/>
                </a:cubicBezTo>
                <a:cubicBezTo>
                  <a:pt x="1115352" y="456370"/>
                  <a:pt x="1108706" y="456959"/>
                  <a:pt x="1102479" y="457296"/>
                </a:cubicBezTo>
                <a:cubicBezTo>
                  <a:pt x="1096253" y="457632"/>
                  <a:pt x="1091457" y="457800"/>
                  <a:pt x="1088092" y="457800"/>
                </a:cubicBezTo>
                <a:close/>
                <a:moveTo>
                  <a:pt x="2572782" y="459315"/>
                </a:moveTo>
                <a:cubicBezTo>
                  <a:pt x="2556628" y="459315"/>
                  <a:pt x="2541651" y="456370"/>
                  <a:pt x="2527852" y="450480"/>
                </a:cubicBezTo>
                <a:cubicBezTo>
                  <a:pt x="2514054" y="444591"/>
                  <a:pt x="2502190" y="436177"/>
                  <a:pt x="2492262" y="425239"/>
                </a:cubicBezTo>
                <a:cubicBezTo>
                  <a:pt x="2482334" y="414301"/>
                  <a:pt x="2474594" y="401176"/>
                  <a:pt x="2469040" y="385863"/>
                </a:cubicBezTo>
                <a:cubicBezTo>
                  <a:pt x="2463487" y="370550"/>
                  <a:pt x="2460711" y="353638"/>
                  <a:pt x="2460711" y="335128"/>
                </a:cubicBezTo>
                <a:cubicBezTo>
                  <a:pt x="2460711" y="316281"/>
                  <a:pt x="2463403" y="299201"/>
                  <a:pt x="2468788" y="283888"/>
                </a:cubicBezTo>
                <a:cubicBezTo>
                  <a:pt x="2474173" y="268575"/>
                  <a:pt x="2481829" y="255366"/>
                  <a:pt x="2491758" y="244259"/>
                </a:cubicBezTo>
                <a:cubicBezTo>
                  <a:pt x="2501686" y="233153"/>
                  <a:pt x="2513465" y="224571"/>
                  <a:pt x="2527095" y="218513"/>
                </a:cubicBezTo>
                <a:cubicBezTo>
                  <a:pt x="2540726" y="212455"/>
                  <a:pt x="2555954" y="209427"/>
                  <a:pt x="2572782" y="209427"/>
                </a:cubicBezTo>
                <a:cubicBezTo>
                  <a:pt x="2589609" y="209427"/>
                  <a:pt x="2604838" y="212455"/>
                  <a:pt x="2618468" y="218513"/>
                </a:cubicBezTo>
                <a:cubicBezTo>
                  <a:pt x="2632098" y="224571"/>
                  <a:pt x="2643794" y="233153"/>
                  <a:pt x="2653554" y="244259"/>
                </a:cubicBezTo>
                <a:cubicBezTo>
                  <a:pt x="2663314" y="255366"/>
                  <a:pt x="2670886" y="268575"/>
                  <a:pt x="2676271" y="283888"/>
                </a:cubicBezTo>
                <a:cubicBezTo>
                  <a:pt x="2681656" y="299201"/>
                  <a:pt x="2684348" y="316281"/>
                  <a:pt x="2684348" y="335128"/>
                </a:cubicBezTo>
                <a:cubicBezTo>
                  <a:pt x="2684348" y="353638"/>
                  <a:pt x="2681656" y="370550"/>
                  <a:pt x="2676271" y="385863"/>
                </a:cubicBezTo>
                <a:cubicBezTo>
                  <a:pt x="2670886" y="401176"/>
                  <a:pt x="2663230" y="414301"/>
                  <a:pt x="2653302" y="425239"/>
                </a:cubicBezTo>
                <a:cubicBezTo>
                  <a:pt x="2643373" y="436177"/>
                  <a:pt x="2631594" y="444591"/>
                  <a:pt x="2617964" y="450480"/>
                </a:cubicBezTo>
                <a:cubicBezTo>
                  <a:pt x="2604334" y="456370"/>
                  <a:pt x="2589273" y="459315"/>
                  <a:pt x="2572782" y="459315"/>
                </a:cubicBezTo>
                <a:close/>
                <a:moveTo>
                  <a:pt x="1810782" y="459315"/>
                </a:moveTo>
                <a:cubicBezTo>
                  <a:pt x="1794628" y="459315"/>
                  <a:pt x="1779651" y="456370"/>
                  <a:pt x="1765853" y="450480"/>
                </a:cubicBezTo>
                <a:cubicBezTo>
                  <a:pt x="1752054" y="444591"/>
                  <a:pt x="1740191" y="436177"/>
                  <a:pt x="1730262" y="425239"/>
                </a:cubicBezTo>
                <a:cubicBezTo>
                  <a:pt x="1720334" y="414301"/>
                  <a:pt x="1712594" y="401176"/>
                  <a:pt x="1707040" y="385863"/>
                </a:cubicBezTo>
                <a:cubicBezTo>
                  <a:pt x="1701488" y="370550"/>
                  <a:pt x="1698711" y="353638"/>
                  <a:pt x="1698711" y="335128"/>
                </a:cubicBezTo>
                <a:cubicBezTo>
                  <a:pt x="1698711" y="316281"/>
                  <a:pt x="1701403" y="299201"/>
                  <a:pt x="1706788" y="283888"/>
                </a:cubicBezTo>
                <a:cubicBezTo>
                  <a:pt x="1712173" y="268575"/>
                  <a:pt x="1719829" y="255366"/>
                  <a:pt x="1729758" y="244259"/>
                </a:cubicBezTo>
                <a:cubicBezTo>
                  <a:pt x="1739686" y="233153"/>
                  <a:pt x="1751465" y="224571"/>
                  <a:pt x="1765095" y="218513"/>
                </a:cubicBezTo>
                <a:cubicBezTo>
                  <a:pt x="1778726" y="212455"/>
                  <a:pt x="1793954" y="209427"/>
                  <a:pt x="1810782" y="209427"/>
                </a:cubicBezTo>
                <a:cubicBezTo>
                  <a:pt x="1827610" y="209427"/>
                  <a:pt x="1842838" y="212455"/>
                  <a:pt x="1856469" y="218513"/>
                </a:cubicBezTo>
                <a:cubicBezTo>
                  <a:pt x="1870099" y="224571"/>
                  <a:pt x="1881794" y="233153"/>
                  <a:pt x="1891554" y="244259"/>
                </a:cubicBezTo>
                <a:cubicBezTo>
                  <a:pt x="1901314" y="255366"/>
                  <a:pt x="1908886" y="268575"/>
                  <a:pt x="1914271" y="283888"/>
                </a:cubicBezTo>
                <a:cubicBezTo>
                  <a:pt x="1919656" y="299201"/>
                  <a:pt x="1922348" y="316281"/>
                  <a:pt x="1922348" y="335128"/>
                </a:cubicBezTo>
                <a:cubicBezTo>
                  <a:pt x="1922348" y="353638"/>
                  <a:pt x="1919656" y="370550"/>
                  <a:pt x="1914271" y="385863"/>
                </a:cubicBezTo>
                <a:cubicBezTo>
                  <a:pt x="1908886" y="401176"/>
                  <a:pt x="1901230" y="414301"/>
                  <a:pt x="1891302" y="425239"/>
                </a:cubicBezTo>
                <a:cubicBezTo>
                  <a:pt x="1881374" y="436177"/>
                  <a:pt x="1869594" y="444591"/>
                  <a:pt x="1855964" y="450480"/>
                </a:cubicBezTo>
                <a:cubicBezTo>
                  <a:pt x="1842334" y="456370"/>
                  <a:pt x="1827273" y="459315"/>
                  <a:pt x="1810782" y="459315"/>
                </a:cubicBezTo>
                <a:close/>
                <a:moveTo>
                  <a:pt x="810657" y="459315"/>
                </a:moveTo>
                <a:cubicBezTo>
                  <a:pt x="794503" y="459315"/>
                  <a:pt x="779526" y="456370"/>
                  <a:pt x="765728" y="450480"/>
                </a:cubicBezTo>
                <a:cubicBezTo>
                  <a:pt x="751929" y="444591"/>
                  <a:pt x="740066" y="436177"/>
                  <a:pt x="730138" y="425239"/>
                </a:cubicBezTo>
                <a:cubicBezTo>
                  <a:pt x="720209" y="414301"/>
                  <a:pt x="712469" y="401176"/>
                  <a:pt x="706916" y="385863"/>
                </a:cubicBezTo>
                <a:cubicBezTo>
                  <a:pt x="701362" y="370550"/>
                  <a:pt x="698586" y="353638"/>
                  <a:pt x="698586" y="335128"/>
                </a:cubicBezTo>
                <a:cubicBezTo>
                  <a:pt x="698586" y="316281"/>
                  <a:pt x="701278" y="299201"/>
                  <a:pt x="706663" y="283888"/>
                </a:cubicBezTo>
                <a:cubicBezTo>
                  <a:pt x="712048" y="268575"/>
                  <a:pt x="719704" y="255366"/>
                  <a:pt x="729633" y="244259"/>
                </a:cubicBezTo>
                <a:cubicBezTo>
                  <a:pt x="739561" y="233153"/>
                  <a:pt x="751340" y="224571"/>
                  <a:pt x="764970" y="218513"/>
                </a:cubicBezTo>
                <a:cubicBezTo>
                  <a:pt x="778601" y="212455"/>
                  <a:pt x="793830" y="209427"/>
                  <a:pt x="810657" y="209427"/>
                </a:cubicBezTo>
                <a:cubicBezTo>
                  <a:pt x="827485" y="209427"/>
                  <a:pt x="842713" y="212455"/>
                  <a:pt x="856344" y="218513"/>
                </a:cubicBezTo>
                <a:cubicBezTo>
                  <a:pt x="869974" y="224571"/>
                  <a:pt x="881669" y="233153"/>
                  <a:pt x="891429" y="244259"/>
                </a:cubicBezTo>
                <a:cubicBezTo>
                  <a:pt x="901189" y="255366"/>
                  <a:pt x="908761" y="268575"/>
                  <a:pt x="914146" y="283888"/>
                </a:cubicBezTo>
                <a:cubicBezTo>
                  <a:pt x="919531" y="299201"/>
                  <a:pt x="922223" y="316281"/>
                  <a:pt x="922223" y="335128"/>
                </a:cubicBezTo>
                <a:cubicBezTo>
                  <a:pt x="922223" y="353638"/>
                  <a:pt x="919531" y="370550"/>
                  <a:pt x="914146" y="385863"/>
                </a:cubicBezTo>
                <a:cubicBezTo>
                  <a:pt x="908761" y="401176"/>
                  <a:pt x="901105" y="414301"/>
                  <a:pt x="891177" y="425239"/>
                </a:cubicBezTo>
                <a:cubicBezTo>
                  <a:pt x="881248" y="436177"/>
                  <a:pt x="869469" y="444591"/>
                  <a:pt x="855839" y="450480"/>
                </a:cubicBezTo>
                <a:cubicBezTo>
                  <a:pt x="842209" y="456370"/>
                  <a:pt x="827148" y="459315"/>
                  <a:pt x="810657" y="459315"/>
                </a:cubicBezTo>
                <a:close/>
                <a:moveTo>
                  <a:pt x="546919" y="477993"/>
                </a:moveTo>
                <a:cubicBezTo>
                  <a:pt x="563410" y="477993"/>
                  <a:pt x="576620" y="474207"/>
                  <a:pt x="586548" y="466635"/>
                </a:cubicBezTo>
                <a:cubicBezTo>
                  <a:pt x="596476" y="459062"/>
                  <a:pt x="601441" y="446189"/>
                  <a:pt x="601441" y="428016"/>
                </a:cubicBezTo>
                <a:cubicBezTo>
                  <a:pt x="601441" y="408832"/>
                  <a:pt x="596392" y="395286"/>
                  <a:pt x="586296" y="387377"/>
                </a:cubicBezTo>
                <a:cubicBezTo>
                  <a:pt x="576199" y="379468"/>
                  <a:pt x="561223" y="375514"/>
                  <a:pt x="541366" y="375514"/>
                </a:cubicBezTo>
                <a:lnTo>
                  <a:pt x="516125" y="375514"/>
                </a:lnTo>
                <a:lnTo>
                  <a:pt x="516125" y="476479"/>
                </a:lnTo>
                <a:cubicBezTo>
                  <a:pt x="519827" y="477152"/>
                  <a:pt x="524960" y="477573"/>
                  <a:pt x="531522" y="477741"/>
                </a:cubicBezTo>
                <a:cubicBezTo>
                  <a:pt x="538085" y="477909"/>
                  <a:pt x="543217" y="477993"/>
                  <a:pt x="546919" y="477993"/>
                </a:cubicBezTo>
                <a:close/>
                <a:moveTo>
                  <a:pt x="3324752" y="482537"/>
                </a:moveTo>
                <a:cubicBezTo>
                  <a:pt x="3341916" y="482537"/>
                  <a:pt x="3354958" y="473198"/>
                  <a:pt x="3363876" y="454519"/>
                </a:cubicBezTo>
                <a:cubicBezTo>
                  <a:pt x="3372794" y="435841"/>
                  <a:pt x="3377254" y="408664"/>
                  <a:pt x="3377254" y="372990"/>
                </a:cubicBezTo>
                <a:cubicBezTo>
                  <a:pt x="3377254" y="336979"/>
                  <a:pt x="3372794" y="309634"/>
                  <a:pt x="3363876" y="290956"/>
                </a:cubicBezTo>
                <a:cubicBezTo>
                  <a:pt x="3354958" y="272277"/>
                  <a:pt x="3341916" y="262938"/>
                  <a:pt x="3324752" y="262938"/>
                </a:cubicBezTo>
                <a:cubicBezTo>
                  <a:pt x="3307924" y="262938"/>
                  <a:pt x="3294968" y="272277"/>
                  <a:pt x="3285880" y="290956"/>
                </a:cubicBezTo>
                <a:cubicBezTo>
                  <a:pt x="3276794" y="309634"/>
                  <a:pt x="3272250" y="336979"/>
                  <a:pt x="3272250" y="372990"/>
                </a:cubicBezTo>
                <a:cubicBezTo>
                  <a:pt x="3272250" y="408664"/>
                  <a:pt x="3276794" y="435841"/>
                  <a:pt x="3285880" y="454519"/>
                </a:cubicBezTo>
                <a:cubicBezTo>
                  <a:pt x="3294968" y="473198"/>
                  <a:pt x="3307924" y="482537"/>
                  <a:pt x="3324752" y="482537"/>
                </a:cubicBezTo>
                <a:close/>
                <a:moveTo>
                  <a:pt x="1323054" y="522923"/>
                </a:moveTo>
                <a:lnTo>
                  <a:pt x="1260961" y="512826"/>
                </a:lnTo>
                <a:lnTo>
                  <a:pt x="1260961" y="453257"/>
                </a:lnTo>
                <a:lnTo>
                  <a:pt x="1206945" y="453257"/>
                </a:lnTo>
                <a:lnTo>
                  <a:pt x="1206945" y="401765"/>
                </a:lnTo>
                <a:lnTo>
                  <a:pt x="1260961" y="401765"/>
                </a:lnTo>
                <a:lnTo>
                  <a:pt x="1260961" y="304334"/>
                </a:lnTo>
                <a:cubicBezTo>
                  <a:pt x="1260961" y="284477"/>
                  <a:pt x="1262980" y="268407"/>
                  <a:pt x="1267019" y="256123"/>
                </a:cubicBezTo>
                <a:cubicBezTo>
                  <a:pt x="1271057" y="243839"/>
                  <a:pt x="1276947" y="234331"/>
                  <a:pt x="1284688" y="227600"/>
                </a:cubicBezTo>
                <a:cubicBezTo>
                  <a:pt x="1292428" y="220869"/>
                  <a:pt x="1301852" y="216326"/>
                  <a:pt x="1312958" y="213970"/>
                </a:cubicBezTo>
                <a:cubicBezTo>
                  <a:pt x="1324064" y="211614"/>
                  <a:pt x="1336853" y="210436"/>
                  <a:pt x="1351325" y="210436"/>
                </a:cubicBezTo>
                <a:cubicBezTo>
                  <a:pt x="1363777" y="210436"/>
                  <a:pt x="1376650" y="211446"/>
                  <a:pt x="1389944" y="213465"/>
                </a:cubicBezTo>
                <a:cubicBezTo>
                  <a:pt x="1403238" y="215484"/>
                  <a:pt x="1415606" y="218850"/>
                  <a:pt x="1427048" y="223562"/>
                </a:cubicBezTo>
                <a:lnTo>
                  <a:pt x="1418466" y="277073"/>
                </a:lnTo>
                <a:cubicBezTo>
                  <a:pt x="1412745" y="274381"/>
                  <a:pt x="1407444" y="272193"/>
                  <a:pt x="1402564" y="270510"/>
                </a:cubicBezTo>
                <a:cubicBezTo>
                  <a:pt x="1397684" y="268828"/>
                  <a:pt x="1392973" y="267566"/>
                  <a:pt x="1388429" y="266724"/>
                </a:cubicBezTo>
                <a:cubicBezTo>
                  <a:pt x="1383886" y="265883"/>
                  <a:pt x="1379174" y="265294"/>
                  <a:pt x="1374294" y="264957"/>
                </a:cubicBezTo>
                <a:cubicBezTo>
                  <a:pt x="1369414" y="264621"/>
                  <a:pt x="1364114" y="264452"/>
                  <a:pt x="1358392" y="264452"/>
                </a:cubicBezTo>
                <a:cubicBezTo>
                  <a:pt x="1353007" y="264452"/>
                  <a:pt x="1348127" y="264957"/>
                  <a:pt x="1343752" y="265967"/>
                </a:cubicBezTo>
                <a:cubicBezTo>
                  <a:pt x="1339377" y="266977"/>
                  <a:pt x="1335675" y="268996"/>
                  <a:pt x="1332646" y="272025"/>
                </a:cubicBezTo>
                <a:cubicBezTo>
                  <a:pt x="1329617" y="275054"/>
                  <a:pt x="1327261" y="279261"/>
                  <a:pt x="1325579" y="284645"/>
                </a:cubicBezTo>
                <a:cubicBezTo>
                  <a:pt x="1323896" y="290030"/>
                  <a:pt x="1323054" y="297098"/>
                  <a:pt x="1323054" y="305848"/>
                </a:cubicBezTo>
                <a:lnTo>
                  <a:pt x="1323054" y="401765"/>
                </a:lnTo>
                <a:lnTo>
                  <a:pt x="1422505" y="401765"/>
                </a:lnTo>
                <a:lnTo>
                  <a:pt x="1422505" y="453257"/>
                </a:lnTo>
                <a:lnTo>
                  <a:pt x="1323054" y="453257"/>
                </a:lnTo>
                <a:close/>
                <a:moveTo>
                  <a:pt x="539852" y="532010"/>
                </a:moveTo>
                <a:cubicBezTo>
                  <a:pt x="534131" y="532010"/>
                  <a:pt x="527568" y="531841"/>
                  <a:pt x="520164" y="531505"/>
                </a:cubicBezTo>
                <a:cubicBezTo>
                  <a:pt x="512760" y="531168"/>
                  <a:pt x="505187" y="530748"/>
                  <a:pt x="497447" y="530243"/>
                </a:cubicBezTo>
                <a:cubicBezTo>
                  <a:pt x="489706" y="529738"/>
                  <a:pt x="482049" y="528981"/>
                  <a:pt x="474477" y="527971"/>
                </a:cubicBezTo>
                <a:cubicBezTo>
                  <a:pt x="466905" y="526961"/>
                  <a:pt x="460090" y="525784"/>
                  <a:pt x="454032" y="524437"/>
                </a:cubicBezTo>
                <a:lnTo>
                  <a:pt x="454032" y="215989"/>
                </a:lnTo>
                <a:lnTo>
                  <a:pt x="516125" y="215989"/>
                </a:lnTo>
                <a:lnTo>
                  <a:pt x="516125" y="321498"/>
                </a:lnTo>
                <a:lnTo>
                  <a:pt x="538337" y="321498"/>
                </a:lnTo>
                <a:cubicBezTo>
                  <a:pt x="578723" y="321498"/>
                  <a:pt x="609938" y="329827"/>
                  <a:pt x="631982" y="346486"/>
                </a:cubicBezTo>
                <a:cubicBezTo>
                  <a:pt x="654026" y="363146"/>
                  <a:pt x="665048" y="390154"/>
                  <a:pt x="665048" y="427511"/>
                </a:cubicBezTo>
                <a:cubicBezTo>
                  <a:pt x="665048" y="464531"/>
                  <a:pt x="654111" y="491203"/>
                  <a:pt x="632235" y="507526"/>
                </a:cubicBezTo>
                <a:cubicBezTo>
                  <a:pt x="610359" y="523848"/>
                  <a:pt x="579565" y="532010"/>
                  <a:pt x="539852" y="532010"/>
                </a:cubicBezTo>
                <a:close/>
                <a:moveTo>
                  <a:pt x="3816452" y="535544"/>
                </a:moveTo>
                <a:cubicBezTo>
                  <a:pt x="3797604" y="535544"/>
                  <a:pt x="3780694" y="532430"/>
                  <a:pt x="3765716" y="526204"/>
                </a:cubicBezTo>
                <a:cubicBezTo>
                  <a:pt x="3750740" y="519978"/>
                  <a:pt x="3738708" y="513836"/>
                  <a:pt x="3729622" y="507778"/>
                </a:cubicBezTo>
                <a:lnTo>
                  <a:pt x="3751834" y="462344"/>
                </a:lnTo>
                <a:cubicBezTo>
                  <a:pt x="3760248" y="468065"/>
                  <a:pt x="3770260" y="472861"/>
                  <a:pt x="3781872" y="476731"/>
                </a:cubicBezTo>
                <a:cubicBezTo>
                  <a:pt x="3793482" y="480602"/>
                  <a:pt x="3805178" y="482537"/>
                  <a:pt x="3816956" y="482537"/>
                </a:cubicBezTo>
                <a:cubicBezTo>
                  <a:pt x="3829072" y="482537"/>
                  <a:pt x="3838580" y="479255"/>
                  <a:pt x="3845480" y="472693"/>
                </a:cubicBezTo>
                <a:cubicBezTo>
                  <a:pt x="3852378" y="466130"/>
                  <a:pt x="3855828" y="457127"/>
                  <a:pt x="3855828" y="445685"/>
                </a:cubicBezTo>
                <a:cubicBezTo>
                  <a:pt x="3855828" y="437944"/>
                  <a:pt x="3854230" y="431550"/>
                  <a:pt x="3851032" y="426501"/>
                </a:cubicBezTo>
                <a:cubicBezTo>
                  <a:pt x="3847836" y="421453"/>
                  <a:pt x="3843712" y="417414"/>
                  <a:pt x="3838664" y="414385"/>
                </a:cubicBezTo>
                <a:cubicBezTo>
                  <a:pt x="3833616" y="411357"/>
                  <a:pt x="3827894" y="409169"/>
                  <a:pt x="3821500" y="407823"/>
                </a:cubicBezTo>
                <a:cubicBezTo>
                  <a:pt x="3815106" y="406477"/>
                  <a:pt x="3808712" y="405803"/>
                  <a:pt x="3802316" y="405803"/>
                </a:cubicBezTo>
                <a:lnTo>
                  <a:pt x="3779094" y="405803"/>
                </a:lnTo>
                <a:lnTo>
                  <a:pt x="3779094" y="354311"/>
                </a:lnTo>
                <a:lnTo>
                  <a:pt x="3798278" y="354311"/>
                </a:lnTo>
                <a:cubicBezTo>
                  <a:pt x="3818470" y="354311"/>
                  <a:pt x="3835130" y="351030"/>
                  <a:pt x="3848256" y="344467"/>
                </a:cubicBezTo>
                <a:cubicBezTo>
                  <a:pt x="3861380" y="337904"/>
                  <a:pt x="3867944" y="326378"/>
                  <a:pt x="3867944" y="309887"/>
                </a:cubicBezTo>
                <a:cubicBezTo>
                  <a:pt x="3867944" y="296425"/>
                  <a:pt x="3863652" y="285150"/>
                  <a:pt x="3855072" y="276063"/>
                </a:cubicBezTo>
                <a:cubicBezTo>
                  <a:pt x="3846488" y="266977"/>
                  <a:pt x="3831596" y="262433"/>
                  <a:pt x="3810394" y="262433"/>
                </a:cubicBezTo>
                <a:cubicBezTo>
                  <a:pt x="3793230" y="262433"/>
                  <a:pt x="3778506" y="264284"/>
                  <a:pt x="3766222" y="267986"/>
                </a:cubicBezTo>
                <a:cubicBezTo>
                  <a:pt x="3753938" y="271688"/>
                  <a:pt x="3743924" y="275222"/>
                  <a:pt x="3736184" y="278588"/>
                </a:cubicBezTo>
                <a:lnTo>
                  <a:pt x="3724068" y="226591"/>
                </a:lnTo>
                <a:cubicBezTo>
                  <a:pt x="3727770" y="224908"/>
                  <a:pt x="3732988" y="223057"/>
                  <a:pt x="3739718" y="221037"/>
                </a:cubicBezTo>
                <a:cubicBezTo>
                  <a:pt x="3746450" y="219018"/>
                  <a:pt x="3753770" y="217167"/>
                  <a:pt x="3761678" y="215484"/>
                </a:cubicBezTo>
                <a:cubicBezTo>
                  <a:pt x="3769588" y="213802"/>
                  <a:pt x="3777832" y="212371"/>
                  <a:pt x="3786414" y="211193"/>
                </a:cubicBezTo>
                <a:cubicBezTo>
                  <a:pt x="3794996" y="210015"/>
                  <a:pt x="3803158" y="209427"/>
                  <a:pt x="3810898" y="209427"/>
                </a:cubicBezTo>
                <a:cubicBezTo>
                  <a:pt x="3831764" y="209427"/>
                  <a:pt x="3849770" y="211867"/>
                  <a:pt x="3864916" y="216746"/>
                </a:cubicBezTo>
                <a:cubicBezTo>
                  <a:pt x="3880060" y="221626"/>
                  <a:pt x="3892512" y="228526"/>
                  <a:pt x="3902272" y="237444"/>
                </a:cubicBezTo>
                <a:cubicBezTo>
                  <a:pt x="3912032" y="246363"/>
                  <a:pt x="3919268" y="256880"/>
                  <a:pt x="3923980" y="268996"/>
                </a:cubicBezTo>
                <a:cubicBezTo>
                  <a:pt x="3928692" y="281112"/>
                  <a:pt x="3931048" y="294405"/>
                  <a:pt x="3931048" y="308877"/>
                </a:cubicBezTo>
                <a:cubicBezTo>
                  <a:pt x="3931048" y="327051"/>
                  <a:pt x="3926588" y="342700"/>
                  <a:pt x="3917668" y="355826"/>
                </a:cubicBezTo>
                <a:cubicBezTo>
                  <a:pt x="3908750" y="368951"/>
                  <a:pt x="3896214" y="378879"/>
                  <a:pt x="3880060" y="385610"/>
                </a:cubicBezTo>
                <a:cubicBezTo>
                  <a:pt x="3891840" y="391668"/>
                  <a:pt x="3901262" y="400419"/>
                  <a:pt x="3908330" y="411861"/>
                </a:cubicBezTo>
                <a:cubicBezTo>
                  <a:pt x="3915398" y="423304"/>
                  <a:pt x="3918932" y="435252"/>
                  <a:pt x="3918932" y="447704"/>
                </a:cubicBezTo>
                <a:cubicBezTo>
                  <a:pt x="3918932" y="460156"/>
                  <a:pt x="3916912" y="471767"/>
                  <a:pt x="3912874" y="482537"/>
                </a:cubicBezTo>
                <a:cubicBezTo>
                  <a:pt x="3908834" y="493306"/>
                  <a:pt x="3902608" y="502646"/>
                  <a:pt x="3894196" y="510555"/>
                </a:cubicBezTo>
                <a:cubicBezTo>
                  <a:pt x="3885780" y="518464"/>
                  <a:pt x="3875096" y="524606"/>
                  <a:pt x="3862138" y="528981"/>
                </a:cubicBezTo>
                <a:cubicBezTo>
                  <a:pt x="3849180" y="533356"/>
                  <a:pt x="3833952" y="535544"/>
                  <a:pt x="3816452" y="535544"/>
                </a:cubicBezTo>
                <a:close/>
                <a:moveTo>
                  <a:pt x="3567354" y="535544"/>
                </a:moveTo>
                <a:cubicBezTo>
                  <a:pt x="3549854" y="535544"/>
                  <a:pt x="3532268" y="532178"/>
                  <a:pt x="3514600" y="525447"/>
                </a:cubicBezTo>
                <a:cubicBezTo>
                  <a:pt x="3496930" y="518716"/>
                  <a:pt x="3481366" y="508283"/>
                  <a:pt x="3467904" y="494148"/>
                </a:cubicBezTo>
                <a:lnTo>
                  <a:pt x="3498698" y="450733"/>
                </a:lnTo>
                <a:cubicBezTo>
                  <a:pt x="3509130" y="461839"/>
                  <a:pt x="3519732" y="469748"/>
                  <a:pt x="3530502" y="474460"/>
                </a:cubicBezTo>
                <a:cubicBezTo>
                  <a:pt x="3541272" y="479171"/>
                  <a:pt x="3551536" y="481527"/>
                  <a:pt x="3561296" y="481527"/>
                </a:cubicBezTo>
                <a:cubicBezTo>
                  <a:pt x="3573076" y="481527"/>
                  <a:pt x="3582836" y="478078"/>
                  <a:pt x="3590576" y="471178"/>
                </a:cubicBezTo>
                <a:cubicBezTo>
                  <a:pt x="3598316" y="464279"/>
                  <a:pt x="3602186" y="454435"/>
                  <a:pt x="3602188" y="441646"/>
                </a:cubicBezTo>
                <a:cubicBezTo>
                  <a:pt x="3602186" y="432559"/>
                  <a:pt x="3599074" y="423641"/>
                  <a:pt x="3592848" y="414890"/>
                </a:cubicBezTo>
                <a:cubicBezTo>
                  <a:pt x="3586622" y="406140"/>
                  <a:pt x="3578712" y="397053"/>
                  <a:pt x="3569120" y="387630"/>
                </a:cubicBezTo>
                <a:cubicBezTo>
                  <a:pt x="3559528" y="378206"/>
                  <a:pt x="3549264" y="368362"/>
                  <a:pt x="3538326" y="358097"/>
                </a:cubicBezTo>
                <a:cubicBezTo>
                  <a:pt x="3527388" y="347833"/>
                  <a:pt x="3517124" y="336727"/>
                  <a:pt x="3507532" y="324779"/>
                </a:cubicBezTo>
                <a:cubicBezTo>
                  <a:pt x="3497940" y="312831"/>
                  <a:pt x="3490032" y="299790"/>
                  <a:pt x="3483806" y="285655"/>
                </a:cubicBezTo>
                <a:cubicBezTo>
                  <a:pt x="3477580" y="271520"/>
                  <a:pt x="3474466" y="256039"/>
                  <a:pt x="3474466" y="239211"/>
                </a:cubicBezTo>
                <a:cubicBezTo>
                  <a:pt x="3474466" y="237192"/>
                  <a:pt x="3474382" y="233658"/>
                  <a:pt x="3474214" y="228610"/>
                </a:cubicBezTo>
                <a:cubicBezTo>
                  <a:pt x="3474046" y="223562"/>
                  <a:pt x="3474466" y="219355"/>
                  <a:pt x="3475476" y="215989"/>
                </a:cubicBezTo>
                <a:lnTo>
                  <a:pt x="3679426" y="215989"/>
                </a:lnTo>
                <a:lnTo>
                  <a:pt x="3679426" y="267481"/>
                </a:lnTo>
                <a:lnTo>
                  <a:pt x="3545142" y="267481"/>
                </a:lnTo>
                <a:cubicBezTo>
                  <a:pt x="3545142" y="272530"/>
                  <a:pt x="3546908" y="278083"/>
                  <a:pt x="3550442" y="284141"/>
                </a:cubicBezTo>
                <a:cubicBezTo>
                  <a:pt x="3553976" y="290198"/>
                  <a:pt x="3558268" y="296172"/>
                  <a:pt x="3563316" y="302062"/>
                </a:cubicBezTo>
                <a:cubicBezTo>
                  <a:pt x="3568364" y="307952"/>
                  <a:pt x="3573748" y="313673"/>
                  <a:pt x="3579470" y="319226"/>
                </a:cubicBezTo>
                <a:cubicBezTo>
                  <a:pt x="3585190" y="324779"/>
                  <a:pt x="3590240" y="329575"/>
                  <a:pt x="3594614" y="333613"/>
                </a:cubicBezTo>
                <a:cubicBezTo>
                  <a:pt x="3603364" y="341691"/>
                  <a:pt x="3611946" y="350104"/>
                  <a:pt x="3620360" y="358855"/>
                </a:cubicBezTo>
                <a:cubicBezTo>
                  <a:pt x="3628774" y="367605"/>
                  <a:pt x="3636346" y="376692"/>
                  <a:pt x="3643078" y="386115"/>
                </a:cubicBezTo>
                <a:cubicBezTo>
                  <a:pt x="3649808" y="395539"/>
                  <a:pt x="3655194" y="405214"/>
                  <a:pt x="3659232" y="415143"/>
                </a:cubicBezTo>
                <a:cubicBezTo>
                  <a:pt x="3663270" y="425071"/>
                  <a:pt x="3665290" y="435420"/>
                  <a:pt x="3665290" y="446189"/>
                </a:cubicBezTo>
                <a:cubicBezTo>
                  <a:pt x="3665290" y="460998"/>
                  <a:pt x="3662598" y="474039"/>
                  <a:pt x="3657212" y="485313"/>
                </a:cubicBezTo>
                <a:cubicBezTo>
                  <a:pt x="3651828" y="496588"/>
                  <a:pt x="3644592" y="505927"/>
                  <a:pt x="3635506" y="513331"/>
                </a:cubicBezTo>
                <a:cubicBezTo>
                  <a:pt x="3626418" y="520735"/>
                  <a:pt x="3615986" y="526288"/>
                  <a:pt x="3604206" y="529990"/>
                </a:cubicBezTo>
                <a:cubicBezTo>
                  <a:pt x="3592426" y="533692"/>
                  <a:pt x="3580142" y="535544"/>
                  <a:pt x="3567354" y="535544"/>
                </a:cubicBezTo>
                <a:close/>
                <a:moveTo>
                  <a:pt x="3324752" y="535544"/>
                </a:moveTo>
                <a:cubicBezTo>
                  <a:pt x="3290088" y="535544"/>
                  <a:pt x="3263332" y="522081"/>
                  <a:pt x="3244486" y="495157"/>
                </a:cubicBezTo>
                <a:cubicBezTo>
                  <a:pt x="3225638" y="468233"/>
                  <a:pt x="3216214" y="427511"/>
                  <a:pt x="3216214" y="372990"/>
                </a:cubicBezTo>
                <a:cubicBezTo>
                  <a:pt x="3216214" y="317796"/>
                  <a:pt x="3225470" y="276737"/>
                  <a:pt x="3243980" y="249813"/>
                </a:cubicBezTo>
                <a:cubicBezTo>
                  <a:pt x="3262490" y="222889"/>
                  <a:pt x="3289414" y="209427"/>
                  <a:pt x="3324752" y="209427"/>
                </a:cubicBezTo>
                <a:cubicBezTo>
                  <a:pt x="3360090" y="209427"/>
                  <a:pt x="3387014" y="222889"/>
                  <a:pt x="3405524" y="249813"/>
                </a:cubicBezTo>
                <a:cubicBezTo>
                  <a:pt x="3424034" y="276737"/>
                  <a:pt x="3433290" y="317796"/>
                  <a:pt x="3433290" y="372990"/>
                </a:cubicBezTo>
                <a:cubicBezTo>
                  <a:pt x="3433290" y="427847"/>
                  <a:pt x="3424034" y="468654"/>
                  <a:pt x="3405524" y="495410"/>
                </a:cubicBezTo>
                <a:cubicBezTo>
                  <a:pt x="3387014" y="522166"/>
                  <a:pt x="3360090" y="535544"/>
                  <a:pt x="3324752" y="535544"/>
                </a:cubicBezTo>
                <a:close/>
                <a:moveTo>
                  <a:pt x="3062528" y="535544"/>
                </a:moveTo>
                <a:cubicBezTo>
                  <a:pt x="3045028" y="535544"/>
                  <a:pt x="3027444" y="532178"/>
                  <a:pt x="3009774" y="525447"/>
                </a:cubicBezTo>
                <a:cubicBezTo>
                  <a:pt x="2992106" y="518716"/>
                  <a:pt x="2976540" y="508283"/>
                  <a:pt x="2963078" y="494148"/>
                </a:cubicBezTo>
                <a:lnTo>
                  <a:pt x="2993872" y="450733"/>
                </a:lnTo>
                <a:cubicBezTo>
                  <a:pt x="3004306" y="461839"/>
                  <a:pt x="3014908" y="469748"/>
                  <a:pt x="3025676" y="474460"/>
                </a:cubicBezTo>
                <a:cubicBezTo>
                  <a:pt x="3036446" y="479171"/>
                  <a:pt x="3046712" y="481527"/>
                  <a:pt x="3056472" y="481527"/>
                </a:cubicBezTo>
                <a:cubicBezTo>
                  <a:pt x="3068250" y="481527"/>
                  <a:pt x="3078010" y="478078"/>
                  <a:pt x="3085752" y="471178"/>
                </a:cubicBezTo>
                <a:cubicBezTo>
                  <a:pt x="3093492" y="464279"/>
                  <a:pt x="3097362" y="454435"/>
                  <a:pt x="3097362" y="441646"/>
                </a:cubicBezTo>
                <a:cubicBezTo>
                  <a:pt x="3097362" y="432559"/>
                  <a:pt x="3094248" y="423641"/>
                  <a:pt x="3088022" y="414890"/>
                </a:cubicBezTo>
                <a:cubicBezTo>
                  <a:pt x="3081796" y="406140"/>
                  <a:pt x="3073888" y="397053"/>
                  <a:pt x="3064296" y="387630"/>
                </a:cubicBezTo>
                <a:cubicBezTo>
                  <a:pt x="3054704" y="378206"/>
                  <a:pt x="3044440" y="368362"/>
                  <a:pt x="3033502" y="358097"/>
                </a:cubicBezTo>
                <a:cubicBezTo>
                  <a:pt x="3022564" y="347833"/>
                  <a:pt x="3012298" y="336727"/>
                  <a:pt x="3002708" y="324779"/>
                </a:cubicBezTo>
                <a:cubicBezTo>
                  <a:pt x="2993116" y="312831"/>
                  <a:pt x="2985206" y="299790"/>
                  <a:pt x="2978980" y="285655"/>
                </a:cubicBezTo>
                <a:cubicBezTo>
                  <a:pt x="2972754" y="271520"/>
                  <a:pt x="2969642" y="256039"/>
                  <a:pt x="2969642" y="239211"/>
                </a:cubicBezTo>
                <a:cubicBezTo>
                  <a:pt x="2969642" y="237192"/>
                  <a:pt x="2969558" y="233658"/>
                  <a:pt x="2969388" y="228610"/>
                </a:cubicBezTo>
                <a:cubicBezTo>
                  <a:pt x="2969220" y="223562"/>
                  <a:pt x="2969640" y="219355"/>
                  <a:pt x="2970650" y="215989"/>
                </a:cubicBezTo>
                <a:lnTo>
                  <a:pt x="3174600" y="215989"/>
                </a:lnTo>
                <a:lnTo>
                  <a:pt x="3174600" y="267481"/>
                </a:lnTo>
                <a:lnTo>
                  <a:pt x="3040316" y="267481"/>
                </a:lnTo>
                <a:cubicBezTo>
                  <a:pt x="3040316" y="272530"/>
                  <a:pt x="3042084" y="278083"/>
                  <a:pt x="3045618" y="284141"/>
                </a:cubicBezTo>
                <a:cubicBezTo>
                  <a:pt x="3049152" y="290198"/>
                  <a:pt x="3053442" y="296172"/>
                  <a:pt x="3058490" y="302062"/>
                </a:cubicBezTo>
                <a:cubicBezTo>
                  <a:pt x="3063538" y="307952"/>
                  <a:pt x="3068924" y="313673"/>
                  <a:pt x="3074644" y="319226"/>
                </a:cubicBezTo>
                <a:cubicBezTo>
                  <a:pt x="3080366" y="324779"/>
                  <a:pt x="3085414" y="329575"/>
                  <a:pt x="3089790" y="333613"/>
                </a:cubicBezTo>
                <a:cubicBezTo>
                  <a:pt x="3098540" y="341691"/>
                  <a:pt x="3107122" y="350104"/>
                  <a:pt x="3115536" y="358855"/>
                </a:cubicBezTo>
                <a:cubicBezTo>
                  <a:pt x="3123950" y="367605"/>
                  <a:pt x="3131522" y="376692"/>
                  <a:pt x="3138252" y="386115"/>
                </a:cubicBezTo>
                <a:cubicBezTo>
                  <a:pt x="3144984" y="395539"/>
                  <a:pt x="3150368" y="405214"/>
                  <a:pt x="3154408" y="415143"/>
                </a:cubicBezTo>
                <a:cubicBezTo>
                  <a:pt x="3158446" y="425071"/>
                  <a:pt x="3160464" y="435420"/>
                  <a:pt x="3160464" y="446189"/>
                </a:cubicBezTo>
                <a:cubicBezTo>
                  <a:pt x="3160464" y="460998"/>
                  <a:pt x="3157772" y="474039"/>
                  <a:pt x="3152388" y="485313"/>
                </a:cubicBezTo>
                <a:cubicBezTo>
                  <a:pt x="3147002" y="496588"/>
                  <a:pt x="3139766" y="505927"/>
                  <a:pt x="3130680" y="513331"/>
                </a:cubicBezTo>
                <a:cubicBezTo>
                  <a:pt x="3121594" y="520735"/>
                  <a:pt x="3111160" y="526288"/>
                  <a:pt x="3099382" y="529990"/>
                </a:cubicBezTo>
                <a:cubicBezTo>
                  <a:pt x="3087602" y="533692"/>
                  <a:pt x="3075318" y="535544"/>
                  <a:pt x="3062528" y="535544"/>
                </a:cubicBezTo>
                <a:close/>
                <a:moveTo>
                  <a:pt x="2292890" y="561290"/>
                </a:moveTo>
                <a:cubicBezTo>
                  <a:pt x="2282120" y="561290"/>
                  <a:pt x="2272949" y="557756"/>
                  <a:pt x="2265377" y="550688"/>
                </a:cubicBezTo>
                <a:cubicBezTo>
                  <a:pt x="2257805" y="543621"/>
                  <a:pt x="2254018" y="533861"/>
                  <a:pt x="2254018" y="521408"/>
                </a:cubicBezTo>
                <a:cubicBezTo>
                  <a:pt x="2254018" y="509293"/>
                  <a:pt x="2257805" y="499701"/>
                  <a:pt x="2265377" y="492633"/>
                </a:cubicBezTo>
                <a:cubicBezTo>
                  <a:pt x="2272949" y="485566"/>
                  <a:pt x="2282120" y="482032"/>
                  <a:pt x="2292890" y="482032"/>
                </a:cubicBezTo>
                <a:cubicBezTo>
                  <a:pt x="2303660" y="482032"/>
                  <a:pt x="2312914" y="485566"/>
                  <a:pt x="2320655" y="492633"/>
                </a:cubicBezTo>
                <a:cubicBezTo>
                  <a:pt x="2328396" y="499701"/>
                  <a:pt x="2332266" y="509293"/>
                  <a:pt x="2332266" y="521408"/>
                </a:cubicBezTo>
                <a:cubicBezTo>
                  <a:pt x="2332266" y="533861"/>
                  <a:pt x="2328396" y="543621"/>
                  <a:pt x="2320655" y="550688"/>
                </a:cubicBezTo>
                <a:cubicBezTo>
                  <a:pt x="2312914" y="557756"/>
                  <a:pt x="2303660" y="561290"/>
                  <a:pt x="2292890" y="561290"/>
                </a:cubicBezTo>
                <a:close/>
                <a:moveTo>
                  <a:pt x="1959420" y="563309"/>
                </a:moveTo>
                <a:lnTo>
                  <a:pt x="1959420" y="511817"/>
                </a:lnTo>
                <a:lnTo>
                  <a:pt x="2025047" y="511817"/>
                </a:lnTo>
                <a:lnTo>
                  <a:pt x="2025047" y="310392"/>
                </a:lnTo>
                <a:cubicBezTo>
                  <a:pt x="2025047" y="277746"/>
                  <a:pt x="2031610" y="252926"/>
                  <a:pt x="2044735" y="235930"/>
                </a:cubicBezTo>
                <a:cubicBezTo>
                  <a:pt x="2057860" y="218934"/>
                  <a:pt x="2078727" y="210436"/>
                  <a:pt x="2107333" y="210436"/>
                </a:cubicBezTo>
                <a:cubicBezTo>
                  <a:pt x="2117767" y="210436"/>
                  <a:pt x="2127106" y="211109"/>
                  <a:pt x="2135351" y="212455"/>
                </a:cubicBezTo>
                <a:cubicBezTo>
                  <a:pt x="2143597" y="213802"/>
                  <a:pt x="2150580" y="215400"/>
                  <a:pt x="2156302" y="217251"/>
                </a:cubicBezTo>
                <a:cubicBezTo>
                  <a:pt x="2162023" y="219102"/>
                  <a:pt x="2166650" y="220869"/>
                  <a:pt x="2170184" y="222552"/>
                </a:cubicBezTo>
                <a:cubicBezTo>
                  <a:pt x="2173718" y="224235"/>
                  <a:pt x="2175990" y="225413"/>
                  <a:pt x="2176999" y="226086"/>
                </a:cubicBezTo>
                <a:lnTo>
                  <a:pt x="2168922" y="276063"/>
                </a:lnTo>
                <a:cubicBezTo>
                  <a:pt x="2166230" y="275054"/>
                  <a:pt x="2160677" y="272866"/>
                  <a:pt x="2152263" y="269501"/>
                </a:cubicBezTo>
                <a:cubicBezTo>
                  <a:pt x="2143849" y="266135"/>
                  <a:pt x="2133416" y="264452"/>
                  <a:pt x="2120964" y="264452"/>
                </a:cubicBezTo>
                <a:cubicBezTo>
                  <a:pt x="2111204" y="264452"/>
                  <a:pt x="2103126" y="267313"/>
                  <a:pt x="2096732" y="273034"/>
                </a:cubicBezTo>
                <a:cubicBezTo>
                  <a:pt x="2090338" y="278756"/>
                  <a:pt x="2087140" y="289694"/>
                  <a:pt x="2087140" y="305848"/>
                </a:cubicBezTo>
                <a:lnTo>
                  <a:pt x="2087140" y="563309"/>
                </a:lnTo>
                <a:close/>
                <a:moveTo>
                  <a:pt x="1607052" y="565833"/>
                </a:moveTo>
                <a:cubicBezTo>
                  <a:pt x="1594263" y="565833"/>
                  <a:pt x="1581811" y="564234"/>
                  <a:pt x="1569695" y="561037"/>
                </a:cubicBezTo>
                <a:cubicBezTo>
                  <a:pt x="1557579" y="557840"/>
                  <a:pt x="1546810" y="552455"/>
                  <a:pt x="1537386" y="544883"/>
                </a:cubicBezTo>
                <a:cubicBezTo>
                  <a:pt x="1527963" y="537310"/>
                  <a:pt x="1520474" y="527214"/>
                  <a:pt x="1514921" y="514593"/>
                </a:cubicBezTo>
                <a:cubicBezTo>
                  <a:pt x="1509368" y="501973"/>
                  <a:pt x="1506592" y="486071"/>
                  <a:pt x="1506592" y="466887"/>
                </a:cubicBezTo>
                <a:lnTo>
                  <a:pt x="1506592" y="453257"/>
                </a:lnTo>
                <a:lnTo>
                  <a:pt x="1454595" y="453257"/>
                </a:lnTo>
                <a:lnTo>
                  <a:pt x="1454595" y="401765"/>
                </a:lnTo>
                <a:lnTo>
                  <a:pt x="1506592" y="401765"/>
                </a:lnTo>
                <a:lnTo>
                  <a:pt x="1506592" y="215989"/>
                </a:lnTo>
                <a:lnTo>
                  <a:pt x="1569190" y="215989"/>
                </a:lnTo>
                <a:lnTo>
                  <a:pt x="1569190" y="401765"/>
                </a:lnTo>
                <a:lnTo>
                  <a:pt x="1666621" y="401765"/>
                </a:lnTo>
                <a:lnTo>
                  <a:pt x="1666621" y="453257"/>
                </a:lnTo>
                <a:lnTo>
                  <a:pt x="1569190" y="453257"/>
                </a:lnTo>
                <a:lnTo>
                  <a:pt x="1569190" y="465878"/>
                </a:lnTo>
                <a:cubicBezTo>
                  <a:pt x="1569190" y="475974"/>
                  <a:pt x="1570368" y="484135"/>
                  <a:pt x="1572724" y="490362"/>
                </a:cubicBezTo>
                <a:cubicBezTo>
                  <a:pt x="1575080" y="496588"/>
                  <a:pt x="1578193" y="501384"/>
                  <a:pt x="1582063" y="504749"/>
                </a:cubicBezTo>
                <a:cubicBezTo>
                  <a:pt x="1585933" y="508115"/>
                  <a:pt x="1590477" y="510302"/>
                  <a:pt x="1595693" y="511312"/>
                </a:cubicBezTo>
                <a:cubicBezTo>
                  <a:pt x="1600910" y="512322"/>
                  <a:pt x="1606379" y="512826"/>
                  <a:pt x="1612100" y="512826"/>
                </a:cubicBezTo>
                <a:cubicBezTo>
                  <a:pt x="1622533" y="512826"/>
                  <a:pt x="1633555" y="511396"/>
                  <a:pt x="1645166" y="508535"/>
                </a:cubicBezTo>
                <a:cubicBezTo>
                  <a:pt x="1656777" y="505675"/>
                  <a:pt x="1666453" y="502898"/>
                  <a:pt x="1674194" y="500206"/>
                </a:cubicBezTo>
                <a:lnTo>
                  <a:pt x="1684795" y="550688"/>
                </a:lnTo>
                <a:cubicBezTo>
                  <a:pt x="1673689" y="556073"/>
                  <a:pt x="1661236" y="559943"/>
                  <a:pt x="1647438" y="562299"/>
                </a:cubicBezTo>
                <a:cubicBezTo>
                  <a:pt x="1633639" y="564655"/>
                  <a:pt x="1620178" y="565833"/>
                  <a:pt x="1607052" y="565833"/>
                </a:cubicBezTo>
                <a:close/>
                <a:moveTo>
                  <a:pt x="0" y="796029"/>
                </a:moveTo>
                <a:lnTo>
                  <a:pt x="4876802" y="796029"/>
                </a:lnTo>
                <a:lnTo>
                  <a:pt x="4824822" y="344498"/>
                </a:lnTo>
                <a:cubicBezTo>
                  <a:pt x="4801968" y="145891"/>
                  <a:pt x="4682292" y="207"/>
                  <a:pt x="4541980" y="155"/>
                </a:cubicBezTo>
                <a:lnTo>
                  <a:pt x="0" y="0"/>
                </a:lnTo>
                <a:close/>
              </a:path>
            </a:pathLst>
          </a:custGeom>
          <a:solidFill>
            <a:schemeClr val="bg1"/>
          </a:solidFill>
          <a:ln w="2834" cap="flat">
            <a:noFill/>
            <a:prstDash val="solid"/>
            <a:miter/>
          </a:ln>
        </p:spPr>
        <p:txBody>
          <a:bodyPr wrap="square" rtlCol="0" anchor="ctr">
            <a:noAutofit/>
          </a:bodyPr>
          <a:lstStyle/>
          <a:p>
            <a:endParaRPr lang="en-US"/>
          </a:p>
        </p:txBody>
      </p:sp>
      <p:pic>
        <p:nvPicPr>
          <p:cNvPr id="11" name="Imagen 10" descr="Un dibujo de una cara feliz&#10;&#10;Descripción generada automáticamente con confianza baja">
            <a:extLst>
              <a:ext uri="{FF2B5EF4-FFF2-40B4-BE49-F238E27FC236}">
                <a16:creationId xmlns:a16="http://schemas.microsoft.com/office/drawing/2014/main" id="{AAE5E7C8-61FF-4E9E-B7AA-24C524932BC4}"/>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7824450" y="406400"/>
            <a:ext cx="1801936" cy="934010"/>
          </a:xfrm>
          <a:prstGeom prst="rect">
            <a:avLst/>
          </a:prstGeom>
        </p:spPr>
      </p:pic>
    </p:spTree>
    <p:extLst>
      <p:ext uri="{BB962C8B-B14F-4D97-AF65-F5344CB8AC3E}">
        <p14:creationId xmlns:p14="http://schemas.microsoft.com/office/powerpoint/2010/main" val="34794885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Closing1">
    <p:spTree>
      <p:nvGrpSpPr>
        <p:cNvPr id="1" name=""/>
        <p:cNvGrpSpPr/>
        <p:nvPr/>
      </p:nvGrpSpPr>
      <p:grpSpPr>
        <a:xfrm>
          <a:off x="0" y="0"/>
          <a:ext cx="0" cy="0"/>
          <a:chOff x="0" y="0"/>
          <a:chExt cx="0" cy="0"/>
        </a:xfrm>
      </p:grpSpPr>
      <p:sp>
        <p:nvSpPr>
          <p:cNvPr id="24" name="Freeform 23"/>
          <p:cNvSpPr/>
          <p:nvPr userDrawn="1"/>
        </p:nvSpPr>
        <p:spPr>
          <a:xfrm>
            <a:off x="2" y="0"/>
            <a:ext cx="11604487" cy="11328400"/>
          </a:xfrm>
          <a:custGeom>
            <a:avLst/>
            <a:gdLst>
              <a:gd name="connsiteX0" fmla="*/ 0 w 7037465"/>
              <a:gd name="connsiteY0" fmla="*/ 0 h 6858000"/>
              <a:gd name="connsiteX1" fmla="*/ 7037465 w 7037465"/>
              <a:gd name="connsiteY1" fmla="*/ 0 h 6858000"/>
              <a:gd name="connsiteX2" fmla="*/ 7037465 w 7037465"/>
              <a:gd name="connsiteY2" fmla="*/ 114293 h 6858000"/>
              <a:gd name="connsiteX3" fmla="*/ 7037465 w 7037465"/>
              <a:gd name="connsiteY3" fmla="*/ 2657010 h 6858000"/>
              <a:gd name="connsiteX4" fmla="*/ 3733176 w 7037465"/>
              <a:gd name="connsiteY4" fmla="*/ 6564069 h 6858000"/>
              <a:gd name="connsiteX5" fmla="*/ 2097225 w 7037465"/>
              <a:gd name="connsiteY5" fmla="*/ 6832749 h 6858000"/>
              <a:gd name="connsiteX6" fmla="*/ 1943476 w 7037465"/>
              <a:gd name="connsiteY6" fmla="*/ 6858000 h 6858000"/>
              <a:gd name="connsiteX7" fmla="*/ 0 w 7037465"/>
              <a:gd name="connsiteY7" fmla="*/ 6858000 h 6858000"/>
              <a:gd name="connsiteX8" fmla="*/ 0 w 7037465"/>
              <a:gd name="connsiteY8"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37465" h="6858000">
                <a:moveTo>
                  <a:pt x="0" y="0"/>
                </a:moveTo>
                <a:lnTo>
                  <a:pt x="7037465" y="0"/>
                </a:lnTo>
                <a:lnTo>
                  <a:pt x="7037465" y="114293"/>
                </a:lnTo>
                <a:cubicBezTo>
                  <a:pt x="7037465" y="2657010"/>
                  <a:pt x="7037465" y="2657010"/>
                  <a:pt x="7037465" y="2657010"/>
                </a:cubicBezTo>
                <a:cubicBezTo>
                  <a:pt x="7037465" y="4603435"/>
                  <a:pt x="5647678" y="6251504"/>
                  <a:pt x="3733176" y="6564069"/>
                </a:cubicBezTo>
                <a:cubicBezTo>
                  <a:pt x="3099579" y="6668128"/>
                  <a:pt x="2558794" y="6756943"/>
                  <a:pt x="2097225" y="6832749"/>
                </a:cubicBezTo>
                <a:lnTo>
                  <a:pt x="1943476" y="6858000"/>
                </a:lnTo>
                <a:lnTo>
                  <a:pt x="0" y="6858000"/>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09" dirty="0">
              <a:solidFill>
                <a:schemeClr val="tx1"/>
              </a:solidFill>
            </a:endParaRP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6890336" y="679706"/>
            <a:ext cx="2600965" cy="1355257"/>
          </a:xfrm>
          <a:prstGeom prst="rect">
            <a:avLst/>
          </a:prstGeom>
        </p:spPr>
      </p:pic>
      <p:sp>
        <p:nvSpPr>
          <p:cNvPr id="15" name="Rectangle 14"/>
          <p:cNvSpPr/>
          <p:nvPr userDrawn="1"/>
        </p:nvSpPr>
        <p:spPr>
          <a:xfrm>
            <a:off x="672755" y="3827726"/>
            <a:ext cx="3660622" cy="3875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3298"/>
              </a:lnSpc>
            </a:pPr>
            <a:r>
              <a:rPr lang="en-US" sz="2638" dirty="0">
                <a:solidFill>
                  <a:schemeClr val="bg1"/>
                </a:solidFill>
              </a:rPr>
              <a:t>About Sogeti</a:t>
            </a:r>
          </a:p>
        </p:txBody>
      </p:sp>
      <p:sp>
        <p:nvSpPr>
          <p:cNvPr id="23" name="Rectangle 22"/>
          <p:cNvSpPr/>
          <p:nvPr userDrawn="1"/>
        </p:nvSpPr>
        <p:spPr>
          <a:xfrm>
            <a:off x="13695918" y="9521242"/>
            <a:ext cx="5792495" cy="737253"/>
          </a:xfrm>
          <a:prstGeom prst="rect">
            <a:avLst/>
          </a:prstGeom>
        </p:spPr>
        <p:txBody>
          <a:bodyPr wrap="square" lIns="0" tIns="0" rIns="0" bIns="0" anchor="b" anchorCtr="0">
            <a:spAutoFit/>
          </a:bodyPr>
          <a:lstStyle/>
          <a:p>
            <a:pPr algn="r">
              <a:spcAft>
                <a:spcPts val="989"/>
              </a:spcAft>
            </a:pPr>
            <a:r>
              <a:rPr lang="en-US" sz="1319" noProof="0" dirty="0">
                <a:solidFill>
                  <a:schemeClr val="tx1"/>
                </a:solidFill>
                <a:latin typeface="+mn-lt"/>
                <a:cs typeface="Arial"/>
              </a:rPr>
              <a:t>This message contains information that may be privileged or confidential and is the property of the Sogeti Group.</a:t>
            </a:r>
          </a:p>
          <a:p>
            <a:pPr algn="r">
              <a:spcAft>
                <a:spcPts val="989"/>
              </a:spcAft>
            </a:pPr>
            <a:r>
              <a:rPr lang="en-US" sz="1319" noProof="0" dirty="0">
                <a:solidFill>
                  <a:schemeClr val="tx1"/>
                </a:solidFill>
                <a:latin typeface="+mn-lt"/>
                <a:cs typeface="Arial"/>
              </a:rPr>
              <a:t>Copyright</a:t>
            </a:r>
            <a:r>
              <a:rPr lang="en-US" sz="1319" baseline="0" noProof="0" dirty="0">
                <a:solidFill>
                  <a:schemeClr val="tx1"/>
                </a:solidFill>
                <a:latin typeface="+mn-lt"/>
                <a:cs typeface="Arial"/>
              </a:rPr>
              <a:t>©</a:t>
            </a:r>
            <a:r>
              <a:rPr lang="en-US" sz="1319" noProof="0" dirty="0">
                <a:solidFill>
                  <a:schemeClr val="tx1"/>
                </a:solidFill>
                <a:latin typeface="+mn-lt"/>
                <a:cs typeface="Arial"/>
              </a:rPr>
              <a:t> 2020 Sogeti. All rights reserved.</a:t>
            </a:r>
          </a:p>
        </p:txBody>
      </p:sp>
      <p:sp>
        <p:nvSpPr>
          <p:cNvPr id="26" name="Rectangle 25">
            <a:hlinkClick r:id="rId3"/>
          </p:cNvPr>
          <p:cNvSpPr/>
          <p:nvPr userDrawn="1"/>
        </p:nvSpPr>
        <p:spPr>
          <a:xfrm>
            <a:off x="17694749" y="6297015"/>
            <a:ext cx="1162268" cy="20594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hlinkClick r:id="rId4"/>
          </p:cNvPr>
          <p:cNvSpPr/>
          <p:nvPr userDrawn="1"/>
        </p:nvSpPr>
        <p:spPr>
          <a:xfrm>
            <a:off x="10771400" y="7343538"/>
            <a:ext cx="3053310" cy="303031"/>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0" name="Rectangle 29">
            <a:hlinkClick r:id="rId5"/>
          </p:cNvPr>
          <p:cNvSpPr/>
          <p:nvPr userDrawn="1"/>
        </p:nvSpPr>
        <p:spPr>
          <a:xfrm>
            <a:off x="672757" y="6997063"/>
            <a:ext cx="1822224" cy="304189"/>
          </a:xfrm>
          <a:prstGeom prst="rect">
            <a:avLst/>
          </a:prstGeom>
          <a:solidFill>
            <a:srgbClr val="000000">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1"/>
              </a:solidFill>
            </a:endParaRPr>
          </a:p>
        </p:txBody>
      </p:sp>
      <p:pic>
        <p:nvPicPr>
          <p:cNvPr id="21" name="Picture 2" descr="D:\My Work\Template\Icons\Social Media\LinkedIN.png">
            <a:hlinkClick r:id="rId6"/>
            <a:extLst>
              <a:ext uri="{FF2B5EF4-FFF2-40B4-BE49-F238E27FC236}">
                <a16:creationId xmlns:a16="http://schemas.microsoft.com/office/drawing/2014/main" id="{08F614DE-51DA-4BFF-8E53-D2741450B87F}"/>
              </a:ext>
            </a:extLst>
          </p:cNvPr>
          <p:cNvPicPr>
            <a:picLocks noChangeAspect="1" noChangeArrowheads="1"/>
          </p:cNvPicPr>
          <p:nvPr userDrawn="1"/>
        </p:nvPicPr>
        <p:blipFill>
          <a:blip r:embed="rId7" cstate="print">
            <a:duotone>
              <a:schemeClr val="accent2">
                <a:shade val="45000"/>
                <a:satMod val="135000"/>
              </a:schemeClr>
              <a:prstClr val="white"/>
            </a:duotone>
            <a:extLst>
              <a:ext uri="{BEBA8EAE-BF5A-486C-A8C5-ECC9F3942E4B}">
                <a14:imgProps xmlns:a14="http://schemas.microsoft.com/office/drawing/2010/main">
                  <a14:imgLayer r:embed="rId8">
                    <a14:imgEffect>
                      <a14:brightnessContrast bright="-100000"/>
                    </a14:imgEffect>
                  </a14:imgLayer>
                </a14:imgProps>
              </a:ext>
            </a:extLst>
          </a:blip>
          <a:srcRect/>
          <a:stretch>
            <a:fillRect/>
          </a:stretch>
        </p:blipFill>
        <p:spPr bwMode="auto">
          <a:xfrm>
            <a:off x="17617579" y="8559236"/>
            <a:ext cx="549425" cy="550389"/>
          </a:xfrm>
          <a:prstGeom prst="rect">
            <a:avLst/>
          </a:prstGeom>
          <a:noFill/>
        </p:spPr>
      </p:pic>
      <p:pic>
        <p:nvPicPr>
          <p:cNvPr id="22" name="Picture 5" descr="D:\My Work\Template\Icons\Social Media\Twitter.png">
            <a:hlinkClick r:id="rId9"/>
            <a:extLst>
              <a:ext uri="{FF2B5EF4-FFF2-40B4-BE49-F238E27FC236}">
                <a16:creationId xmlns:a16="http://schemas.microsoft.com/office/drawing/2014/main" id="{407A4AAB-4D4A-41A6-8AB1-41DD0D45E3A3}"/>
              </a:ext>
            </a:extLst>
          </p:cNvPr>
          <p:cNvPicPr>
            <a:picLocks noChangeAspect="1" noChangeArrowheads="1"/>
          </p:cNvPicPr>
          <p:nvPr userDrawn="1"/>
        </p:nvPicPr>
        <p:blipFill>
          <a:blip r:embed="rId10" cstate="print">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100000"/>
                    </a14:imgEffect>
                  </a14:imgLayer>
                </a14:imgProps>
              </a:ext>
            </a:extLst>
          </a:blip>
          <a:srcRect/>
          <a:stretch>
            <a:fillRect/>
          </a:stretch>
        </p:blipFill>
        <p:spPr bwMode="auto">
          <a:xfrm>
            <a:off x="18249751" y="8559236"/>
            <a:ext cx="549425" cy="550389"/>
          </a:xfrm>
          <a:prstGeom prst="rect">
            <a:avLst/>
          </a:prstGeom>
          <a:noFill/>
        </p:spPr>
      </p:pic>
      <p:pic>
        <p:nvPicPr>
          <p:cNvPr id="25" name="Picture 6" descr="D:\My Work\Template\Icons\Social Media\YouTube.png">
            <a:hlinkClick r:id="rId12"/>
            <a:extLst>
              <a:ext uri="{FF2B5EF4-FFF2-40B4-BE49-F238E27FC236}">
                <a16:creationId xmlns:a16="http://schemas.microsoft.com/office/drawing/2014/main" id="{B8D13D2F-BC30-4A06-B353-FAA883C674F8}"/>
              </a:ext>
            </a:extLst>
          </p:cNvPr>
          <p:cNvPicPr>
            <a:picLocks noChangeAspect="1" noChangeArrowheads="1"/>
          </p:cNvPicPr>
          <p:nvPr userDrawn="1"/>
        </p:nvPicPr>
        <p:blipFill>
          <a:blip r:embed="rId13" cstate="print">
            <a:duotone>
              <a:schemeClr val="accent2">
                <a:shade val="45000"/>
                <a:satMod val="135000"/>
              </a:schemeClr>
              <a:prstClr val="white"/>
            </a:duotone>
            <a:extLst>
              <a:ext uri="{BEBA8EAE-BF5A-486C-A8C5-ECC9F3942E4B}">
                <a14:imgProps xmlns:a14="http://schemas.microsoft.com/office/drawing/2010/main">
                  <a14:imgLayer r:embed="rId14">
                    <a14:imgEffect>
                      <a14:sharpenSoften amount="50000"/>
                    </a14:imgEffect>
                    <a14:imgEffect>
                      <a14:brightnessContrast bright="-100000"/>
                    </a14:imgEffect>
                  </a14:imgLayer>
                </a14:imgProps>
              </a:ext>
            </a:extLst>
          </a:blip>
          <a:srcRect/>
          <a:stretch>
            <a:fillRect/>
          </a:stretch>
        </p:blipFill>
        <p:spPr bwMode="auto">
          <a:xfrm>
            <a:off x="18881922" y="8559236"/>
            <a:ext cx="549425" cy="550389"/>
          </a:xfrm>
          <a:prstGeom prst="rect">
            <a:avLst/>
          </a:prstGeom>
          <a:noFill/>
        </p:spPr>
      </p:pic>
      <p:sp>
        <p:nvSpPr>
          <p:cNvPr id="17" name="Rectangle 16">
            <a:extLst>
              <a:ext uri="{FF2B5EF4-FFF2-40B4-BE49-F238E27FC236}">
                <a16:creationId xmlns:a16="http://schemas.microsoft.com/office/drawing/2014/main" id="{851D6730-9622-4316-9ACE-C0BFBC830794}"/>
              </a:ext>
            </a:extLst>
          </p:cNvPr>
          <p:cNvSpPr/>
          <p:nvPr userDrawn="1"/>
        </p:nvSpPr>
        <p:spPr>
          <a:xfrm>
            <a:off x="661542" y="4474734"/>
            <a:ext cx="8018429" cy="46348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1484" kern="1200" noProof="0" dirty="0">
                <a:solidFill>
                  <a:schemeClr val="bg1"/>
                </a:solidFill>
                <a:effectLst/>
                <a:latin typeface="+mn-lt"/>
                <a:ea typeface="+mn-ea"/>
                <a:cs typeface="+mn-cs"/>
              </a:rPr>
              <a:t>Part of the Sogeti Group, Sogeti operates in more than 100 locations globally. Working closely with clients and partners to take full advantage of the opportunities of technology, Sogeti combines agility and speed of implementation to tailor innovative future-focused solutions in Digital Assurance and Testing, Cloud and Cybersecurity, all fueled by AI and automation. With its hands-on ‘value in the making’ approach and passion for technology, Sogeti helps organizations implement their digital journeys at speed. </a:t>
            </a:r>
          </a:p>
          <a:p>
            <a:pPr algn="just"/>
            <a:r>
              <a:rPr lang="en-US" sz="1484" kern="1200" noProof="0" dirty="0">
                <a:solidFill>
                  <a:schemeClr val="bg1"/>
                </a:solidFill>
                <a:effectLst/>
                <a:latin typeface="+mn-lt"/>
                <a:ea typeface="+mn-ea"/>
                <a:cs typeface="+mn-cs"/>
              </a:rPr>
              <a:t> </a:t>
            </a:r>
          </a:p>
          <a:p>
            <a:pPr algn="just"/>
            <a:r>
              <a:rPr lang="en-GB" sz="1484" kern="1200" noProof="0" dirty="0">
                <a:solidFill>
                  <a:schemeClr val="bg1"/>
                </a:solidFill>
                <a:effectLst/>
                <a:latin typeface="+mn-lt"/>
                <a:ea typeface="+mn-ea"/>
                <a:cs typeface="+mn-cs"/>
              </a:rPr>
              <a:t>A global leader in consulting, technology services and digital transformation, Sogeti is at the forefront of innovation to address the entire breadth of clients’ opportunities in the evolving world of cloud, digital and platforms. Building on its strong 50-year heritage and deep industry-specific expertise, Sogeti enables organizations to realize their business ambitions through an array of services from strategy to operations. Sogeti is driven by the conviction that the business value of technology comes from and through people. It is a multicultural company of almost 220,000 team members in more than 40 countries. The Group reported 2019 global revenues of EUR 14.1 billion.</a:t>
            </a:r>
            <a:endParaRPr lang="en-US" sz="1484" i="1" kern="1200" noProof="0" dirty="0">
              <a:solidFill>
                <a:schemeClr val="bg1"/>
              </a:solidFill>
              <a:effectLst/>
              <a:latin typeface="+mn-lt"/>
              <a:ea typeface="+mn-ea"/>
              <a:cs typeface="+mn-cs"/>
            </a:endParaRPr>
          </a:p>
          <a:p>
            <a:pPr algn="just"/>
            <a:endParaRPr lang="en-US" sz="1484" kern="1200" noProof="0" dirty="0">
              <a:solidFill>
                <a:schemeClr val="bg1"/>
              </a:solidFill>
              <a:effectLst/>
              <a:latin typeface="+mn-lt"/>
              <a:ea typeface="+mn-ea"/>
              <a:cs typeface="+mn-cs"/>
            </a:endParaRPr>
          </a:p>
          <a:p>
            <a:pPr marL="0" marR="0" lvl="0" indent="0" algn="just" defTabSz="1507846" rtl="0" eaLnBrk="1" fontAlgn="auto" latinLnBrk="0" hangingPunct="1">
              <a:lnSpc>
                <a:spcPct val="100000"/>
              </a:lnSpc>
              <a:spcBef>
                <a:spcPts val="0"/>
              </a:spcBef>
              <a:spcAft>
                <a:spcPts val="0"/>
              </a:spcAft>
              <a:buClrTx/>
              <a:buSzTx/>
              <a:buFontTx/>
              <a:buNone/>
              <a:tabLst/>
              <a:defRPr/>
            </a:pPr>
            <a:r>
              <a:rPr lang="en-US" sz="1484" dirty="0">
                <a:solidFill>
                  <a:schemeClr val="bg1"/>
                </a:solidFill>
              </a:rPr>
              <a:t>Visit us at www.sogeti.com</a:t>
            </a:r>
            <a:endParaRPr lang="en-US" sz="1484" kern="1200" noProof="0" dirty="0">
              <a:solidFill>
                <a:schemeClr val="bg1"/>
              </a:solidFill>
              <a:effectLst/>
              <a:latin typeface="+mn-lt"/>
              <a:ea typeface="+mn-ea"/>
              <a:cs typeface="+mn-cs"/>
            </a:endParaRPr>
          </a:p>
        </p:txBody>
      </p:sp>
    </p:spTree>
    <p:extLst>
      <p:ext uri="{BB962C8B-B14F-4D97-AF65-F5344CB8AC3E}">
        <p14:creationId xmlns:p14="http://schemas.microsoft.com/office/powerpoint/2010/main" val="1670634085"/>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39542D-54C4-40B9-9294-D035C31C14D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0BF2268-B726-4530-A918-08FE43591E3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BC856B5-A18D-4ACF-A9DB-B4A7D4B68C15}"/>
              </a:ext>
            </a:extLst>
          </p:cNvPr>
          <p:cNvSpPr>
            <a:spLocks noGrp="1"/>
          </p:cNvSpPr>
          <p:nvPr>
            <p:ph type="dt" sz="half" idx="10"/>
          </p:nvPr>
        </p:nvSpPr>
        <p:spPr/>
        <p:txBody>
          <a:bodyPr/>
          <a:lstStyle/>
          <a:p>
            <a:fld id="{2AC579CE-2B74-4808-9561-C85A61995FCF}" type="datetimeFigureOut">
              <a:rPr lang="en-US" smtClean="0"/>
              <a:t>5/23/2023</a:t>
            </a:fld>
            <a:endParaRPr lang="en-US"/>
          </a:p>
        </p:txBody>
      </p:sp>
      <p:sp>
        <p:nvSpPr>
          <p:cNvPr id="5" name="Footer Placeholder 4">
            <a:extLst>
              <a:ext uri="{FF2B5EF4-FFF2-40B4-BE49-F238E27FC236}">
                <a16:creationId xmlns:a16="http://schemas.microsoft.com/office/drawing/2014/main" id="{A6294A3A-CBD8-4778-A2D6-569EDAB0D64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D0A28E1-91EE-4443-8872-C13FA8F0C032}"/>
              </a:ext>
            </a:extLst>
          </p:cNvPr>
          <p:cNvSpPr>
            <a:spLocks noGrp="1"/>
          </p:cNvSpPr>
          <p:nvPr>
            <p:ph type="sldNum" sz="quarter" idx="12"/>
          </p:nvPr>
        </p:nvSpPr>
        <p:spPr/>
        <p:txBody>
          <a:bodyPr/>
          <a:lstStyle/>
          <a:p>
            <a:fld id="{1D569D0D-A4B0-4AA2-8F45-DD96854AE112}" type="slidenum">
              <a:rPr lang="en-US" smtClean="0"/>
              <a:t>‹#›</a:t>
            </a:fld>
            <a:endParaRPr lang="en-US"/>
          </a:p>
        </p:txBody>
      </p:sp>
    </p:spTree>
    <p:extLst>
      <p:ext uri="{BB962C8B-B14F-4D97-AF65-F5344CB8AC3E}">
        <p14:creationId xmlns:p14="http://schemas.microsoft.com/office/powerpoint/2010/main" val="293867748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EC1A94F9-DC7A-4538-8277-70A44CA10105}"/>
              </a:ext>
            </a:extLst>
          </p:cNvPr>
          <p:cNvSpPr>
            <a:spLocks noGrp="1"/>
          </p:cNvSpPr>
          <p:nvPr>
            <p:ph type="pic" sz="quarter" idx="10"/>
          </p:nvPr>
        </p:nvSpPr>
        <p:spPr>
          <a:xfrm>
            <a:off x="1029140" y="3144157"/>
            <a:ext cx="2395216" cy="2761297"/>
          </a:xfrm>
          <a:prstGeom prst="rect">
            <a:avLst/>
          </a:prstGeom>
          <a:solidFill>
            <a:srgbClr val="D9D9D9"/>
          </a:solidFill>
        </p:spPr>
        <p:txBody>
          <a:bodyPr anchor="ctr"/>
          <a:lstStyle>
            <a:lvl1pPr algn="ctr">
              <a:defRPr/>
            </a:lvl1pPr>
          </a:lstStyle>
          <a:p>
            <a:endParaRPr lang="pt-PT"/>
          </a:p>
        </p:txBody>
      </p:sp>
      <p:sp>
        <p:nvSpPr>
          <p:cNvPr id="19" name="Picture Placeholder 17">
            <a:extLst>
              <a:ext uri="{FF2B5EF4-FFF2-40B4-BE49-F238E27FC236}">
                <a16:creationId xmlns:a16="http://schemas.microsoft.com/office/drawing/2014/main" id="{74E803A8-AB56-45EC-B2C1-515FBB73BB37}"/>
              </a:ext>
            </a:extLst>
          </p:cNvPr>
          <p:cNvSpPr>
            <a:spLocks noGrp="1"/>
          </p:cNvSpPr>
          <p:nvPr>
            <p:ph type="pic" sz="quarter" idx="11"/>
          </p:nvPr>
        </p:nvSpPr>
        <p:spPr>
          <a:xfrm>
            <a:off x="10644348" y="3144157"/>
            <a:ext cx="2395216" cy="2761297"/>
          </a:xfrm>
          <a:prstGeom prst="rect">
            <a:avLst/>
          </a:prstGeom>
          <a:solidFill>
            <a:srgbClr val="D9D9D9"/>
          </a:solidFill>
        </p:spPr>
        <p:txBody>
          <a:bodyPr anchor="ctr"/>
          <a:lstStyle>
            <a:lvl1pPr algn="ctr">
              <a:defRPr/>
            </a:lvl1pPr>
          </a:lstStyle>
          <a:p>
            <a:endParaRPr lang="pt-PT"/>
          </a:p>
        </p:txBody>
      </p:sp>
      <p:sp>
        <p:nvSpPr>
          <p:cNvPr id="20" name="Picture Placeholder 17">
            <a:extLst>
              <a:ext uri="{FF2B5EF4-FFF2-40B4-BE49-F238E27FC236}">
                <a16:creationId xmlns:a16="http://schemas.microsoft.com/office/drawing/2014/main" id="{9D1BE315-6BE9-4C05-9EDD-2BF1E943154E}"/>
              </a:ext>
            </a:extLst>
          </p:cNvPr>
          <p:cNvSpPr>
            <a:spLocks noGrp="1"/>
          </p:cNvSpPr>
          <p:nvPr>
            <p:ph type="pic" sz="quarter" idx="12"/>
          </p:nvPr>
        </p:nvSpPr>
        <p:spPr>
          <a:xfrm>
            <a:off x="1029140" y="7234208"/>
            <a:ext cx="2395216" cy="2761297"/>
          </a:xfrm>
          <a:prstGeom prst="rect">
            <a:avLst/>
          </a:prstGeom>
          <a:solidFill>
            <a:srgbClr val="D9D9D9"/>
          </a:solidFill>
        </p:spPr>
        <p:txBody>
          <a:bodyPr anchor="ctr"/>
          <a:lstStyle>
            <a:lvl1pPr algn="ctr">
              <a:defRPr/>
            </a:lvl1pPr>
          </a:lstStyle>
          <a:p>
            <a:endParaRPr lang="pt-PT"/>
          </a:p>
        </p:txBody>
      </p:sp>
      <p:sp>
        <p:nvSpPr>
          <p:cNvPr id="21" name="Picture Placeholder 17">
            <a:extLst>
              <a:ext uri="{FF2B5EF4-FFF2-40B4-BE49-F238E27FC236}">
                <a16:creationId xmlns:a16="http://schemas.microsoft.com/office/drawing/2014/main" id="{1281E9B6-7C84-4FF5-B198-C8FC0C8924EE}"/>
              </a:ext>
            </a:extLst>
          </p:cNvPr>
          <p:cNvSpPr>
            <a:spLocks noGrp="1"/>
          </p:cNvSpPr>
          <p:nvPr>
            <p:ph type="pic" sz="quarter" idx="13"/>
          </p:nvPr>
        </p:nvSpPr>
        <p:spPr>
          <a:xfrm>
            <a:off x="10644348" y="7234208"/>
            <a:ext cx="2395216" cy="2761297"/>
          </a:xfrm>
          <a:prstGeom prst="rect">
            <a:avLst/>
          </a:prstGeom>
          <a:solidFill>
            <a:srgbClr val="D9D9D9"/>
          </a:solidFill>
        </p:spPr>
        <p:txBody>
          <a:bodyPr anchor="ctr"/>
          <a:lstStyle>
            <a:lvl1pPr algn="ctr">
              <a:defRPr/>
            </a:lvl1pPr>
          </a:lstStyle>
          <a:p>
            <a:endParaRPr lang="pt-PT"/>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672755" y="668691"/>
            <a:ext cx="18165921" cy="1426539"/>
          </a:xfrm>
          <a:prstGeom prst="rect">
            <a:avLst/>
          </a:prstGeom>
        </p:spPr>
        <p:txBody>
          <a:bodyPr vert="horz" lIns="0" tIns="0" rIns="0" bIns="0" rtlCol="0" anchor="t">
            <a:normAutofit/>
          </a:bodyPr>
          <a:lstStyle>
            <a:lvl1pPr>
              <a:defRPr lang="pt-PT" dirty="0"/>
            </a:lvl1pPr>
          </a:lstStyle>
          <a:p>
            <a:pPr lvl="0">
              <a:lnSpc>
                <a:spcPts val="4947"/>
              </a:lnSpc>
            </a:pPr>
            <a:r>
              <a:rPr lang="en-US" dirty="0"/>
              <a:t>Click to add title</a:t>
            </a:r>
            <a:endParaRPr lang="pt-PT" dirty="0"/>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3640187" y="3144157"/>
            <a:ext cx="6173651" cy="2761297"/>
          </a:xfrm>
          <a:prstGeom prst="rect">
            <a:avLst/>
          </a:prstGeom>
        </p:spPr>
        <p:txBody>
          <a:bodyPr>
            <a:noAutofit/>
          </a:bodyPr>
          <a:lstStyle>
            <a:lvl1pPr>
              <a:lnSpc>
                <a:spcPts val="2638"/>
              </a:lnSpc>
              <a:defRPr sz="2309">
                <a:solidFill>
                  <a:schemeClr val="tx1"/>
                </a:solidFill>
              </a:defRPr>
            </a:lvl1pPr>
            <a:lvl2pPr marL="285340" indent="-277485">
              <a:lnSpc>
                <a:spcPts val="2309"/>
              </a:lnSpc>
              <a:buClr>
                <a:schemeClr val="accent1"/>
              </a:buClr>
              <a:defRPr sz="1979">
                <a:solidFill>
                  <a:schemeClr val="tx1"/>
                </a:solidFill>
              </a:defRPr>
            </a:lvl2pPr>
            <a:lvl3pPr marL="573296" indent="-287957">
              <a:lnSpc>
                <a:spcPts val="2309"/>
              </a:lnSpc>
              <a:buClr>
                <a:schemeClr val="accent1"/>
              </a:buClr>
              <a:defRPr sz="1979">
                <a:solidFill>
                  <a:schemeClr val="tx1"/>
                </a:solidFill>
              </a:defRPr>
            </a:lvl3pPr>
            <a:lvl4pPr marL="840311" indent="-267014">
              <a:lnSpc>
                <a:spcPts val="1979"/>
              </a:lnSpc>
              <a:buClr>
                <a:schemeClr val="accent1"/>
              </a:buClr>
              <a:defRPr sz="1814">
                <a:solidFill>
                  <a:schemeClr val="tx1"/>
                </a:solidFill>
              </a:defRPr>
            </a:lvl4pPr>
            <a:lvl5pPr>
              <a:lnSpc>
                <a:spcPct val="100000"/>
              </a:lnSpc>
              <a:defRPr sz="1979">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13257696" y="3144157"/>
            <a:ext cx="6173651" cy="2761297"/>
          </a:xfrm>
          <a:prstGeom prst="rect">
            <a:avLst/>
          </a:prstGeom>
        </p:spPr>
        <p:txBody>
          <a:bodyPr>
            <a:noAutofit/>
          </a:bodyPr>
          <a:lstStyle>
            <a:lvl1pPr>
              <a:lnSpc>
                <a:spcPts val="2638"/>
              </a:lnSpc>
              <a:defRPr sz="2309">
                <a:solidFill>
                  <a:schemeClr val="tx1"/>
                </a:solidFill>
              </a:defRPr>
            </a:lvl1pPr>
            <a:lvl2pPr marL="285340" indent="-277485">
              <a:lnSpc>
                <a:spcPts val="2309"/>
              </a:lnSpc>
              <a:buClr>
                <a:schemeClr val="accent1"/>
              </a:buClr>
              <a:defRPr sz="1979">
                <a:solidFill>
                  <a:schemeClr val="tx1"/>
                </a:solidFill>
              </a:defRPr>
            </a:lvl2pPr>
            <a:lvl3pPr marL="573296" indent="-287957">
              <a:lnSpc>
                <a:spcPts val="2309"/>
              </a:lnSpc>
              <a:buClr>
                <a:schemeClr val="accent1"/>
              </a:buClr>
              <a:defRPr sz="1979">
                <a:solidFill>
                  <a:schemeClr val="tx1"/>
                </a:solidFill>
              </a:defRPr>
            </a:lvl3pPr>
            <a:lvl4pPr marL="840311" indent="-267014">
              <a:lnSpc>
                <a:spcPts val="1979"/>
              </a:lnSpc>
              <a:buClr>
                <a:schemeClr val="accent1"/>
              </a:buClr>
              <a:defRPr sz="1814">
                <a:solidFill>
                  <a:schemeClr val="tx1"/>
                </a:solidFill>
              </a:defRPr>
            </a:lvl4pPr>
            <a:lvl5pPr>
              <a:lnSpc>
                <a:spcPct val="100000"/>
              </a:lnSpc>
              <a:defRPr sz="1979">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7"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3640187" y="7234208"/>
            <a:ext cx="6173651" cy="2761297"/>
          </a:xfrm>
          <a:prstGeom prst="rect">
            <a:avLst/>
          </a:prstGeom>
        </p:spPr>
        <p:txBody>
          <a:bodyPr>
            <a:noAutofit/>
          </a:bodyPr>
          <a:lstStyle>
            <a:lvl1pPr>
              <a:lnSpc>
                <a:spcPts val="2638"/>
              </a:lnSpc>
              <a:defRPr sz="2309">
                <a:solidFill>
                  <a:schemeClr val="tx1"/>
                </a:solidFill>
              </a:defRPr>
            </a:lvl1pPr>
            <a:lvl2pPr marL="285340" indent="-277485">
              <a:lnSpc>
                <a:spcPts val="2309"/>
              </a:lnSpc>
              <a:buClr>
                <a:schemeClr val="accent1"/>
              </a:buClr>
              <a:defRPr sz="1979">
                <a:solidFill>
                  <a:schemeClr val="tx1"/>
                </a:solidFill>
              </a:defRPr>
            </a:lvl2pPr>
            <a:lvl3pPr marL="573296" indent="-287957">
              <a:lnSpc>
                <a:spcPts val="2309"/>
              </a:lnSpc>
              <a:buClr>
                <a:schemeClr val="accent1"/>
              </a:buClr>
              <a:defRPr sz="1979">
                <a:solidFill>
                  <a:schemeClr val="tx1"/>
                </a:solidFill>
              </a:defRPr>
            </a:lvl3pPr>
            <a:lvl4pPr marL="840311" indent="-267014">
              <a:lnSpc>
                <a:spcPts val="1979"/>
              </a:lnSpc>
              <a:buClr>
                <a:schemeClr val="accent1"/>
              </a:buClr>
              <a:defRPr sz="1814">
                <a:solidFill>
                  <a:schemeClr val="tx1"/>
                </a:solidFill>
              </a:defRPr>
            </a:lvl4pPr>
            <a:lvl5pPr>
              <a:lnSpc>
                <a:spcPct val="100000"/>
              </a:lnSpc>
              <a:defRPr sz="1979">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
        <p:nvSpPr>
          <p:cNvPr id="28"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13257696" y="7234208"/>
            <a:ext cx="6173651" cy="2761297"/>
          </a:xfrm>
          <a:prstGeom prst="rect">
            <a:avLst/>
          </a:prstGeom>
        </p:spPr>
        <p:txBody>
          <a:bodyPr>
            <a:noAutofit/>
          </a:bodyPr>
          <a:lstStyle>
            <a:lvl1pPr>
              <a:lnSpc>
                <a:spcPts val="2638"/>
              </a:lnSpc>
              <a:defRPr sz="2309">
                <a:solidFill>
                  <a:schemeClr val="tx1"/>
                </a:solidFill>
              </a:defRPr>
            </a:lvl1pPr>
            <a:lvl2pPr marL="285340" indent="-277485">
              <a:lnSpc>
                <a:spcPts val="2309"/>
              </a:lnSpc>
              <a:buClr>
                <a:schemeClr val="accent1"/>
              </a:buClr>
              <a:defRPr sz="1979">
                <a:solidFill>
                  <a:schemeClr val="tx1"/>
                </a:solidFill>
              </a:defRPr>
            </a:lvl2pPr>
            <a:lvl3pPr marL="573296" indent="-287957">
              <a:lnSpc>
                <a:spcPts val="2309"/>
              </a:lnSpc>
              <a:buClr>
                <a:schemeClr val="accent1"/>
              </a:buClr>
              <a:defRPr sz="1979">
                <a:solidFill>
                  <a:schemeClr val="tx1"/>
                </a:solidFill>
              </a:defRPr>
            </a:lvl3pPr>
            <a:lvl4pPr marL="840311" indent="-267014">
              <a:lnSpc>
                <a:spcPts val="1979"/>
              </a:lnSpc>
              <a:buClr>
                <a:schemeClr val="accent1"/>
              </a:buClr>
              <a:defRPr sz="1814">
                <a:solidFill>
                  <a:schemeClr val="tx1"/>
                </a:solidFill>
              </a:defRPr>
            </a:lvl4pPr>
            <a:lvl5pPr>
              <a:lnSpc>
                <a:spcPct val="100000"/>
              </a:lnSpc>
              <a:defRPr sz="1979">
                <a:solidFill>
                  <a:schemeClr val="tx1"/>
                </a:solidFill>
              </a:defRPr>
            </a:lvl5pPr>
          </a:lstStyle>
          <a:p>
            <a:pPr lvl="0"/>
            <a:r>
              <a:rPr lang="en-US" dirty="0"/>
              <a:t>Click to insert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58126672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1_3 columns with imag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C4695C-BC1B-4C75-951C-93136C6F292C}"/>
              </a:ext>
            </a:extLst>
          </p:cNvPr>
          <p:cNvSpPr>
            <a:spLocks noGrp="1"/>
          </p:cNvSpPr>
          <p:nvPr>
            <p:ph type="title"/>
          </p:nvPr>
        </p:nvSpPr>
        <p:spPr/>
        <p:txBody>
          <a:bodyPr/>
          <a:lstStyle/>
          <a:p>
            <a:r>
              <a:rPr lang="fr-FR" dirty="0"/>
              <a:t>Modifiez le style du titre</a:t>
            </a:r>
            <a:endParaRPr lang="en-US" dirty="0"/>
          </a:p>
        </p:txBody>
      </p:sp>
    </p:spTree>
    <p:extLst>
      <p:ext uri="{BB962C8B-B14F-4D97-AF65-F5344CB8AC3E}">
        <p14:creationId xmlns:p14="http://schemas.microsoft.com/office/powerpoint/2010/main" val="27862686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over1">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65951" y="679706"/>
            <a:ext cx="2600965" cy="1355257"/>
          </a:xfrm>
          <a:prstGeom prst="rect">
            <a:avLst/>
          </a:prstGeom>
        </p:spPr>
      </p:pic>
      <p:sp>
        <p:nvSpPr>
          <p:cNvPr id="1415" name="Freeform 15"/>
          <p:cNvSpPr>
            <a:spLocks/>
          </p:cNvSpPr>
          <p:nvPr userDrawn="1"/>
        </p:nvSpPr>
        <p:spPr bwMode="auto">
          <a:xfrm>
            <a:off x="10944809" y="1"/>
            <a:ext cx="9159291" cy="10689270"/>
          </a:xfrm>
          <a:custGeom>
            <a:avLst/>
            <a:gdLst>
              <a:gd name="T0" fmla="*/ 0 w 885"/>
              <a:gd name="T1" fmla="*/ 0 h 1032"/>
              <a:gd name="T2" fmla="*/ 0 w 885"/>
              <a:gd name="T3" fmla="*/ 844 h 1032"/>
              <a:gd name="T4" fmla="*/ 850 w 885"/>
              <a:gd name="T5" fmla="*/ 1026 h 1032"/>
              <a:gd name="T6" fmla="*/ 885 w 885"/>
              <a:gd name="T7" fmla="*/ 1032 h 1032"/>
              <a:gd name="T8" fmla="*/ 885 w 885"/>
              <a:gd name="T9" fmla="*/ 0 h 1032"/>
              <a:gd name="T10" fmla="*/ 0 w 885"/>
              <a:gd name="T11" fmla="*/ 0 h 1032"/>
            </a:gdLst>
            <a:ahLst/>
            <a:cxnLst>
              <a:cxn ang="0">
                <a:pos x="T0" y="T1"/>
              </a:cxn>
              <a:cxn ang="0">
                <a:pos x="T2" y="T3"/>
              </a:cxn>
              <a:cxn ang="0">
                <a:pos x="T4" y="T5"/>
              </a:cxn>
              <a:cxn ang="0">
                <a:pos x="T6" y="T7"/>
              </a:cxn>
              <a:cxn ang="0">
                <a:pos x="T8" y="T9"/>
              </a:cxn>
              <a:cxn ang="0">
                <a:pos x="T10" y="T11"/>
              </a:cxn>
            </a:cxnLst>
            <a:rect l="0" t="0" r="r" b="b"/>
            <a:pathLst>
              <a:path w="885" h="1032">
                <a:moveTo>
                  <a:pt x="0" y="0"/>
                </a:moveTo>
                <a:cubicBezTo>
                  <a:pt x="0" y="844"/>
                  <a:pt x="0" y="844"/>
                  <a:pt x="0" y="844"/>
                </a:cubicBezTo>
                <a:cubicBezTo>
                  <a:pt x="233" y="908"/>
                  <a:pt x="516" y="969"/>
                  <a:pt x="850" y="1026"/>
                </a:cubicBezTo>
                <a:cubicBezTo>
                  <a:pt x="861" y="1028"/>
                  <a:pt x="873" y="1030"/>
                  <a:pt x="885" y="1032"/>
                </a:cubicBezTo>
                <a:cubicBezTo>
                  <a:pt x="885" y="0"/>
                  <a:pt x="885" y="0"/>
                  <a:pt x="885" y="0"/>
                </a:cubicBezTo>
                <a:cubicBezTo>
                  <a:pt x="0" y="0"/>
                  <a:pt x="0" y="0"/>
                  <a:pt x="0" y="0"/>
                </a:cubicBezTo>
              </a:path>
            </a:pathLst>
          </a:custGeom>
          <a:solidFill>
            <a:schemeClr val="accent2"/>
          </a:solidFill>
          <a:ln>
            <a:noFill/>
          </a:ln>
        </p:spPr>
        <p:txBody>
          <a:bodyPr vert="horz" wrap="square" lIns="150781" tIns="75390" rIns="150781" bIns="75390" numCol="1" anchor="t" anchorCtr="0" compatLnSpc="1">
            <a:prstTxWarp prst="textNoShape">
              <a:avLst/>
            </a:prstTxWarp>
          </a:bodyPr>
          <a:lstStyle/>
          <a:p>
            <a:endParaRPr lang="en-US"/>
          </a:p>
        </p:txBody>
      </p:sp>
      <p:pic>
        <p:nvPicPr>
          <p:cNvPr id="1590" name="Picture 158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327411" y="403270"/>
            <a:ext cx="9419663" cy="11674840"/>
          </a:xfrm>
          <a:prstGeom prst="rect">
            <a:avLst/>
          </a:prstGeom>
        </p:spPr>
      </p:pic>
      <p:sp>
        <p:nvSpPr>
          <p:cNvPr id="11" name="Title 1"/>
          <p:cNvSpPr>
            <a:spLocks noGrp="1"/>
          </p:cNvSpPr>
          <p:nvPr>
            <p:ph type="ctrTitle" hasCustomPrompt="1"/>
          </p:nvPr>
        </p:nvSpPr>
        <p:spPr>
          <a:xfrm>
            <a:off x="672755" y="3978585"/>
            <a:ext cx="8191913" cy="11905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4947"/>
              </a:lnSpc>
              <a:defRPr lang="en-US" sz="4287" b="0" dirty="0">
                <a:solidFill>
                  <a:schemeClr val="accent3"/>
                </a:solidFill>
              </a:defRPr>
            </a:lvl1pPr>
          </a:lstStyle>
          <a:p>
            <a:pPr marL="0" lvl="0"/>
            <a:r>
              <a:rPr lang="en-US"/>
              <a:t>Title of Presentation</a:t>
            </a:r>
          </a:p>
        </p:txBody>
      </p:sp>
      <p:sp>
        <p:nvSpPr>
          <p:cNvPr id="12" name="Subtitle 2"/>
          <p:cNvSpPr>
            <a:spLocks noGrp="1"/>
          </p:cNvSpPr>
          <p:nvPr>
            <p:ph type="subTitle" idx="1" hasCustomPrompt="1"/>
          </p:nvPr>
        </p:nvSpPr>
        <p:spPr>
          <a:xfrm>
            <a:off x="672755" y="5489037"/>
            <a:ext cx="8191913" cy="20218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1507846" rtl="0" eaLnBrk="1" fontAlgn="auto" latinLnBrk="0" hangingPunct="1">
              <a:lnSpc>
                <a:spcPts val="2968"/>
              </a:lnSpc>
              <a:spcBef>
                <a:spcPts val="0"/>
              </a:spcBef>
              <a:spcAft>
                <a:spcPts val="0"/>
              </a:spcAft>
              <a:buClrTx/>
              <a:buSzTx/>
              <a:buFont typeface="Arial" panose="020B0604020202020204" pitchFamily="34" charset="0"/>
              <a:buNone/>
              <a:tabLst/>
              <a:defRPr lang="en-US" sz="2638" dirty="0">
                <a:solidFill>
                  <a:schemeClr val="accent3"/>
                </a:solidFill>
              </a:defRPr>
            </a:lvl1pPr>
          </a:lstStyle>
          <a:p>
            <a:pPr marL="0" lvl="0"/>
            <a:r>
              <a:rPr lang="en-US"/>
              <a:t>Subtitle</a:t>
            </a:r>
          </a:p>
        </p:txBody>
      </p:sp>
    </p:spTree>
    <p:extLst>
      <p:ext uri="{BB962C8B-B14F-4D97-AF65-F5344CB8AC3E}">
        <p14:creationId xmlns:p14="http://schemas.microsoft.com/office/powerpoint/2010/main" val="1319510845"/>
      </p:ext>
    </p:extLst>
  </p:cSld>
  <p:clrMapOvr>
    <a:masterClrMapping/>
  </p:clrMapOvr>
  <p:extLst>
    <p:ext uri="{DCECCB84-F9BA-43D5-87BE-67443E8EF086}">
      <p15:sldGuideLst xmlns:p15="http://schemas.microsoft.com/office/powerpoint/2012/main">
        <p15:guide id="1" pos="7219">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Cover2">
    <p:bg>
      <p:bgPr>
        <a:solidFill>
          <a:schemeClr val="bg1"/>
        </a:solidFill>
        <a:effectLst/>
      </p:bgPr>
    </p:bg>
    <p:spTree>
      <p:nvGrpSpPr>
        <p:cNvPr id="1" name=""/>
        <p:cNvGrpSpPr/>
        <p:nvPr/>
      </p:nvGrpSpPr>
      <p:grpSpPr>
        <a:xfrm>
          <a:off x="0" y="0"/>
          <a:ext cx="0" cy="0"/>
          <a:chOff x="0" y="0"/>
          <a:chExt cx="0" cy="0"/>
        </a:xfrm>
      </p:grpSpPr>
      <p:sp>
        <p:nvSpPr>
          <p:cNvPr id="13" name="Freeform 12"/>
          <p:cNvSpPr/>
          <p:nvPr userDrawn="1"/>
        </p:nvSpPr>
        <p:spPr>
          <a:xfrm>
            <a:off x="0" y="1"/>
            <a:ext cx="12900131" cy="8943554"/>
          </a:xfrm>
          <a:custGeom>
            <a:avLst/>
            <a:gdLst>
              <a:gd name="connsiteX0" fmla="*/ 0 w 6759210"/>
              <a:gd name="connsiteY0" fmla="*/ 0 h 4518977"/>
              <a:gd name="connsiteX1" fmla="*/ 6759210 w 6759210"/>
              <a:gd name="connsiteY1" fmla="*/ 0 h 4518977"/>
              <a:gd name="connsiteX2" fmla="*/ 6756415 w 6759210"/>
              <a:gd name="connsiteY2" fmla="*/ 16666 h 4518977"/>
              <a:gd name="connsiteX3" fmla="*/ 6372387 w 6759210"/>
              <a:gd name="connsiteY3" fmla="*/ 2306550 h 4518977"/>
              <a:gd name="connsiteX4" fmla="*/ 3762973 w 6759210"/>
              <a:gd name="connsiteY4" fmla="*/ 4518977 h 4518977"/>
              <a:gd name="connsiteX5" fmla="*/ 339369 w 6759210"/>
              <a:gd name="connsiteY5" fmla="*/ 4518977 h 4518977"/>
              <a:gd name="connsiteX6" fmla="*/ 0 w 6759210"/>
              <a:gd name="connsiteY6" fmla="*/ 4518977 h 4518977"/>
              <a:gd name="connsiteX7" fmla="*/ 0 w 6759210"/>
              <a:gd name="connsiteY7" fmla="*/ 0 h 4518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59210" h="4518977">
                <a:moveTo>
                  <a:pt x="0" y="0"/>
                </a:moveTo>
                <a:lnTo>
                  <a:pt x="6759210" y="0"/>
                </a:lnTo>
                <a:lnTo>
                  <a:pt x="6756415" y="16666"/>
                </a:lnTo>
                <a:cubicBezTo>
                  <a:pt x="6686854" y="431442"/>
                  <a:pt x="6569700" y="1130011"/>
                  <a:pt x="6372387" y="2306550"/>
                </a:cubicBezTo>
                <a:cubicBezTo>
                  <a:pt x="6162872" y="3588428"/>
                  <a:pt x="5058156" y="4518977"/>
                  <a:pt x="3762973" y="4518977"/>
                </a:cubicBezTo>
                <a:cubicBezTo>
                  <a:pt x="3762973" y="4518977"/>
                  <a:pt x="3762973" y="4518977"/>
                  <a:pt x="339369" y="4518977"/>
                </a:cubicBezTo>
                <a:lnTo>
                  <a:pt x="0" y="4518977"/>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6" name="Title 1"/>
          <p:cNvSpPr>
            <a:spLocks noGrp="1"/>
          </p:cNvSpPr>
          <p:nvPr>
            <p:ph type="ctrTitle" hasCustomPrompt="1"/>
          </p:nvPr>
        </p:nvSpPr>
        <p:spPr>
          <a:xfrm>
            <a:off x="672755" y="2384847"/>
            <a:ext cx="8191913" cy="11905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4947"/>
              </a:lnSpc>
              <a:defRPr lang="en-US" sz="4287" b="0" dirty="0">
                <a:solidFill>
                  <a:schemeClr val="bg1"/>
                </a:solidFill>
              </a:defRPr>
            </a:lvl1pPr>
          </a:lstStyle>
          <a:p>
            <a:pPr marL="0" lvl="0"/>
            <a:r>
              <a:rPr lang="en-US"/>
              <a:t>Title of Presentation</a:t>
            </a:r>
          </a:p>
        </p:txBody>
      </p:sp>
      <p:sp>
        <p:nvSpPr>
          <p:cNvPr id="17" name="Subtitle 2"/>
          <p:cNvSpPr>
            <a:spLocks noGrp="1"/>
          </p:cNvSpPr>
          <p:nvPr>
            <p:ph type="subTitle" idx="1" hasCustomPrompt="1"/>
          </p:nvPr>
        </p:nvSpPr>
        <p:spPr>
          <a:xfrm>
            <a:off x="672755" y="3895299"/>
            <a:ext cx="8191913" cy="20218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1507846" rtl="0" eaLnBrk="1" fontAlgn="auto" latinLnBrk="0" hangingPunct="1">
              <a:lnSpc>
                <a:spcPts val="2968"/>
              </a:lnSpc>
              <a:spcBef>
                <a:spcPts val="0"/>
              </a:spcBef>
              <a:spcAft>
                <a:spcPts val="0"/>
              </a:spcAft>
              <a:buClrTx/>
              <a:buSzTx/>
              <a:buFont typeface="Arial" panose="020B0604020202020204" pitchFamily="34" charset="0"/>
              <a:buNone/>
              <a:tabLst/>
              <a:defRPr lang="en-US" sz="2638" dirty="0">
                <a:solidFill>
                  <a:schemeClr val="bg1"/>
                </a:solidFill>
              </a:defRPr>
            </a:lvl1pPr>
          </a:lstStyle>
          <a:p>
            <a:pPr marL="0" lvl="0"/>
            <a:r>
              <a:rPr lang="en-US"/>
              <a:t>Subtitle</a:t>
            </a:r>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65951" y="9417002"/>
            <a:ext cx="2600965" cy="1355257"/>
          </a:xfrm>
          <a:prstGeom prst="rect">
            <a:avLst/>
          </a:prstGeom>
        </p:spPr>
      </p:pic>
    </p:spTree>
    <p:extLst>
      <p:ext uri="{BB962C8B-B14F-4D97-AF65-F5344CB8AC3E}">
        <p14:creationId xmlns:p14="http://schemas.microsoft.com/office/powerpoint/2010/main" val="2625458990"/>
      </p:ext>
    </p:extLst>
  </p:cSld>
  <p:clrMapOvr>
    <a:masterClrMapping/>
  </p:clrMapOvr>
  <p:extLst>
    <p:ext uri="{DCECCB84-F9BA-43D5-87BE-67443E8EF086}">
      <p15:sldGuideLst xmlns:p15="http://schemas.microsoft.com/office/powerpoint/2012/main">
        <p15:guide id="1" pos="7219">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Cover3">
    <p:bg>
      <p:bgPr>
        <a:solidFill>
          <a:schemeClr val="bg1"/>
        </a:solidFill>
        <a:effectLst/>
      </p:bgPr>
    </p:bg>
    <p:spTree>
      <p:nvGrpSpPr>
        <p:cNvPr id="1" name=""/>
        <p:cNvGrpSpPr/>
        <p:nvPr/>
      </p:nvGrpSpPr>
      <p:grpSpPr>
        <a:xfrm>
          <a:off x="0" y="0"/>
          <a:ext cx="0" cy="0"/>
          <a:chOff x="0" y="0"/>
          <a:chExt cx="0" cy="0"/>
        </a:xfrm>
      </p:grpSpPr>
      <p:sp>
        <p:nvSpPr>
          <p:cNvPr id="8" name="Freeform 7"/>
          <p:cNvSpPr/>
          <p:nvPr userDrawn="1"/>
        </p:nvSpPr>
        <p:spPr>
          <a:xfrm>
            <a:off x="10805954" y="3"/>
            <a:ext cx="9298146" cy="8846058"/>
          </a:xfrm>
          <a:custGeom>
            <a:avLst/>
            <a:gdLst>
              <a:gd name="connsiteX0" fmla="*/ 0 w 5638800"/>
              <a:gd name="connsiteY0" fmla="*/ 0 h 5355237"/>
              <a:gd name="connsiteX1" fmla="*/ 5638800 w 5638800"/>
              <a:gd name="connsiteY1" fmla="*/ 0 h 5355237"/>
              <a:gd name="connsiteX2" fmla="*/ 5638800 w 5638800"/>
              <a:gd name="connsiteY2" fmla="*/ 262266 h 5355237"/>
              <a:gd name="connsiteX3" fmla="*/ 5638800 w 5638800"/>
              <a:gd name="connsiteY3" fmla="*/ 4904579 h 5355237"/>
              <a:gd name="connsiteX4" fmla="*/ 0 w 5638800"/>
              <a:gd name="connsiteY4" fmla="*/ 3724580 h 5355237"/>
              <a:gd name="connsiteX5" fmla="*/ 0 w 5638800"/>
              <a:gd name="connsiteY5" fmla="*/ 298668 h 5355237"/>
              <a:gd name="connsiteX6" fmla="*/ 0 w 5638800"/>
              <a:gd name="connsiteY6" fmla="*/ 0 h 5355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38800" h="5355237">
                <a:moveTo>
                  <a:pt x="0" y="0"/>
                </a:moveTo>
                <a:lnTo>
                  <a:pt x="5638800" y="0"/>
                </a:lnTo>
                <a:lnTo>
                  <a:pt x="5638800" y="262266"/>
                </a:lnTo>
                <a:cubicBezTo>
                  <a:pt x="5638800" y="4904579"/>
                  <a:pt x="5638800" y="4904579"/>
                  <a:pt x="5638800" y="4904579"/>
                </a:cubicBezTo>
                <a:cubicBezTo>
                  <a:pt x="4971047" y="5074669"/>
                  <a:pt x="0" y="6329082"/>
                  <a:pt x="0" y="3724580"/>
                </a:cubicBezTo>
                <a:cubicBezTo>
                  <a:pt x="0" y="2292104"/>
                  <a:pt x="0" y="1172982"/>
                  <a:pt x="0" y="298668"/>
                </a:cubicBez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itle 1"/>
          <p:cNvSpPr>
            <a:spLocks noGrp="1"/>
          </p:cNvSpPr>
          <p:nvPr>
            <p:ph type="ctrTitle" hasCustomPrompt="1"/>
          </p:nvPr>
        </p:nvSpPr>
        <p:spPr>
          <a:xfrm>
            <a:off x="11201262" y="1384585"/>
            <a:ext cx="8191913" cy="11905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r">
              <a:lnSpc>
                <a:spcPts val="4947"/>
              </a:lnSpc>
              <a:defRPr lang="en-US" sz="4287" b="0" dirty="0">
                <a:solidFill>
                  <a:schemeClr val="bg1"/>
                </a:solidFill>
              </a:defRPr>
            </a:lvl1pPr>
          </a:lstStyle>
          <a:p>
            <a:pPr marL="0" lvl="0"/>
            <a:r>
              <a:rPr lang="en-US"/>
              <a:t>Title of Presentation</a:t>
            </a:r>
          </a:p>
        </p:txBody>
      </p:sp>
      <p:sp>
        <p:nvSpPr>
          <p:cNvPr id="17" name="Subtitle 2"/>
          <p:cNvSpPr>
            <a:spLocks noGrp="1"/>
          </p:cNvSpPr>
          <p:nvPr>
            <p:ph type="subTitle" idx="1" hasCustomPrompt="1"/>
          </p:nvPr>
        </p:nvSpPr>
        <p:spPr>
          <a:xfrm>
            <a:off x="11201262" y="2895036"/>
            <a:ext cx="8191913" cy="20218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1507846" rtl="0" eaLnBrk="1" fontAlgn="auto" latinLnBrk="0" hangingPunct="1">
              <a:lnSpc>
                <a:spcPts val="2968"/>
              </a:lnSpc>
              <a:spcBef>
                <a:spcPts val="0"/>
              </a:spcBef>
              <a:spcAft>
                <a:spcPts val="0"/>
              </a:spcAft>
              <a:buClrTx/>
              <a:buSzTx/>
              <a:buFont typeface="Arial" panose="020B0604020202020204" pitchFamily="34" charset="0"/>
              <a:buNone/>
              <a:tabLst/>
              <a:defRPr lang="en-US" sz="2638" dirty="0">
                <a:solidFill>
                  <a:schemeClr val="bg1"/>
                </a:solidFill>
              </a:defRPr>
            </a:lvl1pPr>
          </a:lstStyle>
          <a:p>
            <a:pPr marL="0" lvl="0"/>
            <a:r>
              <a:rPr lang="en-US"/>
              <a:t>Subtitle</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444996" y="2210128"/>
            <a:ext cx="9526083" cy="8569257"/>
          </a:xfrm>
          <a:prstGeom prst="rect">
            <a:avLst/>
          </a:prstGeom>
        </p:spPr>
      </p:pic>
      <p:pic>
        <p:nvPicPr>
          <p:cNvPr id="7" name="Pictur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65951" y="679706"/>
            <a:ext cx="2600965" cy="1355257"/>
          </a:xfrm>
          <a:prstGeom prst="rect">
            <a:avLst/>
          </a:prstGeom>
        </p:spPr>
      </p:pic>
    </p:spTree>
    <p:extLst>
      <p:ext uri="{BB962C8B-B14F-4D97-AF65-F5344CB8AC3E}">
        <p14:creationId xmlns:p14="http://schemas.microsoft.com/office/powerpoint/2010/main" val="1242907449"/>
      </p:ext>
    </p:extLst>
  </p:cSld>
  <p:clrMapOvr>
    <a:masterClrMapping/>
  </p:clrMapOvr>
  <p:extLst>
    <p:ext uri="{DCECCB84-F9BA-43D5-87BE-67443E8EF086}">
      <p15:sldGuideLst xmlns:p15="http://schemas.microsoft.com/office/powerpoint/2012/main">
        <p15:guide id="1" pos="7219">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Cover4">
    <p:spTree>
      <p:nvGrpSpPr>
        <p:cNvPr id="1" name=""/>
        <p:cNvGrpSpPr/>
        <p:nvPr/>
      </p:nvGrpSpPr>
      <p:grpSpPr>
        <a:xfrm>
          <a:off x="0" y="0"/>
          <a:ext cx="0" cy="0"/>
          <a:chOff x="0" y="0"/>
          <a:chExt cx="0" cy="0"/>
        </a:xfrm>
      </p:grpSpPr>
      <p:sp>
        <p:nvSpPr>
          <p:cNvPr id="20" name="Title 1"/>
          <p:cNvSpPr>
            <a:spLocks noGrp="1"/>
          </p:cNvSpPr>
          <p:nvPr>
            <p:ph type="ctrTitle" hasCustomPrompt="1"/>
          </p:nvPr>
        </p:nvSpPr>
        <p:spPr>
          <a:xfrm>
            <a:off x="672755" y="2175211"/>
            <a:ext cx="8191913" cy="11905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4947"/>
              </a:lnSpc>
              <a:defRPr lang="en-US" sz="4287" b="0" dirty="0">
                <a:solidFill>
                  <a:schemeClr val="bg1"/>
                </a:solidFill>
              </a:defRPr>
            </a:lvl1pPr>
          </a:lstStyle>
          <a:p>
            <a:pPr marL="0" lvl="0"/>
            <a:r>
              <a:rPr lang="en-US"/>
              <a:t>Title of Presentation</a:t>
            </a:r>
          </a:p>
        </p:txBody>
      </p:sp>
      <p:sp>
        <p:nvSpPr>
          <p:cNvPr id="21" name="Subtitle 2"/>
          <p:cNvSpPr>
            <a:spLocks noGrp="1"/>
          </p:cNvSpPr>
          <p:nvPr>
            <p:ph type="subTitle" idx="1" hasCustomPrompt="1"/>
          </p:nvPr>
        </p:nvSpPr>
        <p:spPr>
          <a:xfrm>
            <a:off x="672755" y="3685662"/>
            <a:ext cx="8191913" cy="20218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1507846" rtl="0" eaLnBrk="1" fontAlgn="auto" latinLnBrk="0" hangingPunct="1">
              <a:lnSpc>
                <a:spcPts val="2968"/>
              </a:lnSpc>
              <a:spcBef>
                <a:spcPts val="0"/>
              </a:spcBef>
              <a:spcAft>
                <a:spcPts val="0"/>
              </a:spcAft>
              <a:buClrTx/>
              <a:buSzTx/>
              <a:buFont typeface="Arial" panose="020B0604020202020204" pitchFamily="34" charset="0"/>
              <a:buNone/>
              <a:tabLst/>
              <a:defRPr lang="en-US" sz="2638" dirty="0">
                <a:solidFill>
                  <a:schemeClr val="bg1"/>
                </a:solidFill>
              </a:defRPr>
            </a:lvl1pPr>
          </a:lstStyle>
          <a:p>
            <a:pPr marL="0" lvl="0"/>
            <a:r>
              <a:rPr lang="en-US"/>
              <a:t>Subtitle</a:t>
            </a: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65951" y="9417002"/>
            <a:ext cx="2600965" cy="1355257"/>
          </a:xfrm>
          <a:prstGeom prst="rect">
            <a:avLst/>
          </a:prstGeom>
        </p:spPr>
      </p:pic>
      <p:pic>
        <p:nvPicPr>
          <p:cNvPr id="4" name="Imagen 3">
            <a:extLst>
              <a:ext uri="{FF2B5EF4-FFF2-40B4-BE49-F238E27FC236}">
                <a16:creationId xmlns:a16="http://schemas.microsoft.com/office/drawing/2014/main" id="{387EE4A7-6731-3840-B18F-2EEB7E076CE8}"/>
              </a:ext>
            </a:extLst>
          </p:cNvPr>
          <p:cNvPicPr>
            <a:picLocks noChangeAspect="1"/>
          </p:cNvPicPr>
          <p:nvPr userDrawn="1"/>
        </p:nvPicPr>
        <p:blipFill>
          <a:blip r:embed="rId3"/>
          <a:stretch>
            <a:fillRect/>
          </a:stretch>
        </p:blipFill>
        <p:spPr>
          <a:xfrm flipH="1">
            <a:off x="-2" y="-41851"/>
            <a:ext cx="17288151" cy="11885817"/>
          </a:xfrm>
          <a:prstGeom prst="rect">
            <a:avLst/>
          </a:prstGeom>
        </p:spPr>
      </p:pic>
      <p:pic>
        <p:nvPicPr>
          <p:cNvPr id="10" name="Picture 1">
            <a:extLst>
              <a:ext uri="{FF2B5EF4-FFF2-40B4-BE49-F238E27FC236}">
                <a16:creationId xmlns:a16="http://schemas.microsoft.com/office/drawing/2014/main" id="{44CD9991-3CAD-804B-B3EC-FEEF87FE1521}"/>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1784833" y="-451471"/>
            <a:ext cx="7247439" cy="11223729"/>
          </a:xfrm>
          <a:prstGeom prst="rect">
            <a:avLst/>
          </a:prstGeom>
        </p:spPr>
      </p:pic>
    </p:spTree>
    <p:extLst>
      <p:ext uri="{BB962C8B-B14F-4D97-AF65-F5344CB8AC3E}">
        <p14:creationId xmlns:p14="http://schemas.microsoft.com/office/powerpoint/2010/main" val="1931341485"/>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over5">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65951" y="679706"/>
            <a:ext cx="2600965" cy="1355257"/>
          </a:xfrm>
          <a:prstGeom prst="rect">
            <a:avLst/>
          </a:prstGeom>
        </p:spPr>
      </p:pic>
      <p:sp>
        <p:nvSpPr>
          <p:cNvPr id="1415" name="Freeform 15"/>
          <p:cNvSpPr>
            <a:spLocks/>
          </p:cNvSpPr>
          <p:nvPr userDrawn="1"/>
        </p:nvSpPr>
        <p:spPr bwMode="auto">
          <a:xfrm>
            <a:off x="10944809" y="1"/>
            <a:ext cx="9159291" cy="10689270"/>
          </a:xfrm>
          <a:custGeom>
            <a:avLst/>
            <a:gdLst>
              <a:gd name="T0" fmla="*/ 0 w 885"/>
              <a:gd name="T1" fmla="*/ 0 h 1032"/>
              <a:gd name="T2" fmla="*/ 0 w 885"/>
              <a:gd name="T3" fmla="*/ 844 h 1032"/>
              <a:gd name="T4" fmla="*/ 850 w 885"/>
              <a:gd name="T5" fmla="*/ 1026 h 1032"/>
              <a:gd name="T6" fmla="*/ 885 w 885"/>
              <a:gd name="T7" fmla="*/ 1032 h 1032"/>
              <a:gd name="T8" fmla="*/ 885 w 885"/>
              <a:gd name="T9" fmla="*/ 0 h 1032"/>
              <a:gd name="T10" fmla="*/ 0 w 885"/>
              <a:gd name="T11" fmla="*/ 0 h 1032"/>
            </a:gdLst>
            <a:ahLst/>
            <a:cxnLst>
              <a:cxn ang="0">
                <a:pos x="T0" y="T1"/>
              </a:cxn>
              <a:cxn ang="0">
                <a:pos x="T2" y="T3"/>
              </a:cxn>
              <a:cxn ang="0">
                <a:pos x="T4" y="T5"/>
              </a:cxn>
              <a:cxn ang="0">
                <a:pos x="T6" y="T7"/>
              </a:cxn>
              <a:cxn ang="0">
                <a:pos x="T8" y="T9"/>
              </a:cxn>
              <a:cxn ang="0">
                <a:pos x="T10" y="T11"/>
              </a:cxn>
            </a:cxnLst>
            <a:rect l="0" t="0" r="r" b="b"/>
            <a:pathLst>
              <a:path w="885" h="1032">
                <a:moveTo>
                  <a:pt x="0" y="0"/>
                </a:moveTo>
                <a:cubicBezTo>
                  <a:pt x="0" y="844"/>
                  <a:pt x="0" y="844"/>
                  <a:pt x="0" y="844"/>
                </a:cubicBezTo>
                <a:cubicBezTo>
                  <a:pt x="233" y="908"/>
                  <a:pt x="516" y="969"/>
                  <a:pt x="850" y="1026"/>
                </a:cubicBezTo>
                <a:cubicBezTo>
                  <a:pt x="861" y="1028"/>
                  <a:pt x="873" y="1030"/>
                  <a:pt x="885" y="1032"/>
                </a:cubicBezTo>
                <a:cubicBezTo>
                  <a:pt x="885" y="0"/>
                  <a:pt x="885" y="0"/>
                  <a:pt x="885" y="0"/>
                </a:cubicBezTo>
                <a:cubicBezTo>
                  <a:pt x="0" y="0"/>
                  <a:pt x="0" y="0"/>
                  <a:pt x="0" y="0"/>
                </a:cubicBezTo>
              </a:path>
            </a:pathLst>
          </a:custGeom>
          <a:solidFill>
            <a:schemeClr val="accent3"/>
          </a:solidFill>
          <a:ln>
            <a:noFill/>
          </a:ln>
        </p:spPr>
        <p:txBody>
          <a:bodyPr vert="horz" wrap="square" lIns="150781" tIns="75390" rIns="150781" bIns="75390" numCol="1" anchor="t" anchorCtr="0" compatLnSpc="1">
            <a:prstTxWarp prst="textNoShape">
              <a:avLst/>
            </a:prstTxWarp>
          </a:bodyPr>
          <a:lstStyle/>
          <a:p>
            <a:endParaRPr lang="en-US"/>
          </a:p>
        </p:txBody>
      </p:sp>
      <p:pic>
        <p:nvPicPr>
          <p:cNvPr id="1590" name="Picture 158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327411" y="403270"/>
            <a:ext cx="9419663" cy="11674840"/>
          </a:xfrm>
          <a:prstGeom prst="rect">
            <a:avLst/>
          </a:prstGeom>
        </p:spPr>
      </p:pic>
      <p:sp>
        <p:nvSpPr>
          <p:cNvPr id="11" name="Title 1"/>
          <p:cNvSpPr>
            <a:spLocks noGrp="1"/>
          </p:cNvSpPr>
          <p:nvPr>
            <p:ph type="ctrTitle" hasCustomPrompt="1"/>
          </p:nvPr>
        </p:nvSpPr>
        <p:spPr>
          <a:xfrm>
            <a:off x="672755" y="3978585"/>
            <a:ext cx="8191913" cy="11905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4947"/>
              </a:lnSpc>
              <a:defRPr lang="en-US" sz="4287" b="0" dirty="0">
                <a:solidFill>
                  <a:schemeClr val="accent3"/>
                </a:solidFill>
              </a:defRPr>
            </a:lvl1pPr>
          </a:lstStyle>
          <a:p>
            <a:pPr marL="0" lvl="0"/>
            <a:r>
              <a:rPr lang="en-US"/>
              <a:t>Title of Presentation</a:t>
            </a:r>
          </a:p>
        </p:txBody>
      </p:sp>
      <p:sp>
        <p:nvSpPr>
          <p:cNvPr id="12" name="Subtitle 2"/>
          <p:cNvSpPr>
            <a:spLocks noGrp="1"/>
          </p:cNvSpPr>
          <p:nvPr>
            <p:ph type="subTitle" idx="1" hasCustomPrompt="1"/>
          </p:nvPr>
        </p:nvSpPr>
        <p:spPr>
          <a:xfrm>
            <a:off x="672755" y="5489037"/>
            <a:ext cx="8191913" cy="20218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1507846" rtl="0" eaLnBrk="1" fontAlgn="auto" latinLnBrk="0" hangingPunct="1">
              <a:lnSpc>
                <a:spcPts val="2968"/>
              </a:lnSpc>
              <a:spcBef>
                <a:spcPts val="0"/>
              </a:spcBef>
              <a:spcAft>
                <a:spcPts val="0"/>
              </a:spcAft>
              <a:buClrTx/>
              <a:buSzTx/>
              <a:buFont typeface="Arial" panose="020B0604020202020204" pitchFamily="34" charset="0"/>
              <a:buNone/>
              <a:tabLst/>
              <a:defRPr lang="en-US" sz="2638" dirty="0">
                <a:solidFill>
                  <a:schemeClr val="accent3"/>
                </a:solidFill>
              </a:defRPr>
            </a:lvl1pPr>
          </a:lstStyle>
          <a:p>
            <a:pPr marL="0" lvl="0"/>
            <a:r>
              <a:rPr lang="en-US"/>
              <a:t>Subtitle</a:t>
            </a:r>
          </a:p>
        </p:txBody>
      </p:sp>
    </p:spTree>
    <p:extLst>
      <p:ext uri="{BB962C8B-B14F-4D97-AF65-F5344CB8AC3E}">
        <p14:creationId xmlns:p14="http://schemas.microsoft.com/office/powerpoint/2010/main" val="283890607"/>
      </p:ext>
    </p:extLst>
  </p:cSld>
  <p:clrMapOvr>
    <a:masterClrMapping/>
  </p:clrMapOvr>
  <p:extLst>
    <p:ext uri="{DCECCB84-F9BA-43D5-87BE-67443E8EF086}">
      <p15:sldGuideLst xmlns:p15="http://schemas.microsoft.com/office/powerpoint/2012/main">
        <p15:guide id="1" pos="7219">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Cover6">
    <p:spTree>
      <p:nvGrpSpPr>
        <p:cNvPr id="1" name=""/>
        <p:cNvGrpSpPr/>
        <p:nvPr/>
      </p:nvGrpSpPr>
      <p:grpSpPr>
        <a:xfrm>
          <a:off x="0" y="0"/>
          <a:ext cx="0" cy="0"/>
          <a:chOff x="0" y="0"/>
          <a:chExt cx="0" cy="0"/>
        </a:xfrm>
      </p:grpSpPr>
      <p:sp>
        <p:nvSpPr>
          <p:cNvPr id="17" name="Freeform 16"/>
          <p:cNvSpPr/>
          <p:nvPr userDrawn="1"/>
        </p:nvSpPr>
        <p:spPr>
          <a:xfrm>
            <a:off x="-37904" y="0"/>
            <a:ext cx="10262960" cy="11328400"/>
          </a:xfrm>
          <a:custGeom>
            <a:avLst/>
            <a:gdLst>
              <a:gd name="connsiteX0" fmla="*/ 0 w 6223905"/>
              <a:gd name="connsiteY0" fmla="*/ 0 h 6858000"/>
              <a:gd name="connsiteX1" fmla="*/ 4186882 w 6223905"/>
              <a:gd name="connsiteY1" fmla="*/ 0 h 6858000"/>
              <a:gd name="connsiteX2" fmla="*/ 4197034 w 6223905"/>
              <a:gd name="connsiteY2" fmla="*/ 22340 h 6858000"/>
              <a:gd name="connsiteX3" fmla="*/ 5904357 w 6223905"/>
              <a:gd name="connsiteY3" fmla="*/ 3779388 h 6858000"/>
              <a:gd name="connsiteX4" fmla="*/ 5873730 w 6223905"/>
              <a:gd name="connsiteY4" fmla="*/ 6784163 h 6858000"/>
              <a:gd name="connsiteX5" fmla="*/ 5834113 w 6223905"/>
              <a:gd name="connsiteY5" fmla="*/ 6858000 h 6858000"/>
              <a:gd name="connsiteX6" fmla="*/ 0 w 6223905"/>
              <a:gd name="connsiteY6" fmla="*/ 6858000 h 6858000"/>
              <a:gd name="connsiteX7" fmla="*/ 0 w 6223905"/>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23905" h="6858000">
                <a:moveTo>
                  <a:pt x="0" y="0"/>
                </a:moveTo>
                <a:lnTo>
                  <a:pt x="4186882" y="0"/>
                </a:lnTo>
                <a:lnTo>
                  <a:pt x="4197034" y="22340"/>
                </a:lnTo>
                <a:cubicBezTo>
                  <a:pt x="5904357" y="3779388"/>
                  <a:pt x="5904357" y="3779388"/>
                  <a:pt x="5904357" y="3779388"/>
                </a:cubicBezTo>
                <a:cubicBezTo>
                  <a:pt x="6352858" y="4766336"/>
                  <a:pt x="6316954" y="5863968"/>
                  <a:pt x="5873730" y="6784163"/>
                </a:cubicBezTo>
                <a:lnTo>
                  <a:pt x="5834113" y="6858000"/>
                </a:lnTo>
                <a:lnTo>
                  <a:pt x="0" y="6858000"/>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6890336" y="679706"/>
            <a:ext cx="2600965" cy="1355257"/>
          </a:xfrm>
          <a:prstGeom prst="rect">
            <a:avLst/>
          </a:prstGeom>
        </p:spPr>
      </p:pic>
      <p:sp>
        <p:nvSpPr>
          <p:cNvPr id="20" name="Title 1"/>
          <p:cNvSpPr>
            <a:spLocks noGrp="1"/>
          </p:cNvSpPr>
          <p:nvPr>
            <p:ph type="ctrTitle" hasCustomPrompt="1"/>
          </p:nvPr>
        </p:nvSpPr>
        <p:spPr>
          <a:xfrm>
            <a:off x="672755" y="4153749"/>
            <a:ext cx="8191913" cy="11905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4947"/>
              </a:lnSpc>
              <a:defRPr lang="en-US" sz="4287" b="0" dirty="0">
                <a:solidFill>
                  <a:schemeClr val="bg1"/>
                </a:solidFill>
              </a:defRPr>
            </a:lvl1pPr>
          </a:lstStyle>
          <a:p>
            <a:pPr marL="0" lvl="0"/>
            <a:r>
              <a:rPr lang="en-US"/>
              <a:t>Title of Presentation</a:t>
            </a:r>
          </a:p>
        </p:txBody>
      </p:sp>
      <p:sp>
        <p:nvSpPr>
          <p:cNvPr id="21" name="Subtitle 2"/>
          <p:cNvSpPr>
            <a:spLocks noGrp="1"/>
          </p:cNvSpPr>
          <p:nvPr>
            <p:ph type="subTitle" idx="1" hasCustomPrompt="1"/>
          </p:nvPr>
        </p:nvSpPr>
        <p:spPr>
          <a:xfrm>
            <a:off x="672755" y="5664201"/>
            <a:ext cx="8191913" cy="20218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1507846" rtl="0" eaLnBrk="1" fontAlgn="auto" latinLnBrk="0" hangingPunct="1">
              <a:lnSpc>
                <a:spcPts val="2968"/>
              </a:lnSpc>
              <a:spcBef>
                <a:spcPts val="0"/>
              </a:spcBef>
              <a:spcAft>
                <a:spcPts val="0"/>
              </a:spcAft>
              <a:buClrTx/>
              <a:buSzTx/>
              <a:buFont typeface="Arial" panose="020B0604020202020204" pitchFamily="34" charset="0"/>
              <a:buNone/>
              <a:tabLst/>
              <a:defRPr lang="en-US" sz="2638" dirty="0">
                <a:solidFill>
                  <a:schemeClr val="bg1"/>
                </a:solidFill>
              </a:defRPr>
            </a:lvl1pPr>
          </a:lstStyle>
          <a:p>
            <a:pPr marL="0" lvl="0"/>
            <a:r>
              <a:rPr lang="en-US"/>
              <a:t>Subtitle</a:t>
            </a:r>
          </a:p>
        </p:txBody>
      </p:sp>
    </p:spTree>
    <p:extLst>
      <p:ext uri="{BB962C8B-B14F-4D97-AF65-F5344CB8AC3E}">
        <p14:creationId xmlns:p14="http://schemas.microsoft.com/office/powerpoint/2010/main" val="143429588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6_Title and Content">
    <p:spTree>
      <p:nvGrpSpPr>
        <p:cNvPr id="1" name=""/>
        <p:cNvGrpSpPr/>
        <p:nvPr/>
      </p:nvGrpSpPr>
      <p:grpSpPr>
        <a:xfrm>
          <a:off x="0" y="0"/>
          <a:ext cx="0" cy="0"/>
          <a:chOff x="0" y="0"/>
          <a:chExt cx="0" cy="0"/>
        </a:xfrm>
      </p:grpSpPr>
      <p:sp>
        <p:nvSpPr>
          <p:cNvPr id="10" name="Rectángulo 9">
            <a:extLst>
              <a:ext uri="{FF2B5EF4-FFF2-40B4-BE49-F238E27FC236}">
                <a16:creationId xmlns:a16="http://schemas.microsoft.com/office/drawing/2014/main" id="{E7BF236D-D0D3-10D7-3261-21E349035258}"/>
              </a:ext>
            </a:extLst>
          </p:cNvPr>
          <p:cNvSpPr/>
          <p:nvPr userDrawn="1"/>
        </p:nvSpPr>
        <p:spPr>
          <a:xfrm>
            <a:off x="-43421" y="0"/>
            <a:ext cx="20147521" cy="11328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9" name="Imagen 8" descr="Imagen que contiene animal, pez&#10;&#10;Descripción generada automáticamente">
            <a:extLst>
              <a:ext uri="{FF2B5EF4-FFF2-40B4-BE49-F238E27FC236}">
                <a16:creationId xmlns:a16="http://schemas.microsoft.com/office/drawing/2014/main" id="{6E1DC18B-A168-D704-A3D2-1A8DFB51E094}"/>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43421" y="0"/>
            <a:ext cx="10476470" cy="11337324"/>
          </a:xfrm>
          <a:prstGeom prst="rect">
            <a:avLst/>
          </a:prstGeom>
        </p:spPr>
      </p:pic>
      <p:sp>
        <p:nvSpPr>
          <p:cNvPr id="4" name="Holder 4"/>
          <p:cNvSpPr>
            <a:spLocks noGrp="1"/>
          </p:cNvSpPr>
          <p:nvPr>
            <p:ph type="ftr" sz="quarter" idx="5"/>
          </p:nvPr>
        </p:nvSpPr>
        <p:spPr>
          <a:xfrm>
            <a:off x="16647741" y="10759212"/>
            <a:ext cx="2962677" cy="200055"/>
          </a:xfrm>
          <a:prstGeom prst="rect">
            <a:avLst/>
          </a:prstGeom>
        </p:spPr>
        <p:txBody>
          <a:bodyPr lIns="0" tIns="0" rIns="0" bIns="0"/>
          <a:lstStyle>
            <a:lvl1pPr>
              <a:defRPr sz="1300" b="0" i="0">
                <a:solidFill>
                  <a:schemeClr val="bg1"/>
                </a:solidFill>
                <a:latin typeface="Ubuntu Light"/>
                <a:cs typeface="Ubuntu Light"/>
              </a:defRPr>
            </a:lvl1pPr>
          </a:lstStyle>
          <a:p>
            <a:pPr marL="26034">
              <a:spcBef>
                <a:spcPts val="30"/>
              </a:spcBef>
            </a:pPr>
            <a:r>
              <a:rPr lang="es-ES" err="1"/>
              <a:t>Public</a:t>
            </a:r>
            <a:r>
              <a:rPr lang="es-ES" spc="-40"/>
              <a:t> </a:t>
            </a:r>
            <a:r>
              <a:rPr lang="es-ES"/>
              <a:t>©</a:t>
            </a:r>
            <a:r>
              <a:rPr lang="es-ES" spc="-40"/>
              <a:t> </a:t>
            </a:r>
            <a:r>
              <a:rPr lang="es-ES"/>
              <a:t>2023</a:t>
            </a:r>
            <a:r>
              <a:rPr lang="es-ES" spc="-40"/>
              <a:t> </a:t>
            </a:r>
            <a:r>
              <a:rPr lang="es-ES" spc="-10"/>
              <a:t>Sogeti.</a:t>
            </a:r>
            <a:r>
              <a:rPr lang="es-ES" spc="-35"/>
              <a:t> </a:t>
            </a:r>
            <a:r>
              <a:rPr lang="es-ES" err="1"/>
              <a:t>All</a:t>
            </a:r>
            <a:r>
              <a:rPr lang="es-ES" spc="-40"/>
              <a:t> </a:t>
            </a:r>
            <a:r>
              <a:rPr lang="es-ES" err="1"/>
              <a:t>rights</a:t>
            </a:r>
            <a:r>
              <a:rPr lang="es-ES" spc="-40"/>
              <a:t> </a:t>
            </a:r>
            <a:r>
              <a:rPr lang="es-ES" spc="-10" err="1"/>
              <a:t>reserved</a:t>
            </a:r>
            <a:endParaRPr lang="es-ES" spc="-10"/>
          </a:p>
        </p:txBody>
      </p:sp>
      <p:sp>
        <p:nvSpPr>
          <p:cNvPr id="2" name="CuadroTexto 1">
            <a:extLst>
              <a:ext uri="{FF2B5EF4-FFF2-40B4-BE49-F238E27FC236}">
                <a16:creationId xmlns:a16="http://schemas.microsoft.com/office/drawing/2014/main" id="{72E5CF79-7DA3-E21E-3060-87CB44907F25}"/>
              </a:ext>
            </a:extLst>
          </p:cNvPr>
          <p:cNvSpPr txBox="1"/>
          <p:nvPr userDrawn="1"/>
        </p:nvSpPr>
        <p:spPr>
          <a:xfrm>
            <a:off x="755650" y="10845800"/>
            <a:ext cx="7772400" cy="292388"/>
          </a:xfrm>
          <a:prstGeom prst="rect">
            <a:avLst/>
          </a:prstGeom>
          <a:noFill/>
        </p:spPr>
        <p:txBody>
          <a:bodyPr wrap="square" rtlCol="0">
            <a:spAutoFit/>
          </a:bodyPr>
          <a:lstStyle/>
          <a:p>
            <a:r>
              <a:rPr lang="es-ES" sz="1300" b="0" i="0">
                <a:solidFill>
                  <a:schemeClr val="bg1"/>
                </a:solidFill>
                <a:latin typeface="Ubuntu Medium" panose="020B0504030602030204" pitchFamily="34" charset="0"/>
              </a:rPr>
              <a:t>#FlourishingDigitalBusinessWithQuality </a:t>
            </a:r>
            <a:r>
              <a:rPr lang="es-ES" sz="1300" b="1" i="0">
                <a:solidFill>
                  <a:schemeClr val="bg1"/>
                </a:solidFill>
                <a:latin typeface="Ubuntu" panose="020B0504030602030204" pitchFamily="34" charset="0"/>
              </a:rPr>
              <a:t> ·</a:t>
            </a:r>
            <a:r>
              <a:rPr lang="es-ES" sz="1300" b="0" i="0">
                <a:solidFill>
                  <a:schemeClr val="bg1"/>
                </a:solidFill>
                <a:latin typeface="Ubuntu Medium" panose="020B0504030602030204" pitchFamily="34" charset="0"/>
              </a:rPr>
              <a:t>   </a:t>
            </a:r>
            <a:r>
              <a:rPr lang="es-ES" sz="1300" b="0" i="0" err="1">
                <a:solidFill>
                  <a:schemeClr val="bg1"/>
                </a:solidFill>
                <a:latin typeface="Ubuntu Medium" panose="020B0504030602030204" pitchFamily="34" charset="0"/>
              </a:rPr>
              <a:t>by</a:t>
            </a:r>
            <a:r>
              <a:rPr lang="es-ES" sz="1300" b="0" i="0">
                <a:solidFill>
                  <a:schemeClr val="bg1"/>
                </a:solidFill>
                <a:latin typeface="Ubuntu Medium" panose="020B0504030602030204" pitchFamily="34" charset="0"/>
              </a:rPr>
              <a:t> </a:t>
            </a:r>
            <a:r>
              <a:rPr lang="es-ES" sz="1300" b="1" i="0">
                <a:solidFill>
                  <a:schemeClr val="bg1"/>
                </a:solidFill>
                <a:latin typeface="Ubuntu" panose="020B0504030602030204" pitchFamily="34" charset="0"/>
              </a:rPr>
              <a:t>Sogeti España</a:t>
            </a:r>
          </a:p>
        </p:txBody>
      </p:sp>
      <p:sp>
        <p:nvSpPr>
          <p:cNvPr id="5" name="Forma libre 4">
            <a:extLst>
              <a:ext uri="{FF2B5EF4-FFF2-40B4-BE49-F238E27FC236}">
                <a16:creationId xmlns:a16="http://schemas.microsoft.com/office/drawing/2014/main" id="{FBAABD7F-C513-9B40-6AE2-E43DB3944CCE}"/>
              </a:ext>
            </a:extLst>
          </p:cNvPr>
          <p:cNvSpPr/>
          <p:nvPr userDrawn="1"/>
        </p:nvSpPr>
        <p:spPr>
          <a:xfrm flipV="1">
            <a:off x="755650" y="10384024"/>
            <a:ext cx="2362200" cy="385576"/>
          </a:xfrm>
          <a:custGeom>
            <a:avLst/>
            <a:gdLst/>
            <a:ahLst/>
            <a:cxnLst/>
            <a:rect l="l" t="t" r="r" b="b"/>
            <a:pathLst>
              <a:path w="4876802" h="796029">
                <a:moveTo>
                  <a:pt x="2572782" y="405299"/>
                </a:moveTo>
                <a:cubicBezTo>
                  <a:pt x="2589609" y="405299"/>
                  <a:pt x="2601809" y="398820"/>
                  <a:pt x="2609382" y="385863"/>
                </a:cubicBezTo>
                <a:cubicBezTo>
                  <a:pt x="2616954" y="372906"/>
                  <a:pt x="2620740" y="355826"/>
                  <a:pt x="2620740" y="334623"/>
                </a:cubicBezTo>
                <a:cubicBezTo>
                  <a:pt x="2620740" y="313420"/>
                  <a:pt x="2616618" y="296256"/>
                  <a:pt x="2608372" y="283131"/>
                </a:cubicBezTo>
                <a:cubicBezTo>
                  <a:pt x="2600126" y="270006"/>
                  <a:pt x="2587927" y="263443"/>
                  <a:pt x="2571772" y="263443"/>
                </a:cubicBezTo>
                <a:cubicBezTo>
                  <a:pt x="2554945" y="263443"/>
                  <a:pt x="2542744" y="270006"/>
                  <a:pt x="2535172" y="283131"/>
                </a:cubicBezTo>
                <a:cubicBezTo>
                  <a:pt x="2527600" y="296256"/>
                  <a:pt x="2523814" y="313420"/>
                  <a:pt x="2523814" y="334623"/>
                </a:cubicBezTo>
                <a:cubicBezTo>
                  <a:pt x="2523814" y="355826"/>
                  <a:pt x="2527937" y="372906"/>
                  <a:pt x="2536182" y="385863"/>
                </a:cubicBezTo>
                <a:cubicBezTo>
                  <a:pt x="2544428" y="398820"/>
                  <a:pt x="2556628" y="405299"/>
                  <a:pt x="2572782" y="405299"/>
                </a:cubicBezTo>
                <a:close/>
                <a:moveTo>
                  <a:pt x="1810782" y="405299"/>
                </a:moveTo>
                <a:cubicBezTo>
                  <a:pt x="1827610" y="405299"/>
                  <a:pt x="1839810" y="398820"/>
                  <a:pt x="1847382" y="385863"/>
                </a:cubicBezTo>
                <a:cubicBezTo>
                  <a:pt x="1854954" y="372906"/>
                  <a:pt x="1858740" y="355826"/>
                  <a:pt x="1858740" y="334623"/>
                </a:cubicBezTo>
                <a:cubicBezTo>
                  <a:pt x="1858740" y="313420"/>
                  <a:pt x="1854618" y="296256"/>
                  <a:pt x="1846372" y="283131"/>
                </a:cubicBezTo>
                <a:cubicBezTo>
                  <a:pt x="1838127" y="270006"/>
                  <a:pt x="1825927" y="263443"/>
                  <a:pt x="1809772" y="263443"/>
                </a:cubicBezTo>
                <a:cubicBezTo>
                  <a:pt x="1792945" y="263443"/>
                  <a:pt x="1780745" y="270006"/>
                  <a:pt x="1773173" y="283131"/>
                </a:cubicBezTo>
                <a:cubicBezTo>
                  <a:pt x="1765600" y="296256"/>
                  <a:pt x="1761814" y="313420"/>
                  <a:pt x="1761814" y="334623"/>
                </a:cubicBezTo>
                <a:cubicBezTo>
                  <a:pt x="1761814" y="355826"/>
                  <a:pt x="1765937" y="372906"/>
                  <a:pt x="1774182" y="385863"/>
                </a:cubicBezTo>
                <a:cubicBezTo>
                  <a:pt x="1782428" y="398820"/>
                  <a:pt x="1794628" y="405299"/>
                  <a:pt x="1810782" y="405299"/>
                </a:cubicBezTo>
                <a:close/>
                <a:moveTo>
                  <a:pt x="810657" y="405299"/>
                </a:moveTo>
                <a:cubicBezTo>
                  <a:pt x="827485" y="405299"/>
                  <a:pt x="839684" y="398820"/>
                  <a:pt x="847257" y="385863"/>
                </a:cubicBezTo>
                <a:cubicBezTo>
                  <a:pt x="854829" y="372906"/>
                  <a:pt x="858615" y="355826"/>
                  <a:pt x="858616" y="334623"/>
                </a:cubicBezTo>
                <a:cubicBezTo>
                  <a:pt x="858615" y="313420"/>
                  <a:pt x="854493" y="296256"/>
                  <a:pt x="846247" y="283131"/>
                </a:cubicBezTo>
                <a:cubicBezTo>
                  <a:pt x="838002" y="270006"/>
                  <a:pt x="825802" y="263443"/>
                  <a:pt x="809647" y="263443"/>
                </a:cubicBezTo>
                <a:cubicBezTo>
                  <a:pt x="792820" y="263443"/>
                  <a:pt x="780620" y="270006"/>
                  <a:pt x="773048" y="283131"/>
                </a:cubicBezTo>
                <a:cubicBezTo>
                  <a:pt x="765475" y="296256"/>
                  <a:pt x="761689" y="313420"/>
                  <a:pt x="761689" y="334623"/>
                </a:cubicBezTo>
                <a:cubicBezTo>
                  <a:pt x="761689" y="355826"/>
                  <a:pt x="765812" y="372906"/>
                  <a:pt x="774057" y="385863"/>
                </a:cubicBezTo>
                <a:cubicBezTo>
                  <a:pt x="782303" y="398820"/>
                  <a:pt x="794503" y="405299"/>
                  <a:pt x="810657" y="405299"/>
                </a:cubicBezTo>
                <a:close/>
                <a:moveTo>
                  <a:pt x="3325256" y="411861"/>
                </a:moveTo>
                <a:cubicBezTo>
                  <a:pt x="3316506" y="411861"/>
                  <a:pt x="3309608" y="408496"/>
                  <a:pt x="3304560" y="401765"/>
                </a:cubicBezTo>
                <a:cubicBezTo>
                  <a:pt x="3299512" y="395034"/>
                  <a:pt x="3296988" y="387125"/>
                  <a:pt x="3296988" y="378038"/>
                </a:cubicBezTo>
                <a:cubicBezTo>
                  <a:pt x="3296988" y="368951"/>
                  <a:pt x="3299512" y="361126"/>
                  <a:pt x="3304560" y="354564"/>
                </a:cubicBezTo>
                <a:cubicBezTo>
                  <a:pt x="3309608" y="348001"/>
                  <a:pt x="3316506" y="344720"/>
                  <a:pt x="3325256" y="344720"/>
                </a:cubicBezTo>
                <a:cubicBezTo>
                  <a:pt x="3333334" y="344720"/>
                  <a:pt x="3339980" y="348001"/>
                  <a:pt x="3345198" y="354564"/>
                </a:cubicBezTo>
                <a:cubicBezTo>
                  <a:pt x="3350414" y="361126"/>
                  <a:pt x="3353022" y="368951"/>
                  <a:pt x="3353022" y="378038"/>
                </a:cubicBezTo>
                <a:cubicBezTo>
                  <a:pt x="3353022" y="387125"/>
                  <a:pt x="3350414" y="395034"/>
                  <a:pt x="3345198" y="401765"/>
                </a:cubicBezTo>
                <a:cubicBezTo>
                  <a:pt x="3339980" y="408496"/>
                  <a:pt x="3333334" y="411861"/>
                  <a:pt x="3325256" y="411861"/>
                </a:cubicBezTo>
                <a:close/>
                <a:moveTo>
                  <a:pt x="2207070" y="453257"/>
                </a:moveTo>
                <a:lnTo>
                  <a:pt x="2207070" y="401765"/>
                </a:lnTo>
                <a:lnTo>
                  <a:pt x="2272697" y="401765"/>
                </a:lnTo>
                <a:lnTo>
                  <a:pt x="2272697" y="314430"/>
                </a:lnTo>
                <a:cubicBezTo>
                  <a:pt x="2272697" y="297939"/>
                  <a:pt x="2274043" y="283299"/>
                  <a:pt x="2276735" y="270510"/>
                </a:cubicBezTo>
                <a:cubicBezTo>
                  <a:pt x="2279428" y="257721"/>
                  <a:pt x="2284055" y="246868"/>
                  <a:pt x="2290618" y="237949"/>
                </a:cubicBezTo>
                <a:cubicBezTo>
                  <a:pt x="2297181" y="229031"/>
                  <a:pt x="2305931" y="222215"/>
                  <a:pt x="2316869" y="217504"/>
                </a:cubicBezTo>
                <a:cubicBezTo>
                  <a:pt x="2327807" y="212792"/>
                  <a:pt x="2341353" y="210436"/>
                  <a:pt x="2357508" y="210436"/>
                </a:cubicBezTo>
                <a:cubicBezTo>
                  <a:pt x="2366931" y="210436"/>
                  <a:pt x="2377280" y="211530"/>
                  <a:pt x="2388554" y="213718"/>
                </a:cubicBezTo>
                <a:cubicBezTo>
                  <a:pt x="2399829" y="215905"/>
                  <a:pt x="2411860" y="220028"/>
                  <a:pt x="2424649" y="226086"/>
                </a:cubicBezTo>
                <a:lnTo>
                  <a:pt x="2416572" y="276063"/>
                </a:lnTo>
                <a:cubicBezTo>
                  <a:pt x="2406475" y="271352"/>
                  <a:pt x="2397388" y="268239"/>
                  <a:pt x="2389312" y="266724"/>
                </a:cubicBezTo>
                <a:cubicBezTo>
                  <a:pt x="2381234" y="265210"/>
                  <a:pt x="2374335" y="264452"/>
                  <a:pt x="2368614" y="264452"/>
                </a:cubicBezTo>
                <a:cubicBezTo>
                  <a:pt x="2356498" y="264452"/>
                  <a:pt x="2347832" y="267902"/>
                  <a:pt x="2342615" y="274801"/>
                </a:cubicBezTo>
                <a:cubicBezTo>
                  <a:pt x="2337398" y="281701"/>
                  <a:pt x="2334790" y="292218"/>
                  <a:pt x="2334790" y="306353"/>
                </a:cubicBezTo>
                <a:lnTo>
                  <a:pt x="2334790" y="453257"/>
                </a:lnTo>
                <a:close/>
                <a:moveTo>
                  <a:pt x="1088092" y="457800"/>
                </a:moveTo>
                <a:cubicBezTo>
                  <a:pt x="1064870" y="457800"/>
                  <a:pt x="1044593" y="455949"/>
                  <a:pt x="1027260" y="452247"/>
                </a:cubicBezTo>
                <a:cubicBezTo>
                  <a:pt x="1009928" y="448545"/>
                  <a:pt x="993016" y="443665"/>
                  <a:pt x="976526" y="437607"/>
                </a:cubicBezTo>
                <a:lnTo>
                  <a:pt x="976526" y="215989"/>
                </a:lnTo>
                <a:lnTo>
                  <a:pt x="1039124" y="215989"/>
                </a:lnTo>
                <a:lnTo>
                  <a:pt x="1039124" y="392173"/>
                </a:lnTo>
                <a:cubicBezTo>
                  <a:pt x="1047874" y="394529"/>
                  <a:pt x="1056456" y="396128"/>
                  <a:pt x="1064870" y="396969"/>
                </a:cubicBezTo>
                <a:cubicBezTo>
                  <a:pt x="1073284" y="397810"/>
                  <a:pt x="1081866" y="398231"/>
                  <a:pt x="1090616" y="398231"/>
                </a:cubicBezTo>
                <a:cubicBezTo>
                  <a:pt x="1094318" y="398231"/>
                  <a:pt x="1098861" y="398063"/>
                  <a:pt x="1104246" y="397726"/>
                </a:cubicBezTo>
                <a:cubicBezTo>
                  <a:pt x="1109631" y="397390"/>
                  <a:pt x="1115184" y="396801"/>
                  <a:pt x="1120905" y="395959"/>
                </a:cubicBezTo>
                <a:cubicBezTo>
                  <a:pt x="1126627" y="395118"/>
                  <a:pt x="1132264" y="394192"/>
                  <a:pt x="1137817" y="393183"/>
                </a:cubicBezTo>
                <a:cubicBezTo>
                  <a:pt x="1143370" y="392173"/>
                  <a:pt x="1148166" y="391164"/>
                  <a:pt x="1152205" y="390154"/>
                </a:cubicBezTo>
                <a:lnTo>
                  <a:pt x="1163311" y="447704"/>
                </a:lnTo>
                <a:cubicBezTo>
                  <a:pt x="1157589" y="449723"/>
                  <a:pt x="1151111" y="451322"/>
                  <a:pt x="1143875" y="452500"/>
                </a:cubicBezTo>
                <a:cubicBezTo>
                  <a:pt x="1136639" y="453678"/>
                  <a:pt x="1129487" y="454687"/>
                  <a:pt x="1122420" y="455529"/>
                </a:cubicBezTo>
                <a:cubicBezTo>
                  <a:pt x="1115352" y="456370"/>
                  <a:pt x="1108706" y="456959"/>
                  <a:pt x="1102479" y="457296"/>
                </a:cubicBezTo>
                <a:cubicBezTo>
                  <a:pt x="1096253" y="457632"/>
                  <a:pt x="1091457" y="457800"/>
                  <a:pt x="1088092" y="457800"/>
                </a:cubicBezTo>
                <a:close/>
                <a:moveTo>
                  <a:pt x="2572782" y="459315"/>
                </a:moveTo>
                <a:cubicBezTo>
                  <a:pt x="2556628" y="459315"/>
                  <a:pt x="2541651" y="456370"/>
                  <a:pt x="2527852" y="450480"/>
                </a:cubicBezTo>
                <a:cubicBezTo>
                  <a:pt x="2514054" y="444591"/>
                  <a:pt x="2502190" y="436177"/>
                  <a:pt x="2492262" y="425239"/>
                </a:cubicBezTo>
                <a:cubicBezTo>
                  <a:pt x="2482334" y="414301"/>
                  <a:pt x="2474594" y="401176"/>
                  <a:pt x="2469040" y="385863"/>
                </a:cubicBezTo>
                <a:cubicBezTo>
                  <a:pt x="2463487" y="370550"/>
                  <a:pt x="2460711" y="353638"/>
                  <a:pt x="2460711" y="335128"/>
                </a:cubicBezTo>
                <a:cubicBezTo>
                  <a:pt x="2460711" y="316281"/>
                  <a:pt x="2463403" y="299201"/>
                  <a:pt x="2468788" y="283888"/>
                </a:cubicBezTo>
                <a:cubicBezTo>
                  <a:pt x="2474173" y="268575"/>
                  <a:pt x="2481829" y="255366"/>
                  <a:pt x="2491758" y="244259"/>
                </a:cubicBezTo>
                <a:cubicBezTo>
                  <a:pt x="2501686" y="233153"/>
                  <a:pt x="2513465" y="224571"/>
                  <a:pt x="2527095" y="218513"/>
                </a:cubicBezTo>
                <a:cubicBezTo>
                  <a:pt x="2540726" y="212455"/>
                  <a:pt x="2555954" y="209427"/>
                  <a:pt x="2572782" y="209427"/>
                </a:cubicBezTo>
                <a:cubicBezTo>
                  <a:pt x="2589609" y="209427"/>
                  <a:pt x="2604838" y="212455"/>
                  <a:pt x="2618468" y="218513"/>
                </a:cubicBezTo>
                <a:cubicBezTo>
                  <a:pt x="2632098" y="224571"/>
                  <a:pt x="2643794" y="233153"/>
                  <a:pt x="2653554" y="244259"/>
                </a:cubicBezTo>
                <a:cubicBezTo>
                  <a:pt x="2663314" y="255366"/>
                  <a:pt x="2670886" y="268575"/>
                  <a:pt x="2676271" y="283888"/>
                </a:cubicBezTo>
                <a:cubicBezTo>
                  <a:pt x="2681656" y="299201"/>
                  <a:pt x="2684348" y="316281"/>
                  <a:pt x="2684348" y="335128"/>
                </a:cubicBezTo>
                <a:cubicBezTo>
                  <a:pt x="2684348" y="353638"/>
                  <a:pt x="2681656" y="370550"/>
                  <a:pt x="2676271" y="385863"/>
                </a:cubicBezTo>
                <a:cubicBezTo>
                  <a:pt x="2670886" y="401176"/>
                  <a:pt x="2663230" y="414301"/>
                  <a:pt x="2653302" y="425239"/>
                </a:cubicBezTo>
                <a:cubicBezTo>
                  <a:pt x="2643373" y="436177"/>
                  <a:pt x="2631594" y="444591"/>
                  <a:pt x="2617964" y="450480"/>
                </a:cubicBezTo>
                <a:cubicBezTo>
                  <a:pt x="2604334" y="456370"/>
                  <a:pt x="2589273" y="459315"/>
                  <a:pt x="2572782" y="459315"/>
                </a:cubicBezTo>
                <a:close/>
                <a:moveTo>
                  <a:pt x="1810782" y="459315"/>
                </a:moveTo>
                <a:cubicBezTo>
                  <a:pt x="1794628" y="459315"/>
                  <a:pt x="1779651" y="456370"/>
                  <a:pt x="1765853" y="450480"/>
                </a:cubicBezTo>
                <a:cubicBezTo>
                  <a:pt x="1752054" y="444591"/>
                  <a:pt x="1740191" y="436177"/>
                  <a:pt x="1730262" y="425239"/>
                </a:cubicBezTo>
                <a:cubicBezTo>
                  <a:pt x="1720334" y="414301"/>
                  <a:pt x="1712594" y="401176"/>
                  <a:pt x="1707040" y="385863"/>
                </a:cubicBezTo>
                <a:cubicBezTo>
                  <a:pt x="1701488" y="370550"/>
                  <a:pt x="1698711" y="353638"/>
                  <a:pt x="1698711" y="335128"/>
                </a:cubicBezTo>
                <a:cubicBezTo>
                  <a:pt x="1698711" y="316281"/>
                  <a:pt x="1701403" y="299201"/>
                  <a:pt x="1706788" y="283888"/>
                </a:cubicBezTo>
                <a:cubicBezTo>
                  <a:pt x="1712173" y="268575"/>
                  <a:pt x="1719829" y="255366"/>
                  <a:pt x="1729758" y="244259"/>
                </a:cubicBezTo>
                <a:cubicBezTo>
                  <a:pt x="1739686" y="233153"/>
                  <a:pt x="1751465" y="224571"/>
                  <a:pt x="1765095" y="218513"/>
                </a:cubicBezTo>
                <a:cubicBezTo>
                  <a:pt x="1778726" y="212455"/>
                  <a:pt x="1793954" y="209427"/>
                  <a:pt x="1810782" y="209427"/>
                </a:cubicBezTo>
                <a:cubicBezTo>
                  <a:pt x="1827610" y="209427"/>
                  <a:pt x="1842838" y="212455"/>
                  <a:pt x="1856469" y="218513"/>
                </a:cubicBezTo>
                <a:cubicBezTo>
                  <a:pt x="1870099" y="224571"/>
                  <a:pt x="1881794" y="233153"/>
                  <a:pt x="1891554" y="244259"/>
                </a:cubicBezTo>
                <a:cubicBezTo>
                  <a:pt x="1901314" y="255366"/>
                  <a:pt x="1908886" y="268575"/>
                  <a:pt x="1914271" y="283888"/>
                </a:cubicBezTo>
                <a:cubicBezTo>
                  <a:pt x="1919656" y="299201"/>
                  <a:pt x="1922348" y="316281"/>
                  <a:pt x="1922348" y="335128"/>
                </a:cubicBezTo>
                <a:cubicBezTo>
                  <a:pt x="1922348" y="353638"/>
                  <a:pt x="1919656" y="370550"/>
                  <a:pt x="1914271" y="385863"/>
                </a:cubicBezTo>
                <a:cubicBezTo>
                  <a:pt x="1908886" y="401176"/>
                  <a:pt x="1901230" y="414301"/>
                  <a:pt x="1891302" y="425239"/>
                </a:cubicBezTo>
                <a:cubicBezTo>
                  <a:pt x="1881374" y="436177"/>
                  <a:pt x="1869594" y="444591"/>
                  <a:pt x="1855964" y="450480"/>
                </a:cubicBezTo>
                <a:cubicBezTo>
                  <a:pt x="1842334" y="456370"/>
                  <a:pt x="1827273" y="459315"/>
                  <a:pt x="1810782" y="459315"/>
                </a:cubicBezTo>
                <a:close/>
                <a:moveTo>
                  <a:pt x="810657" y="459315"/>
                </a:moveTo>
                <a:cubicBezTo>
                  <a:pt x="794503" y="459315"/>
                  <a:pt x="779526" y="456370"/>
                  <a:pt x="765728" y="450480"/>
                </a:cubicBezTo>
                <a:cubicBezTo>
                  <a:pt x="751929" y="444591"/>
                  <a:pt x="740066" y="436177"/>
                  <a:pt x="730138" y="425239"/>
                </a:cubicBezTo>
                <a:cubicBezTo>
                  <a:pt x="720209" y="414301"/>
                  <a:pt x="712469" y="401176"/>
                  <a:pt x="706916" y="385863"/>
                </a:cubicBezTo>
                <a:cubicBezTo>
                  <a:pt x="701362" y="370550"/>
                  <a:pt x="698586" y="353638"/>
                  <a:pt x="698586" y="335128"/>
                </a:cubicBezTo>
                <a:cubicBezTo>
                  <a:pt x="698586" y="316281"/>
                  <a:pt x="701278" y="299201"/>
                  <a:pt x="706663" y="283888"/>
                </a:cubicBezTo>
                <a:cubicBezTo>
                  <a:pt x="712048" y="268575"/>
                  <a:pt x="719704" y="255366"/>
                  <a:pt x="729633" y="244259"/>
                </a:cubicBezTo>
                <a:cubicBezTo>
                  <a:pt x="739561" y="233153"/>
                  <a:pt x="751340" y="224571"/>
                  <a:pt x="764970" y="218513"/>
                </a:cubicBezTo>
                <a:cubicBezTo>
                  <a:pt x="778601" y="212455"/>
                  <a:pt x="793830" y="209427"/>
                  <a:pt x="810657" y="209427"/>
                </a:cubicBezTo>
                <a:cubicBezTo>
                  <a:pt x="827485" y="209427"/>
                  <a:pt x="842713" y="212455"/>
                  <a:pt x="856344" y="218513"/>
                </a:cubicBezTo>
                <a:cubicBezTo>
                  <a:pt x="869974" y="224571"/>
                  <a:pt x="881669" y="233153"/>
                  <a:pt x="891429" y="244259"/>
                </a:cubicBezTo>
                <a:cubicBezTo>
                  <a:pt x="901189" y="255366"/>
                  <a:pt x="908761" y="268575"/>
                  <a:pt x="914146" y="283888"/>
                </a:cubicBezTo>
                <a:cubicBezTo>
                  <a:pt x="919531" y="299201"/>
                  <a:pt x="922223" y="316281"/>
                  <a:pt x="922223" y="335128"/>
                </a:cubicBezTo>
                <a:cubicBezTo>
                  <a:pt x="922223" y="353638"/>
                  <a:pt x="919531" y="370550"/>
                  <a:pt x="914146" y="385863"/>
                </a:cubicBezTo>
                <a:cubicBezTo>
                  <a:pt x="908761" y="401176"/>
                  <a:pt x="901105" y="414301"/>
                  <a:pt x="891177" y="425239"/>
                </a:cubicBezTo>
                <a:cubicBezTo>
                  <a:pt x="881248" y="436177"/>
                  <a:pt x="869469" y="444591"/>
                  <a:pt x="855839" y="450480"/>
                </a:cubicBezTo>
                <a:cubicBezTo>
                  <a:pt x="842209" y="456370"/>
                  <a:pt x="827148" y="459315"/>
                  <a:pt x="810657" y="459315"/>
                </a:cubicBezTo>
                <a:close/>
                <a:moveTo>
                  <a:pt x="546919" y="477993"/>
                </a:moveTo>
                <a:cubicBezTo>
                  <a:pt x="563410" y="477993"/>
                  <a:pt x="576620" y="474207"/>
                  <a:pt x="586548" y="466635"/>
                </a:cubicBezTo>
                <a:cubicBezTo>
                  <a:pt x="596476" y="459062"/>
                  <a:pt x="601441" y="446189"/>
                  <a:pt x="601441" y="428016"/>
                </a:cubicBezTo>
                <a:cubicBezTo>
                  <a:pt x="601441" y="408832"/>
                  <a:pt x="596392" y="395286"/>
                  <a:pt x="586296" y="387377"/>
                </a:cubicBezTo>
                <a:cubicBezTo>
                  <a:pt x="576199" y="379468"/>
                  <a:pt x="561223" y="375514"/>
                  <a:pt x="541366" y="375514"/>
                </a:cubicBezTo>
                <a:lnTo>
                  <a:pt x="516125" y="375514"/>
                </a:lnTo>
                <a:lnTo>
                  <a:pt x="516125" y="476479"/>
                </a:lnTo>
                <a:cubicBezTo>
                  <a:pt x="519827" y="477152"/>
                  <a:pt x="524960" y="477573"/>
                  <a:pt x="531522" y="477741"/>
                </a:cubicBezTo>
                <a:cubicBezTo>
                  <a:pt x="538085" y="477909"/>
                  <a:pt x="543217" y="477993"/>
                  <a:pt x="546919" y="477993"/>
                </a:cubicBezTo>
                <a:close/>
                <a:moveTo>
                  <a:pt x="3324752" y="482537"/>
                </a:moveTo>
                <a:cubicBezTo>
                  <a:pt x="3341916" y="482537"/>
                  <a:pt x="3354958" y="473198"/>
                  <a:pt x="3363876" y="454519"/>
                </a:cubicBezTo>
                <a:cubicBezTo>
                  <a:pt x="3372794" y="435841"/>
                  <a:pt x="3377254" y="408664"/>
                  <a:pt x="3377254" y="372990"/>
                </a:cubicBezTo>
                <a:cubicBezTo>
                  <a:pt x="3377254" y="336979"/>
                  <a:pt x="3372794" y="309634"/>
                  <a:pt x="3363876" y="290956"/>
                </a:cubicBezTo>
                <a:cubicBezTo>
                  <a:pt x="3354958" y="272277"/>
                  <a:pt x="3341916" y="262938"/>
                  <a:pt x="3324752" y="262938"/>
                </a:cubicBezTo>
                <a:cubicBezTo>
                  <a:pt x="3307924" y="262938"/>
                  <a:pt x="3294968" y="272277"/>
                  <a:pt x="3285880" y="290956"/>
                </a:cubicBezTo>
                <a:cubicBezTo>
                  <a:pt x="3276794" y="309634"/>
                  <a:pt x="3272250" y="336979"/>
                  <a:pt x="3272250" y="372990"/>
                </a:cubicBezTo>
                <a:cubicBezTo>
                  <a:pt x="3272250" y="408664"/>
                  <a:pt x="3276794" y="435841"/>
                  <a:pt x="3285880" y="454519"/>
                </a:cubicBezTo>
                <a:cubicBezTo>
                  <a:pt x="3294968" y="473198"/>
                  <a:pt x="3307924" y="482537"/>
                  <a:pt x="3324752" y="482537"/>
                </a:cubicBezTo>
                <a:close/>
                <a:moveTo>
                  <a:pt x="1323054" y="522923"/>
                </a:moveTo>
                <a:lnTo>
                  <a:pt x="1260961" y="512826"/>
                </a:lnTo>
                <a:lnTo>
                  <a:pt x="1260961" y="453257"/>
                </a:lnTo>
                <a:lnTo>
                  <a:pt x="1206945" y="453257"/>
                </a:lnTo>
                <a:lnTo>
                  <a:pt x="1206945" y="401765"/>
                </a:lnTo>
                <a:lnTo>
                  <a:pt x="1260961" y="401765"/>
                </a:lnTo>
                <a:lnTo>
                  <a:pt x="1260961" y="304334"/>
                </a:lnTo>
                <a:cubicBezTo>
                  <a:pt x="1260961" y="284477"/>
                  <a:pt x="1262980" y="268407"/>
                  <a:pt x="1267019" y="256123"/>
                </a:cubicBezTo>
                <a:cubicBezTo>
                  <a:pt x="1271057" y="243839"/>
                  <a:pt x="1276947" y="234331"/>
                  <a:pt x="1284688" y="227600"/>
                </a:cubicBezTo>
                <a:cubicBezTo>
                  <a:pt x="1292428" y="220869"/>
                  <a:pt x="1301852" y="216326"/>
                  <a:pt x="1312958" y="213970"/>
                </a:cubicBezTo>
                <a:cubicBezTo>
                  <a:pt x="1324064" y="211614"/>
                  <a:pt x="1336853" y="210436"/>
                  <a:pt x="1351325" y="210436"/>
                </a:cubicBezTo>
                <a:cubicBezTo>
                  <a:pt x="1363777" y="210436"/>
                  <a:pt x="1376650" y="211446"/>
                  <a:pt x="1389944" y="213465"/>
                </a:cubicBezTo>
                <a:cubicBezTo>
                  <a:pt x="1403238" y="215484"/>
                  <a:pt x="1415606" y="218850"/>
                  <a:pt x="1427048" y="223562"/>
                </a:cubicBezTo>
                <a:lnTo>
                  <a:pt x="1418466" y="277073"/>
                </a:lnTo>
                <a:cubicBezTo>
                  <a:pt x="1412745" y="274381"/>
                  <a:pt x="1407444" y="272193"/>
                  <a:pt x="1402564" y="270510"/>
                </a:cubicBezTo>
                <a:cubicBezTo>
                  <a:pt x="1397684" y="268828"/>
                  <a:pt x="1392973" y="267566"/>
                  <a:pt x="1388429" y="266724"/>
                </a:cubicBezTo>
                <a:cubicBezTo>
                  <a:pt x="1383886" y="265883"/>
                  <a:pt x="1379174" y="265294"/>
                  <a:pt x="1374294" y="264957"/>
                </a:cubicBezTo>
                <a:cubicBezTo>
                  <a:pt x="1369414" y="264621"/>
                  <a:pt x="1364114" y="264452"/>
                  <a:pt x="1358392" y="264452"/>
                </a:cubicBezTo>
                <a:cubicBezTo>
                  <a:pt x="1353007" y="264452"/>
                  <a:pt x="1348127" y="264957"/>
                  <a:pt x="1343752" y="265967"/>
                </a:cubicBezTo>
                <a:cubicBezTo>
                  <a:pt x="1339377" y="266977"/>
                  <a:pt x="1335675" y="268996"/>
                  <a:pt x="1332646" y="272025"/>
                </a:cubicBezTo>
                <a:cubicBezTo>
                  <a:pt x="1329617" y="275054"/>
                  <a:pt x="1327261" y="279261"/>
                  <a:pt x="1325579" y="284645"/>
                </a:cubicBezTo>
                <a:cubicBezTo>
                  <a:pt x="1323896" y="290030"/>
                  <a:pt x="1323054" y="297098"/>
                  <a:pt x="1323054" y="305848"/>
                </a:cubicBezTo>
                <a:lnTo>
                  <a:pt x="1323054" y="401765"/>
                </a:lnTo>
                <a:lnTo>
                  <a:pt x="1422505" y="401765"/>
                </a:lnTo>
                <a:lnTo>
                  <a:pt x="1422505" y="453257"/>
                </a:lnTo>
                <a:lnTo>
                  <a:pt x="1323054" y="453257"/>
                </a:lnTo>
                <a:close/>
                <a:moveTo>
                  <a:pt x="539852" y="532010"/>
                </a:moveTo>
                <a:cubicBezTo>
                  <a:pt x="534131" y="532010"/>
                  <a:pt x="527568" y="531841"/>
                  <a:pt x="520164" y="531505"/>
                </a:cubicBezTo>
                <a:cubicBezTo>
                  <a:pt x="512760" y="531168"/>
                  <a:pt x="505187" y="530748"/>
                  <a:pt x="497447" y="530243"/>
                </a:cubicBezTo>
                <a:cubicBezTo>
                  <a:pt x="489706" y="529738"/>
                  <a:pt x="482049" y="528981"/>
                  <a:pt x="474477" y="527971"/>
                </a:cubicBezTo>
                <a:cubicBezTo>
                  <a:pt x="466905" y="526961"/>
                  <a:pt x="460090" y="525784"/>
                  <a:pt x="454032" y="524437"/>
                </a:cubicBezTo>
                <a:lnTo>
                  <a:pt x="454032" y="215989"/>
                </a:lnTo>
                <a:lnTo>
                  <a:pt x="516125" y="215989"/>
                </a:lnTo>
                <a:lnTo>
                  <a:pt x="516125" y="321498"/>
                </a:lnTo>
                <a:lnTo>
                  <a:pt x="538337" y="321498"/>
                </a:lnTo>
                <a:cubicBezTo>
                  <a:pt x="578723" y="321498"/>
                  <a:pt x="609938" y="329827"/>
                  <a:pt x="631982" y="346486"/>
                </a:cubicBezTo>
                <a:cubicBezTo>
                  <a:pt x="654026" y="363146"/>
                  <a:pt x="665048" y="390154"/>
                  <a:pt x="665048" y="427511"/>
                </a:cubicBezTo>
                <a:cubicBezTo>
                  <a:pt x="665048" y="464531"/>
                  <a:pt x="654111" y="491203"/>
                  <a:pt x="632235" y="507526"/>
                </a:cubicBezTo>
                <a:cubicBezTo>
                  <a:pt x="610359" y="523848"/>
                  <a:pt x="579565" y="532010"/>
                  <a:pt x="539852" y="532010"/>
                </a:cubicBezTo>
                <a:close/>
                <a:moveTo>
                  <a:pt x="3816452" y="535544"/>
                </a:moveTo>
                <a:cubicBezTo>
                  <a:pt x="3797604" y="535544"/>
                  <a:pt x="3780694" y="532430"/>
                  <a:pt x="3765716" y="526204"/>
                </a:cubicBezTo>
                <a:cubicBezTo>
                  <a:pt x="3750740" y="519978"/>
                  <a:pt x="3738708" y="513836"/>
                  <a:pt x="3729622" y="507778"/>
                </a:cubicBezTo>
                <a:lnTo>
                  <a:pt x="3751834" y="462344"/>
                </a:lnTo>
                <a:cubicBezTo>
                  <a:pt x="3760248" y="468065"/>
                  <a:pt x="3770260" y="472861"/>
                  <a:pt x="3781872" y="476731"/>
                </a:cubicBezTo>
                <a:cubicBezTo>
                  <a:pt x="3793482" y="480602"/>
                  <a:pt x="3805178" y="482537"/>
                  <a:pt x="3816956" y="482537"/>
                </a:cubicBezTo>
                <a:cubicBezTo>
                  <a:pt x="3829072" y="482537"/>
                  <a:pt x="3838580" y="479255"/>
                  <a:pt x="3845480" y="472693"/>
                </a:cubicBezTo>
                <a:cubicBezTo>
                  <a:pt x="3852378" y="466130"/>
                  <a:pt x="3855828" y="457127"/>
                  <a:pt x="3855828" y="445685"/>
                </a:cubicBezTo>
                <a:cubicBezTo>
                  <a:pt x="3855828" y="437944"/>
                  <a:pt x="3854230" y="431550"/>
                  <a:pt x="3851032" y="426501"/>
                </a:cubicBezTo>
                <a:cubicBezTo>
                  <a:pt x="3847836" y="421453"/>
                  <a:pt x="3843712" y="417414"/>
                  <a:pt x="3838664" y="414385"/>
                </a:cubicBezTo>
                <a:cubicBezTo>
                  <a:pt x="3833616" y="411357"/>
                  <a:pt x="3827894" y="409169"/>
                  <a:pt x="3821500" y="407823"/>
                </a:cubicBezTo>
                <a:cubicBezTo>
                  <a:pt x="3815106" y="406477"/>
                  <a:pt x="3808712" y="405803"/>
                  <a:pt x="3802316" y="405803"/>
                </a:cubicBezTo>
                <a:lnTo>
                  <a:pt x="3779094" y="405803"/>
                </a:lnTo>
                <a:lnTo>
                  <a:pt x="3779094" y="354311"/>
                </a:lnTo>
                <a:lnTo>
                  <a:pt x="3798278" y="354311"/>
                </a:lnTo>
                <a:cubicBezTo>
                  <a:pt x="3818470" y="354311"/>
                  <a:pt x="3835130" y="351030"/>
                  <a:pt x="3848256" y="344467"/>
                </a:cubicBezTo>
                <a:cubicBezTo>
                  <a:pt x="3861380" y="337904"/>
                  <a:pt x="3867944" y="326378"/>
                  <a:pt x="3867944" y="309887"/>
                </a:cubicBezTo>
                <a:cubicBezTo>
                  <a:pt x="3867944" y="296425"/>
                  <a:pt x="3863652" y="285150"/>
                  <a:pt x="3855072" y="276063"/>
                </a:cubicBezTo>
                <a:cubicBezTo>
                  <a:pt x="3846488" y="266977"/>
                  <a:pt x="3831596" y="262433"/>
                  <a:pt x="3810394" y="262433"/>
                </a:cubicBezTo>
                <a:cubicBezTo>
                  <a:pt x="3793230" y="262433"/>
                  <a:pt x="3778506" y="264284"/>
                  <a:pt x="3766222" y="267986"/>
                </a:cubicBezTo>
                <a:cubicBezTo>
                  <a:pt x="3753938" y="271688"/>
                  <a:pt x="3743924" y="275222"/>
                  <a:pt x="3736184" y="278588"/>
                </a:cubicBezTo>
                <a:lnTo>
                  <a:pt x="3724068" y="226591"/>
                </a:lnTo>
                <a:cubicBezTo>
                  <a:pt x="3727770" y="224908"/>
                  <a:pt x="3732988" y="223057"/>
                  <a:pt x="3739718" y="221037"/>
                </a:cubicBezTo>
                <a:cubicBezTo>
                  <a:pt x="3746450" y="219018"/>
                  <a:pt x="3753770" y="217167"/>
                  <a:pt x="3761678" y="215484"/>
                </a:cubicBezTo>
                <a:cubicBezTo>
                  <a:pt x="3769588" y="213802"/>
                  <a:pt x="3777832" y="212371"/>
                  <a:pt x="3786414" y="211193"/>
                </a:cubicBezTo>
                <a:cubicBezTo>
                  <a:pt x="3794996" y="210015"/>
                  <a:pt x="3803158" y="209427"/>
                  <a:pt x="3810898" y="209427"/>
                </a:cubicBezTo>
                <a:cubicBezTo>
                  <a:pt x="3831764" y="209427"/>
                  <a:pt x="3849770" y="211867"/>
                  <a:pt x="3864916" y="216746"/>
                </a:cubicBezTo>
                <a:cubicBezTo>
                  <a:pt x="3880060" y="221626"/>
                  <a:pt x="3892512" y="228526"/>
                  <a:pt x="3902272" y="237444"/>
                </a:cubicBezTo>
                <a:cubicBezTo>
                  <a:pt x="3912032" y="246363"/>
                  <a:pt x="3919268" y="256880"/>
                  <a:pt x="3923980" y="268996"/>
                </a:cubicBezTo>
                <a:cubicBezTo>
                  <a:pt x="3928692" y="281112"/>
                  <a:pt x="3931048" y="294405"/>
                  <a:pt x="3931048" y="308877"/>
                </a:cubicBezTo>
                <a:cubicBezTo>
                  <a:pt x="3931048" y="327051"/>
                  <a:pt x="3926588" y="342700"/>
                  <a:pt x="3917668" y="355826"/>
                </a:cubicBezTo>
                <a:cubicBezTo>
                  <a:pt x="3908750" y="368951"/>
                  <a:pt x="3896214" y="378879"/>
                  <a:pt x="3880060" y="385610"/>
                </a:cubicBezTo>
                <a:cubicBezTo>
                  <a:pt x="3891840" y="391668"/>
                  <a:pt x="3901262" y="400419"/>
                  <a:pt x="3908330" y="411861"/>
                </a:cubicBezTo>
                <a:cubicBezTo>
                  <a:pt x="3915398" y="423304"/>
                  <a:pt x="3918932" y="435252"/>
                  <a:pt x="3918932" y="447704"/>
                </a:cubicBezTo>
                <a:cubicBezTo>
                  <a:pt x="3918932" y="460156"/>
                  <a:pt x="3916912" y="471767"/>
                  <a:pt x="3912874" y="482537"/>
                </a:cubicBezTo>
                <a:cubicBezTo>
                  <a:pt x="3908834" y="493306"/>
                  <a:pt x="3902608" y="502646"/>
                  <a:pt x="3894196" y="510555"/>
                </a:cubicBezTo>
                <a:cubicBezTo>
                  <a:pt x="3885780" y="518464"/>
                  <a:pt x="3875096" y="524606"/>
                  <a:pt x="3862138" y="528981"/>
                </a:cubicBezTo>
                <a:cubicBezTo>
                  <a:pt x="3849180" y="533356"/>
                  <a:pt x="3833952" y="535544"/>
                  <a:pt x="3816452" y="535544"/>
                </a:cubicBezTo>
                <a:close/>
                <a:moveTo>
                  <a:pt x="3567354" y="535544"/>
                </a:moveTo>
                <a:cubicBezTo>
                  <a:pt x="3549854" y="535544"/>
                  <a:pt x="3532268" y="532178"/>
                  <a:pt x="3514600" y="525447"/>
                </a:cubicBezTo>
                <a:cubicBezTo>
                  <a:pt x="3496930" y="518716"/>
                  <a:pt x="3481366" y="508283"/>
                  <a:pt x="3467904" y="494148"/>
                </a:cubicBezTo>
                <a:lnTo>
                  <a:pt x="3498698" y="450733"/>
                </a:lnTo>
                <a:cubicBezTo>
                  <a:pt x="3509130" y="461839"/>
                  <a:pt x="3519732" y="469748"/>
                  <a:pt x="3530502" y="474460"/>
                </a:cubicBezTo>
                <a:cubicBezTo>
                  <a:pt x="3541272" y="479171"/>
                  <a:pt x="3551536" y="481527"/>
                  <a:pt x="3561296" y="481527"/>
                </a:cubicBezTo>
                <a:cubicBezTo>
                  <a:pt x="3573076" y="481527"/>
                  <a:pt x="3582836" y="478078"/>
                  <a:pt x="3590576" y="471178"/>
                </a:cubicBezTo>
                <a:cubicBezTo>
                  <a:pt x="3598316" y="464279"/>
                  <a:pt x="3602186" y="454435"/>
                  <a:pt x="3602188" y="441646"/>
                </a:cubicBezTo>
                <a:cubicBezTo>
                  <a:pt x="3602186" y="432559"/>
                  <a:pt x="3599074" y="423641"/>
                  <a:pt x="3592848" y="414890"/>
                </a:cubicBezTo>
                <a:cubicBezTo>
                  <a:pt x="3586622" y="406140"/>
                  <a:pt x="3578712" y="397053"/>
                  <a:pt x="3569120" y="387630"/>
                </a:cubicBezTo>
                <a:cubicBezTo>
                  <a:pt x="3559528" y="378206"/>
                  <a:pt x="3549264" y="368362"/>
                  <a:pt x="3538326" y="358097"/>
                </a:cubicBezTo>
                <a:cubicBezTo>
                  <a:pt x="3527388" y="347833"/>
                  <a:pt x="3517124" y="336727"/>
                  <a:pt x="3507532" y="324779"/>
                </a:cubicBezTo>
                <a:cubicBezTo>
                  <a:pt x="3497940" y="312831"/>
                  <a:pt x="3490032" y="299790"/>
                  <a:pt x="3483806" y="285655"/>
                </a:cubicBezTo>
                <a:cubicBezTo>
                  <a:pt x="3477580" y="271520"/>
                  <a:pt x="3474466" y="256039"/>
                  <a:pt x="3474466" y="239211"/>
                </a:cubicBezTo>
                <a:cubicBezTo>
                  <a:pt x="3474466" y="237192"/>
                  <a:pt x="3474382" y="233658"/>
                  <a:pt x="3474214" y="228610"/>
                </a:cubicBezTo>
                <a:cubicBezTo>
                  <a:pt x="3474046" y="223562"/>
                  <a:pt x="3474466" y="219355"/>
                  <a:pt x="3475476" y="215989"/>
                </a:cubicBezTo>
                <a:lnTo>
                  <a:pt x="3679426" y="215989"/>
                </a:lnTo>
                <a:lnTo>
                  <a:pt x="3679426" y="267481"/>
                </a:lnTo>
                <a:lnTo>
                  <a:pt x="3545142" y="267481"/>
                </a:lnTo>
                <a:cubicBezTo>
                  <a:pt x="3545142" y="272530"/>
                  <a:pt x="3546908" y="278083"/>
                  <a:pt x="3550442" y="284141"/>
                </a:cubicBezTo>
                <a:cubicBezTo>
                  <a:pt x="3553976" y="290198"/>
                  <a:pt x="3558268" y="296172"/>
                  <a:pt x="3563316" y="302062"/>
                </a:cubicBezTo>
                <a:cubicBezTo>
                  <a:pt x="3568364" y="307952"/>
                  <a:pt x="3573748" y="313673"/>
                  <a:pt x="3579470" y="319226"/>
                </a:cubicBezTo>
                <a:cubicBezTo>
                  <a:pt x="3585190" y="324779"/>
                  <a:pt x="3590240" y="329575"/>
                  <a:pt x="3594614" y="333613"/>
                </a:cubicBezTo>
                <a:cubicBezTo>
                  <a:pt x="3603364" y="341691"/>
                  <a:pt x="3611946" y="350104"/>
                  <a:pt x="3620360" y="358855"/>
                </a:cubicBezTo>
                <a:cubicBezTo>
                  <a:pt x="3628774" y="367605"/>
                  <a:pt x="3636346" y="376692"/>
                  <a:pt x="3643078" y="386115"/>
                </a:cubicBezTo>
                <a:cubicBezTo>
                  <a:pt x="3649808" y="395539"/>
                  <a:pt x="3655194" y="405214"/>
                  <a:pt x="3659232" y="415143"/>
                </a:cubicBezTo>
                <a:cubicBezTo>
                  <a:pt x="3663270" y="425071"/>
                  <a:pt x="3665290" y="435420"/>
                  <a:pt x="3665290" y="446189"/>
                </a:cubicBezTo>
                <a:cubicBezTo>
                  <a:pt x="3665290" y="460998"/>
                  <a:pt x="3662598" y="474039"/>
                  <a:pt x="3657212" y="485313"/>
                </a:cubicBezTo>
                <a:cubicBezTo>
                  <a:pt x="3651828" y="496588"/>
                  <a:pt x="3644592" y="505927"/>
                  <a:pt x="3635506" y="513331"/>
                </a:cubicBezTo>
                <a:cubicBezTo>
                  <a:pt x="3626418" y="520735"/>
                  <a:pt x="3615986" y="526288"/>
                  <a:pt x="3604206" y="529990"/>
                </a:cubicBezTo>
                <a:cubicBezTo>
                  <a:pt x="3592426" y="533692"/>
                  <a:pt x="3580142" y="535544"/>
                  <a:pt x="3567354" y="535544"/>
                </a:cubicBezTo>
                <a:close/>
                <a:moveTo>
                  <a:pt x="3324752" y="535544"/>
                </a:moveTo>
                <a:cubicBezTo>
                  <a:pt x="3290088" y="535544"/>
                  <a:pt x="3263332" y="522081"/>
                  <a:pt x="3244486" y="495157"/>
                </a:cubicBezTo>
                <a:cubicBezTo>
                  <a:pt x="3225638" y="468233"/>
                  <a:pt x="3216214" y="427511"/>
                  <a:pt x="3216214" y="372990"/>
                </a:cubicBezTo>
                <a:cubicBezTo>
                  <a:pt x="3216214" y="317796"/>
                  <a:pt x="3225470" y="276737"/>
                  <a:pt x="3243980" y="249813"/>
                </a:cubicBezTo>
                <a:cubicBezTo>
                  <a:pt x="3262490" y="222889"/>
                  <a:pt x="3289414" y="209427"/>
                  <a:pt x="3324752" y="209427"/>
                </a:cubicBezTo>
                <a:cubicBezTo>
                  <a:pt x="3360090" y="209427"/>
                  <a:pt x="3387014" y="222889"/>
                  <a:pt x="3405524" y="249813"/>
                </a:cubicBezTo>
                <a:cubicBezTo>
                  <a:pt x="3424034" y="276737"/>
                  <a:pt x="3433290" y="317796"/>
                  <a:pt x="3433290" y="372990"/>
                </a:cubicBezTo>
                <a:cubicBezTo>
                  <a:pt x="3433290" y="427847"/>
                  <a:pt x="3424034" y="468654"/>
                  <a:pt x="3405524" y="495410"/>
                </a:cubicBezTo>
                <a:cubicBezTo>
                  <a:pt x="3387014" y="522166"/>
                  <a:pt x="3360090" y="535544"/>
                  <a:pt x="3324752" y="535544"/>
                </a:cubicBezTo>
                <a:close/>
                <a:moveTo>
                  <a:pt x="3062528" y="535544"/>
                </a:moveTo>
                <a:cubicBezTo>
                  <a:pt x="3045028" y="535544"/>
                  <a:pt x="3027444" y="532178"/>
                  <a:pt x="3009774" y="525447"/>
                </a:cubicBezTo>
                <a:cubicBezTo>
                  <a:pt x="2992106" y="518716"/>
                  <a:pt x="2976540" y="508283"/>
                  <a:pt x="2963078" y="494148"/>
                </a:cubicBezTo>
                <a:lnTo>
                  <a:pt x="2993872" y="450733"/>
                </a:lnTo>
                <a:cubicBezTo>
                  <a:pt x="3004306" y="461839"/>
                  <a:pt x="3014908" y="469748"/>
                  <a:pt x="3025676" y="474460"/>
                </a:cubicBezTo>
                <a:cubicBezTo>
                  <a:pt x="3036446" y="479171"/>
                  <a:pt x="3046712" y="481527"/>
                  <a:pt x="3056472" y="481527"/>
                </a:cubicBezTo>
                <a:cubicBezTo>
                  <a:pt x="3068250" y="481527"/>
                  <a:pt x="3078010" y="478078"/>
                  <a:pt x="3085752" y="471178"/>
                </a:cubicBezTo>
                <a:cubicBezTo>
                  <a:pt x="3093492" y="464279"/>
                  <a:pt x="3097362" y="454435"/>
                  <a:pt x="3097362" y="441646"/>
                </a:cubicBezTo>
                <a:cubicBezTo>
                  <a:pt x="3097362" y="432559"/>
                  <a:pt x="3094248" y="423641"/>
                  <a:pt x="3088022" y="414890"/>
                </a:cubicBezTo>
                <a:cubicBezTo>
                  <a:pt x="3081796" y="406140"/>
                  <a:pt x="3073888" y="397053"/>
                  <a:pt x="3064296" y="387630"/>
                </a:cubicBezTo>
                <a:cubicBezTo>
                  <a:pt x="3054704" y="378206"/>
                  <a:pt x="3044440" y="368362"/>
                  <a:pt x="3033502" y="358097"/>
                </a:cubicBezTo>
                <a:cubicBezTo>
                  <a:pt x="3022564" y="347833"/>
                  <a:pt x="3012298" y="336727"/>
                  <a:pt x="3002708" y="324779"/>
                </a:cubicBezTo>
                <a:cubicBezTo>
                  <a:pt x="2993116" y="312831"/>
                  <a:pt x="2985206" y="299790"/>
                  <a:pt x="2978980" y="285655"/>
                </a:cubicBezTo>
                <a:cubicBezTo>
                  <a:pt x="2972754" y="271520"/>
                  <a:pt x="2969642" y="256039"/>
                  <a:pt x="2969642" y="239211"/>
                </a:cubicBezTo>
                <a:cubicBezTo>
                  <a:pt x="2969642" y="237192"/>
                  <a:pt x="2969558" y="233658"/>
                  <a:pt x="2969388" y="228610"/>
                </a:cubicBezTo>
                <a:cubicBezTo>
                  <a:pt x="2969220" y="223562"/>
                  <a:pt x="2969640" y="219355"/>
                  <a:pt x="2970650" y="215989"/>
                </a:cubicBezTo>
                <a:lnTo>
                  <a:pt x="3174600" y="215989"/>
                </a:lnTo>
                <a:lnTo>
                  <a:pt x="3174600" y="267481"/>
                </a:lnTo>
                <a:lnTo>
                  <a:pt x="3040316" y="267481"/>
                </a:lnTo>
                <a:cubicBezTo>
                  <a:pt x="3040316" y="272530"/>
                  <a:pt x="3042084" y="278083"/>
                  <a:pt x="3045618" y="284141"/>
                </a:cubicBezTo>
                <a:cubicBezTo>
                  <a:pt x="3049152" y="290198"/>
                  <a:pt x="3053442" y="296172"/>
                  <a:pt x="3058490" y="302062"/>
                </a:cubicBezTo>
                <a:cubicBezTo>
                  <a:pt x="3063538" y="307952"/>
                  <a:pt x="3068924" y="313673"/>
                  <a:pt x="3074644" y="319226"/>
                </a:cubicBezTo>
                <a:cubicBezTo>
                  <a:pt x="3080366" y="324779"/>
                  <a:pt x="3085414" y="329575"/>
                  <a:pt x="3089790" y="333613"/>
                </a:cubicBezTo>
                <a:cubicBezTo>
                  <a:pt x="3098540" y="341691"/>
                  <a:pt x="3107122" y="350104"/>
                  <a:pt x="3115536" y="358855"/>
                </a:cubicBezTo>
                <a:cubicBezTo>
                  <a:pt x="3123950" y="367605"/>
                  <a:pt x="3131522" y="376692"/>
                  <a:pt x="3138252" y="386115"/>
                </a:cubicBezTo>
                <a:cubicBezTo>
                  <a:pt x="3144984" y="395539"/>
                  <a:pt x="3150368" y="405214"/>
                  <a:pt x="3154408" y="415143"/>
                </a:cubicBezTo>
                <a:cubicBezTo>
                  <a:pt x="3158446" y="425071"/>
                  <a:pt x="3160464" y="435420"/>
                  <a:pt x="3160464" y="446189"/>
                </a:cubicBezTo>
                <a:cubicBezTo>
                  <a:pt x="3160464" y="460998"/>
                  <a:pt x="3157772" y="474039"/>
                  <a:pt x="3152388" y="485313"/>
                </a:cubicBezTo>
                <a:cubicBezTo>
                  <a:pt x="3147002" y="496588"/>
                  <a:pt x="3139766" y="505927"/>
                  <a:pt x="3130680" y="513331"/>
                </a:cubicBezTo>
                <a:cubicBezTo>
                  <a:pt x="3121594" y="520735"/>
                  <a:pt x="3111160" y="526288"/>
                  <a:pt x="3099382" y="529990"/>
                </a:cubicBezTo>
                <a:cubicBezTo>
                  <a:pt x="3087602" y="533692"/>
                  <a:pt x="3075318" y="535544"/>
                  <a:pt x="3062528" y="535544"/>
                </a:cubicBezTo>
                <a:close/>
                <a:moveTo>
                  <a:pt x="2292890" y="561290"/>
                </a:moveTo>
                <a:cubicBezTo>
                  <a:pt x="2282120" y="561290"/>
                  <a:pt x="2272949" y="557756"/>
                  <a:pt x="2265377" y="550688"/>
                </a:cubicBezTo>
                <a:cubicBezTo>
                  <a:pt x="2257805" y="543621"/>
                  <a:pt x="2254018" y="533861"/>
                  <a:pt x="2254018" y="521408"/>
                </a:cubicBezTo>
                <a:cubicBezTo>
                  <a:pt x="2254018" y="509293"/>
                  <a:pt x="2257805" y="499701"/>
                  <a:pt x="2265377" y="492633"/>
                </a:cubicBezTo>
                <a:cubicBezTo>
                  <a:pt x="2272949" y="485566"/>
                  <a:pt x="2282120" y="482032"/>
                  <a:pt x="2292890" y="482032"/>
                </a:cubicBezTo>
                <a:cubicBezTo>
                  <a:pt x="2303660" y="482032"/>
                  <a:pt x="2312914" y="485566"/>
                  <a:pt x="2320655" y="492633"/>
                </a:cubicBezTo>
                <a:cubicBezTo>
                  <a:pt x="2328396" y="499701"/>
                  <a:pt x="2332266" y="509293"/>
                  <a:pt x="2332266" y="521408"/>
                </a:cubicBezTo>
                <a:cubicBezTo>
                  <a:pt x="2332266" y="533861"/>
                  <a:pt x="2328396" y="543621"/>
                  <a:pt x="2320655" y="550688"/>
                </a:cubicBezTo>
                <a:cubicBezTo>
                  <a:pt x="2312914" y="557756"/>
                  <a:pt x="2303660" y="561290"/>
                  <a:pt x="2292890" y="561290"/>
                </a:cubicBezTo>
                <a:close/>
                <a:moveTo>
                  <a:pt x="1959420" y="563309"/>
                </a:moveTo>
                <a:lnTo>
                  <a:pt x="1959420" y="511817"/>
                </a:lnTo>
                <a:lnTo>
                  <a:pt x="2025047" y="511817"/>
                </a:lnTo>
                <a:lnTo>
                  <a:pt x="2025047" y="310392"/>
                </a:lnTo>
                <a:cubicBezTo>
                  <a:pt x="2025047" y="277746"/>
                  <a:pt x="2031610" y="252926"/>
                  <a:pt x="2044735" y="235930"/>
                </a:cubicBezTo>
                <a:cubicBezTo>
                  <a:pt x="2057860" y="218934"/>
                  <a:pt x="2078727" y="210436"/>
                  <a:pt x="2107333" y="210436"/>
                </a:cubicBezTo>
                <a:cubicBezTo>
                  <a:pt x="2117767" y="210436"/>
                  <a:pt x="2127106" y="211109"/>
                  <a:pt x="2135351" y="212455"/>
                </a:cubicBezTo>
                <a:cubicBezTo>
                  <a:pt x="2143597" y="213802"/>
                  <a:pt x="2150580" y="215400"/>
                  <a:pt x="2156302" y="217251"/>
                </a:cubicBezTo>
                <a:cubicBezTo>
                  <a:pt x="2162023" y="219102"/>
                  <a:pt x="2166650" y="220869"/>
                  <a:pt x="2170184" y="222552"/>
                </a:cubicBezTo>
                <a:cubicBezTo>
                  <a:pt x="2173718" y="224235"/>
                  <a:pt x="2175990" y="225413"/>
                  <a:pt x="2176999" y="226086"/>
                </a:cubicBezTo>
                <a:lnTo>
                  <a:pt x="2168922" y="276063"/>
                </a:lnTo>
                <a:cubicBezTo>
                  <a:pt x="2166230" y="275054"/>
                  <a:pt x="2160677" y="272866"/>
                  <a:pt x="2152263" y="269501"/>
                </a:cubicBezTo>
                <a:cubicBezTo>
                  <a:pt x="2143849" y="266135"/>
                  <a:pt x="2133416" y="264452"/>
                  <a:pt x="2120964" y="264452"/>
                </a:cubicBezTo>
                <a:cubicBezTo>
                  <a:pt x="2111204" y="264452"/>
                  <a:pt x="2103126" y="267313"/>
                  <a:pt x="2096732" y="273034"/>
                </a:cubicBezTo>
                <a:cubicBezTo>
                  <a:pt x="2090338" y="278756"/>
                  <a:pt x="2087140" y="289694"/>
                  <a:pt x="2087140" y="305848"/>
                </a:cubicBezTo>
                <a:lnTo>
                  <a:pt x="2087140" y="563309"/>
                </a:lnTo>
                <a:close/>
                <a:moveTo>
                  <a:pt x="1607052" y="565833"/>
                </a:moveTo>
                <a:cubicBezTo>
                  <a:pt x="1594263" y="565833"/>
                  <a:pt x="1581811" y="564234"/>
                  <a:pt x="1569695" y="561037"/>
                </a:cubicBezTo>
                <a:cubicBezTo>
                  <a:pt x="1557579" y="557840"/>
                  <a:pt x="1546810" y="552455"/>
                  <a:pt x="1537386" y="544883"/>
                </a:cubicBezTo>
                <a:cubicBezTo>
                  <a:pt x="1527963" y="537310"/>
                  <a:pt x="1520474" y="527214"/>
                  <a:pt x="1514921" y="514593"/>
                </a:cubicBezTo>
                <a:cubicBezTo>
                  <a:pt x="1509368" y="501973"/>
                  <a:pt x="1506592" y="486071"/>
                  <a:pt x="1506592" y="466887"/>
                </a:cubicBezTo>
                <a:lnTo>
                  <a:pt x="1506592" y="453257"/>
                </a:lnTo>
                <a:lnTo>
                  <a:pt x="1454595" y="453257"/>
                </a:lnTo>
                <a:lnTo>
                  <a:pt x="1454595" y="401765"/>
                </a:lnTo>
                <a:lnTo>
                  <a:pt x="1506592" y="401765"/>
                </a:lnTo>
                <a:lnTo>
                  <a:pt x="1506592" y="215989"/>
                </a:lnTo>
                <a:lnTo>
                  <a:pt x="1569190" y="215989"/>
                </a:lnTo>
                <a:lnTo>
                  <a:pt x="1569190" y="401765"/>
                </a:lnTo>
                <a:lnTo>
                  <a:pt x="1666621" y="401765"/>
                </a:lnTo>
                <a:lnTo>
                  <a:pt x="1666621" y="453257"/>
                </a:lnTo>
                <a:lnTo>
                  <a:pt x="1569190" y="453257"/>
                </a:lnTo>
                <a:lnTo>
                  <a:pt x="1569190" y="465878"/>
                </a:lnTo>
                <a:cubicBezTo>
                  <a:pt x="1569190" y="475974"/>
                  <a:pt x="1570368" y="484135"/>
                  <a:pt x="1572724" y="490362"/>
                </a:cubicBezTo>
                <a:cubicBezTo>
                  <a:pt x="1575080" y="496588"/>
                  <a:pt x="1578193" y="501384"/>
                  <a:pt x="1582063" y="504749"/>
                </a:cubicBezTo>
                <a:cubicBezTo>
                  <a:pt x="1585933" y="508115"/>
                  <a:pt x="1590477" y="510302"/>
                  <a:pt x="1595693" y="511312"/>
                </a:cubicBezTo>
                <a:cubicBezTo>
                  <a:pt x="1600910" y="512322"/>
                  <a:pt x="1606379" y="512826"/>
                  <a:pt x="1612100" y="512826"/>
                </a:cubicBezTo>
                <a:cubicBezTo>
                  <a:pt x="1622533" y="512826"/>
                  <a:pt x="1633555" y="511396"/>
                  <a:pt x="1645166" y="508535"/>
                </a:cubicBezTo>
                <a:cubicBezTo>
                  <a:pt x="1656777" y="505675"/>
                  <a:pt x="1666453" y="502898"/>
                  <a:pt x="1674194" y="500206"/>
                </a:cubicBezTo>
                <a:lnTo>
                  <a:pt x="1684795" y="550688"/>
                </a:lnTo>
                <a:cubicBezTo>
                  <a:pt x="1673689" y="556073"/>
                  <a:pt x="1661236" y="559943"/>
                  <a:pt x="1647438" y="562299"/>
                </a:cubicBezTo>
                <a:cubicBezTo>
                  <a:pt x="1633639" y="564655"/>
                  <a:pt x="1620178" y="565833"/>
                  <a:pt x="1607052" y="565833"/>
                </a:cubicBezTo>
                <a:close/>
                <a:moveTo>
                  <a:pt x="0" y="796029"/>
                </a:moveTo>
                <a:lnTo>
                  <a:pt x="4876802" y="796029"/>
                </a:lnTo>
                <a:lnTo>
                  <a:pt x="4824822" y="344498"/>
                </a:lnTo>
                <a:cubicBezTo>
                  <a:pt x="4801968" y="145891"/>
                  <a:pt x="4682292" y="207"/>
                  <a:pt x="4541980" y="155"/>
                </a:cubicBezTo>
                <a:lnTo>
                  <a:pt x="0" y="0"/>
                </a:lnTo>
                <a:close/>
              </a:path>
            </a:pathLst>
          </a:custGeom>
          <a:solidFill>
            <a:schemeClr val="bg1"/>
          </a:solidFill>
          <a:ln w="2834" cap="flat">
            <a:noFill/>
            <a:prstDash val="solid"/>
            <a:miter/>
          </a:ln>
        </p:spPr>
        <p:txBody>
          <a:bodyPr wrap="square" rtlCol="0" anchor="ctr">
            <a:noAutofit/>
          </a:bodyPr>
          <a:lstStyle/>
          <a:p>
            <a:endParaRPr lang="en-US"/>
          </a:p>
        </p:txBody>
      </p:sp>
      <p:pic>
        <p:nvPicPr>
          <p:cNvPr id="11" name="Imagen 10" descr="Un dibujo de una cara feliz&#10;&#10;Descripción generada automáticamente con confianza baja">
            <a:extLst>
              <a:ext uri="{FF2B5EF4-FFF2-40B4-BE49-F238E27FC236}">
                <a16:creationId xmlns:a16="http://schemas.microsoft.com/office/drawing/2014/main" id="{AAE5E7C8-61FF-4E9E-B7AA-24C524932BC4}"/>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7824450" y="406400"/>
            <a:ext cx="1801936" cy="934010"/>
          </a:xfrm>
          <a:prstGeom prst="rect">
            <a:avLst/>
          </a:prstGeom>
        </p:spPr>
      </p:pic>
    </p:spTree>
    <p:extLst>
      <p:ext uri="{BB962C8B-B14F-4D97-AF65-F5344CB8AC3E}">
        <p14:creationId xmlns:p14="http://schemas.microsoft.com/office/powerpoint/2010/main" val="462523358"/>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Cover7">
    <p:spTree>
      <p:nvGrpSpPr>
        <p:cNvPr id="1" name=""/>
        <p:cNvGrpSpPr/>
        <p:nvPr/>
      </p:nvGrpSpPr>
      <p:grpSpPr>
        <a:xfrm>
          <a:off x="0" y="0"/>
          <a:ext cx="0" cy="0"/>
          <a:chOff x="0" y="0"/>
          <a:chExt cx="0" cy="0"/>
        </a:xfrm>
      </p:grpSpPr>
      <p:sp>
        <p:nvSpPr>
          <p:cNvPr id="11" name="Freeform 10"/>
          <p:cNvSpPr/>
          <p:nvPr userDrawn="1"/>
        </p:nvSpPr>
        <p:spPr>
          <a:xfrm>
            <a:off x="0" y="881098"/>
            <a:ext cx="14072870" cy="10447302"/>
          </a:xfrm>
          <a:custGeom>
            <a:avLst/>
            <a:gdLst>
              <a:gd name="connsiteX0" fmla="*/ 0 w 8534400"/>
              <a:gd name="connsiteY0" fmla="*/ 0 h 6324600"/>
              <a:gd name="connsiteX1" fmla="*/ 348343 w 8534400"/>
              <a:gd name="connsiteY1" fmla="*/ 58194 h 6324600"/>
              <a:gd name="connsiteX2" fmla="*/ 8534400 w 8534400"/>
              <a:gd name="connsiteY2" fmla="*/ 1818574 h 6324600"/>
              <a:gd name="connsiteX3" fmla="*/ 8534400 w 8534400"/>
              <a:gd name="connsiteY3" fmla="*/ 6186046 h 6324600"/>
              <a:gd name="connsiteX4" fmla="*/ 8534400 w 8534400"/>
              <a:gd name="connsiteY4" fmla="*/ 6324600 h 6324600"/>
              <a:gd name="connsiteX5" fmla="*/ 0 w 8534400"/>
              <a:gd name="connsiteY5" fmla="*/ 6324600 h 6324600"/>
              <a:gd name="connsiteX6" fmla="*/ 0 w 8534400"/>
              <a:gd name="connsiteY6" fmla="*/ 6241218 h 6324600"/>
              <a:gd name="connsiteX7" fmla="*/ 0 w 8534400"/>
              <a:gd name="connsiteY7" fmla="*/ 0 h 6324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34400" h="6324600">
                <a:moveTo>
                  <a:pt x="0" y="0"/>
                </a:moveTo>
                <a:cubicBezTo>
                  <a:pt x="116114" y="14549"/>
                  <a:pt x="232229" y="29097"/>
                  <a:pt x="348343" y="58194"/>
                </a:cubicBezTo>
                <a:cubicBezTo>
                  <a:pt x="3556000" y="611041"/>
                  <a:pt x="6284686" y="1207533"/>
                  <a:pt x="8534400" y="1818574"/>
                </a:cubicBezTo>
                <a:cubicBezTo>
                  <a:pt x="8534400" y="1818574"/>
                  <a:pt x="8534400" y="1818574"/>
                  <a:pt x="8534400" y="6186046"/>
                </a:cubicBezTo>
                <a:lnTo>
                  <a:pt x="8534400" y="6324600"/>
                </a:lnTo>
                <a:lnTo>
                  <a:pt x="0" y="6324600"/>
                </a:lnTo>
                <a:lnTo>
                  <a:pt x="0" y="6241218"/>
                </a:lnTo>
                <a:cubicBezTo>
                  <a:pt x="0" y="4953254"/>
                  <a:pt x="0" y="2990644"/>
                  <a:pt x="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1"/>
          <p:cNvSpPr>
            <a:spLocks noGrp="1"/>
          </p:cNvSpPr>
          <p:nvPr>
            <p:ph type="ctrTitle" hasCustomPrompt="1"/>
          </p:nvPr>
        </p:nvSpPr>
        <p:spPr>
          <a:xfrm>
            <a:off x="672755" y="4657232"/>
            <a:ext cx="8191913" cy="11905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ts val="4947"/>
              </a:lnSpc>
              <a:defRPr lang="en-US" sz="4287" b="0" dirty="0">
                <a:solidFill>
                  <a:schemeClr val="bg1"/>
                </a:solidFill>
              </a:defRPr>
            </a:lvl1pPr>
          </a:lstStyle>
          <a:p>
            <a:pPr marL="0" lvl="0"/>
            <a:r>
              <a:rPr lang="en-US"/>
              <a:t>Title of Presentation</a:t>
            </a:r>
          </a:p>
        </p:txBody>
      </p:sp>
      <p:sp>
        <p:nvSpPr>
          <p:cNvPr id="9" name="Subtitle 2"/>
          <p:cNvSpPr>
            <a:spLocks noGrp="1"/>
          </p:cNvSpPr>
          <p:nvPr>
            <p:ph type="subTitle" idx="1" hasCustomPrompt="1"/>
          </p:nvPr>
        </p:nvSpPr>
        <p:spPr>
          <a:xfrm>
            <a:off x="672755" y="6167683"/>
            <a:ext cx="8191913" cy="20218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1507846" rtl="0" eaLnBrk="1" fontAlgn="auto" latinLnBrk="0" hangingPunct="1">
              <a:lnSpc>
                <a:spcPts val="2968"/>
              </a:lnSpc>
              <a:spcBef>
                <a:spcPts val="0"/>
              </a:spcBef>
              <a:spcAft>
                <a:spcPts val="0"/>
              </a:spcAft>
              <a:buClrTx/>
              <a:buSzTx/>
              <a:buFont typeface="Arial" panose="020B0604020202020204" pitchFamily="34" charset="0"/>
              <a:buNone/>
              <a:tabLst/>
              <a:defRPr lang="en-US" sz="2638" dirty="0">
                <a:solidFill>
                  <a:schemeClr val="bg1"/>
                </a:solidFill>
              </a:defRPr>
            </a:lvl1pPr>
          </a:lstStyle>
          <a:p>
            <a:pPr marL="0" lvl="0"/>
            <a:r>
              <a:rPr lang="en-US"/>
              <a:t>Sub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6890336" y="679706"/>
            <a:ext cx="2600965" cy="1355257"/>
          </a:xfrm>
          <a:prstGeom prst="rect">
            <a:avLst/>
          </a:prstGeom>
        </p:spPr>
      </p:pic>
    </p:spTree>
    <p:extLst>
      <p:ext uri="{BB962C8B-B14F-4D97-AF65-F5344CB8AC3E}">
        <p14:creationId xmlns:p14="http://schemas.microsoft.com/office/powerpoint/2010/main" val="3608423553"/>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Cover8">
    <p:spTree>
      <p:nvGrpSpPr>
        <p:cNvPr id="1" name=""/>
        <p:cNvGrpSpPr/>
        <p:nvPr/>
      </p:nvGrpSpPr>
      <p:grpSpPr>
        <a:xfrm>
          <a:off x="0" y="0"/>
          <a:ext cx="0" cy="0"/>
          <a:chOff x="0" y="0"/>
          <a:chExt cx="0" cy="0"/>
        </a:xfrm>
      </p:grpSpPr>
      <p:sp>
        <p:nvSpPr>
          <p:cNvPr id="10" name="Freeform 9"/>
          <p:cNvSpPr/>
          <p:nvPr userDrawn="1"/>
        </p:nvSpPr>
        <p:spPr>
          <a:xfrm>
            <a:off x="2136061" y="2"/>
            <a:ext cx="17968039" cy="9197685"/>
          </a:xfrm>
          <a:custGeom>
            <a:avLst/>
            <a:gdLst>
              <a:gd name="connsiteX0" fmla="*/ 0 w 10896600"/>
              <a:gd name="connsiteY0" fmla="*/ 0 h 5568105"/>
              <a:gd name="connsiteX1" fmla="*/ 10896600 w 10896600"/>
              <a:gd name="connsiteY1" fmla="*/ 0 h 5568105"/>
              <a:gd name="connsiteX2" fmla="*/ 10896600 w 10896600"/>
              <a:gd name="connsiteY2" fmla="*/ 80960 h 5568105"/>
              <a:gd name="connsiteX3" fmla="*/ 10896600 w 10896600"/>
              <a:gd name="connsiteY3" fmla="*/ 5568105 h 5568105"/>
              <a:gd name="connsiteX4" fmla="*/ 10451841 w 10896600"/>
              <a:gd name="connsiteY4" fmla="*/ 5493803 h 5568105"/>
              <a:gd name="connsiteX5" fmla="*/ 0 w 10896600"/>
              <a:gd name="connsiteY5" fmla="*/ 3246176 h 5568105"/>
              <a:gd name="connsiteX6" fmla="*/ 0 w 10896600"/>
              <a:gd name="connsiteY6" fmla="*/ 191975 h 5568105"/>
              <a:gd name="connsiteX7" fmla="*/ 0 w 10896600"/>
              <a:gd name="connsiteY7" fmla="*/ 0 h 5568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96600" h="5568105">
                <a:moveTo>
                  <a:pt x="0" y="0"/>
                </a:moveTo>
                <a:lnTo>
                  <a:pt x="10896600" y="0"/>
                </a:lnTo>
                <a:lnTo>
                  <a:pt x="10896600" y="80960"/>
                </a:lnTo>
                <a:cubicBezTo>
                  <a:pt x="10896600" y="1513754"/>
                  <a:pt x="10896600" y="3311770"/>
                  <a:pt x="10896600" y="5568105"/>
                </a:cubicBezTo>
                <a:cubicBezTo>
                  <a:pt x="10748347" y="5549530"/>
                  <a:pt x="10600094" y="5530954"/>
                  <a:pt x="10451841" y="5493803"/>
                </a:cubicBezTo>
                <a:cubicBezTo>
                  <a:pt x="6356350" y="4787937"/>
                  <a:pt x="2872403" y="4026344"/>
                  <a:pt x="0" y="3246176"/>
                </a:cubicBezTo>
                <a:cubicBezTo>
                  <a:pt x="0" y="3246176"/>
                  <a:pt x="0" y="3246176"/>
                  <a:pt x="0" y="191975"/>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Title 1"/>
          <p:cNvSpPr>
            <a:spLocks noGrp="1"/>
          </p:cNvSpPr>
          <p:nvPr>
            <p:ph type="ctrTitle" hasCustomPrompt="1"/>
          </p:nvPr>
        </p:nvSpPr>
        <p:spPr>
          <a:xfrm>
            <a:off x="11239434" y="2382273"/>
            <a:ext cx="8191913" cy="11905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r">
              <a:lnSpc>
                <a:spcPts val="4947"/>
              </a:lnSpc>
              <a:defRPr lang="en-US" sz="4287" b="0" dirty="0">
                <a:solidFill>
                  <a:schemeClr val="bg1"/>
                </a:solidFill>
              </a:defRPr>
            </a:lvl1pPr>
          </a:lstStyle>
          <a:p>
            <a:pPr marL="0" lvl="0"/>
            <a:r>
              <a:rPr lang="en-US"/>
              <a:t>Title of Presentation</a:t>
            </a:r>
          </a:p>
        </p:txBody>
      </p:sp>
      <p:sp>
        <p:nvSpPr>
          <p:cNvPr id="9" name="Subtitle 2"/>
          <p:cNvSpPr>
            <a:spLocks noGrp="1"/>
          </p:cNvSpPr>
          <p:nvPr>
            <p:ph type="subTitle" idx="1" hasCustomPrompt="1"/>
          </p:nvPr>
        </p:nvSpPr>
        <p:spPr>
          <a:xfrm>
            <a:off x="11239434" y="3892725"/>
            <a:ext cx="8191913" cy="20218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1507846" rtl="0" eaLnBrk="1" fontAlgn="auto" latinLnBrk="0" hangingPunct="1">
              <a:lnSpc>
                <a:spcPts val="2968"/>
              </a:lnSpc>
              <a:spcBef>
                <a:spcPts val="0"/>
              </a:spcBef>
              <a:spcAft>
                <a:spcPts val="0"/>
              </a:spcAft>
              <a:buClrTx/>
              <a:buSzTx/>
              <a:buFont typeface="Arial" panose="020B0604020202020204" pitchFamily="34" charset="0"/>
              <a:buNone/>
              <a:tabLst/>
              <a:defRPr lang="en-US" sz="2638" dirty="0">
                <a:solidFill>
                  <a:schemeClr val="bg1"/>
                </a:solidFill>
              </a:defRPr>
            </a:lvl1pPr>
          </a:lstStyle>
          <a:p>
            <a:pPr marL="0" lvl="0"/>
            <a:r>
              <a:rPr lang="en-US"/>
              <a:t>Sub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65951" y="9417002"/>
            <a:ext cx="2600965" cy="1355257"/>
          </a:xfrm>
          <a:prstGeom prst="rect">
            <a:avLst/>
          </a:prstGeom>
        </p:spPr>
      </p:pic>
    </p:spTree>
    <p:extLst>
      <p:ext uri="{BB962C8B-B14F-4D97-AF65-F5344CB8AC3E}">
        <p14:creationId xmlns:p14="http://schemas.microsoft.com/office/powerpoint/2010/main" val="399511252"/>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over9">
    <p:spTree>
      <p:nvGrpSpPr>
        <p:cNvPr id="1" name=""/>
        <p:cNvGrpSpPr/>
        <p:nvPr/>
      </p:nvGrpSpPr>
      <p:grpSpPr>
        <a:xfrm>
          <a:off x="0" y="0"/>
          <a:ext cx="0" cy="0"/>
          <a:chOff x="0" y="0"/>
          <a:chExt cx="0" cy="0"/>
        </a:xfrm>
      </p:grpSpPr>
      <p:sp>
        <p:nvSpPr>
          <p:cNvPr id="13" name="Freeform 12"/>
          <p:cNvSpPr/>
          <p:nvPr userDrawn="1"/>
        </p:nvSpPr>
        <p:spPr>
          <a:xfrm>
            <a:off x="1" y="4"/>
            <a:ext cx="11112335" cy="9731345"/>
          </a:xfrm>
          <a:custGeom>
            <a:avLst/>
            <a:gdLst>
              <a:gd name="connsiteX0" fmla="*/ 0 w 8664800"/>
              <a:gd name="connsiteY0" fmla="*/ 0 h 5891173"/>
              <a:gd name="connsiteX1" fmla="*/ 8664800 w 8664800"/>
              <a:gd name="connsiteY1" fmla="*/ 0 h 5891173"/>
              <a:gd name="connsiteX2" fmla="*/ 8664384 w 8664800"/>
              <a:gd name="connsiteY2" fmla="*/ 3446 h 5891173"/>
              <a:gd name="connsiteX3" fmla="*/ 4910849 w 8664800"/>
              <a:gd name="connsiteY3" fmla="*/ 5752723 h 5891173"/>
              <a:gd name="connsiteX4" fmla="*/ 136189 w 8664800"/>
              <a:gd name="connsiteY4" fmla="*/ 3904223 h 5891173"/>
              <a:gd name="connsiteX5" fmla="*/ 0 w 8664800"/>
              <a:gd name="connsiteY5" fmla="*/ 3851498 h 5891173"/>
              <a:gd name="connsiteX6" fmla="*/ 0 w 8664800"/>
              <a:gd name="connsiteY6" fmla="*/ 0 h 5891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64800" h="5891173">
                <a:moveTo>
                  <a:pt x="0" y="0"/>
                </a:moveTo>
                <a:lnTo>
                  <a:pt x="8664800" y="0"/>
                </a:lnTo>
                <a:lnTo>
                  <a:pt x="8664384" y="3446"/>
                </a:lnTo>
                <a:cubicBezTo>
                  <a:pt x="8546736" y="969909"/>
                  <a:pt x="7776240" y="6862054"/>
                  <a:pt x="4910849" y="5752723"/>
                </a:cubicBezTo>
                <a:cubicBezTo>
                  <a:pt x="2738090" y="4911543"/>
                  <a:pt x="1210368" y="4320089"/>
                  <a:pt x="136189" y="3904223"/>
                </a:cubicBezTo>
                <a:lnTo>
                  <a:pt x="0" y="3851498"/>
                </a:ln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1"/>
          <p:cNvSpPr>
            <a:spLocks noGrp="1"/>
          </p:cNvSpPr>
          <p:nvPr>
            <p:ph type="ctrTitle" hasCustomPrompt="1"/>
          </p:nvPr>
        </p:nvSpPr>
        <p:spPr>
          <a:xfrm>
            <a:off x="672755" y="2382273"/>
            <a:ext cx="8191913" cy="11905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4947"/>
              </a:lnSpc>
              <a:defRPr lang="en-US" sz="4287" b="0" dirty="0">
                <a:solidFill>
                  <a:schemeClr val="bg1"/>
                </a:solidFill>
              </a:defRPr>
            </a:lvl1pPr>
          </a:lstStyle>
          <a:p>
            <a:pPr marL="0" lvl="0"/>
            <a:r>
              <a:rPr lang="en-US"/>
              <a:t>Title of Presentation</a:t>
            </a:r>
          </a:p>
        </p:txBody>
      </p:sp>
      <p:sp>
        <p:nvSpPr>
          <p:cNvPr id="9" name="Subtitle 2"/>
          <p:cNvSpPr>
            <a:spLocks noGrp="1"/>
          </p:cNvSpPr>
          <p:nvPr>
            <p:ph type="subTitle" idx="1" hasCustomPrompt="1"/>
          </p:nvPr>
        </p:nvSpPr>
        <p:spPr>
          <a:xfrm>
            <a:off x="672755" y="3892725"/>
            <a:ext cx="8191913" cy="20218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1507846" rtl="0" eaLnBrk="1" fontAlgn="auto" latinLnBrk="0" hangingPunct="1">
              <a:lnSpc>
                <a:spcPts val="2968"/>
              </a:lnSpc>
              <a:spcBef>
                <a:spcPts val="0"/>
              </a:spcBef>
              <a:spcAft>
                <a:spcPts val="0"/>
              </a:spcAft>
              <a:buClrTx/>
              <a:buSzTx/>
              <a:buFont typeface="Arial" panose="020B0604020202020204" pitchFamily="34" charset="0"/>
              <a:buNone/>
              <a:tabLst/>
              <a:defRPr lang="en-US" sz="2638" dirty="0">
                <a:solidFill>
                  <a:schemeClr val="bg1"/>
                </a:solidFill>
              </a:defRPr>
            </a:lvl1pPr>
          </a:lstStyle>
          <a:p>
            <a:pPr marL="0" lvl="0"/>
            <a:r>
              <a:rPr lang="en-US"/>
              <a:t>Sub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6890336" y="679706"/>
            <a:ext cx="2600965" cy="1355257"/>
          </a:xfrm>
          <a:prstGeom prst="rect">
            <a:avLst/>
          </a:prstGeom>
        </p:spPr>
      </p:pic>
    </p:spTree>
    <p:extLst>
      <p:ext uri="{BB962C8B-B14F-4D97-AF65-F5344CB8AC3E}">
        <p14:creationId xmlns:p14="http://schemas.microsoft.com/office/powerpoint/2010/main" val="2384479189"/>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over10">
    <p:spTree>
      <p:nvGrpSpPr>
        <p:cNvPr id="1" name=""/>
        <p:cNvGrpSpPr/>
        <p:nvPr/>
      </p:nvGrpSpPr>
      <p:grpSpPr>
        <a:xfrm>
          <a:off x="0" y="0"/>
          <a:ext cx="0" cy="0"/>
          <a:chOff x="0" y="0"/>
          <a:chExt cx="0" cy="0"/>
        </a:xfrm>
      </p:grpSpPr>
      <p:sp>
        <p:nvSpPr>
          <p:cNvPr id="15" name="Freeform 14"/>
          <p:cNvSpPr/>
          <p:nvPr userDrawn="1"/>
        </p:nvSpPr>
        <p:spPr>
          <a:xfrm>
            <a:off x="4457725" y="2529683"/>
            <a:ext cx="15646375" cy="8798719"/>
          </a:xfrm>
          <a:custGeom>
            <a:avLst/>
            <a:gdLst>
              <a:gd name="connsiteX0" fmla="*/ 8600219 w 9488642"/>
              <a:gd name="connsiteY0" fmla="*/ 517 h 5326579"/>
              <a:gd name="connsiteX1" fmla="*/ 9337654 w 9488642"/>
              <a:gd name="connsiteY1" fmla="*/ 75918 h 5326579"/>
              <a:gd name="connsiteX2" fmla="*/ 9488642 w 9488642"/>
              <a:gd name="connsiteY2" fmla="*/ 108110 h 5326579"/>
              <a:gd name="connsiteX3" fmla="*/ 9488642 w 9488642"/>
              <a:gd name="connsiteY3" fmla="*/ 5326579 h 5326579"/>
              <a:gd name="connsiteX4" fmla="*/ 0 w 9488642"/>
              <a:gd name="connsiteY4" fmla="*/ 5326579 h 5326579"/>
              <a:gd name="connsiteX5" fmla="*/ 239796 w 9488642"/>
              <a:gd name="connsiteY5" fmla="*/ 5146683 h 5326579"/>
              <a:gd name="connsiteX6" fmla="*/ 5947966 w 9488642"/>
              <a:gd name="connsiteY6" fmla="*/ 864382 h 5326579"/>
              <a:gd name="connsiteX7" fmla="*/ 8600219 w 9488642"/>
              <a:gd name="connsiteY7" fmla="*/ 517 h 5326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88642" h="5326579">
                <a:moveTo>
                  <a:pt x="8600219" y="517"/>
                </a:moveTo>
                <a:cubicBezTo>
                  <a:pt x="8847532" y="4354"/>
                  <a:pt x="9094309" y="29531"/>
                  <a:pt x="9337654" y="75918"/>
                </a:cubicBezTo>
                <a:lnTo>
                  <a:pt x="9488642" y="108110"/>
                </a:lnTo>
                <a:lnTo>
                  <a:pt x="9488642" y="5326579"/>
                </a:lnTo>
                <a:lnTo>
                  <a:pt x="0" y="5326579"/>
                </a:lnTo>
                <a:lnTo>
                  <a:pt x="239796" y="5146683"/>
                </a:lnTo>
                <a:cubicBezTo>
                  <a:pt x="5947966" y="864382"/>
                  <a:pt x="5947966" y="864382"/>
                  <a:pt x="5947966" y="864382"/>
                </a:cubicBezTo>
                <a:cubicBezTo>
                  <a:pt x="6737823" y="271827"/>
                  <a:pt x="7672794" y="-13871"/>
                  <a:pt x="8600219" y="517"/>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itle 1"/>
          <p:cNvSpPr>
            <a:spLocks noGrp="1"/>
          </p:cNvSpPr>
          <p:nvPr>
            <p:ph type="ctrTitle" hasCustomPrompt="1"/>
          </p:nvPr>
        </p:nvSpPr>
        <p:spPr>
          <a:xfrm>
            <a:off x="672755" y="4783103"/>
            <a:ext cx="8191913" cy="11905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4947"/>
              </a:lnSpc>
              <a:defRPr lang="en-US" sz="4287" b="0" dirty="0">
                <a:solidFill>
                  <a:schemeClr val="accent3"/>
                </a:solidFill>
              </a:defRPr>
            </a:lvl1pPr>
          </a:lstStyle>
          <a:p>
            <a:pPr marL="0" lvl="0"/>
            <a:r>
              <a:rPr lang="en-US"/>
              <a:t>Title of Presentation</a:t>
            </a:r>
          </a:p>
        </p:txBody>
      </p:sp>
      <p:sp>
        <p:nvSpPr>
          <p:cNvPr id="21" name="Subtitle 2"/>
          <p:cNvSpPr>
            <a:spLocks noGrp="1"/>
          </p:cNvSpPr>
          <p:nvPr>
            <p:ph type="subTitle" idx="1" hasCustomPrompt="1"/>
          </p:nvPr>
        </p:nvSpPr>
        <p:spPr>
          <a:xfrm>
            <a:off x="672755" y="6293555"/>
            <a:ext cx="8191913" cy="20218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1507846" rtl="0" eaLnBrk="1" fontAlgn="auto" latinLnBrk="0" hangingPunct="1">
              <a:lnSpc>
                <a:spcPts val="2968"/>
              </a:lnSpc>
              <a:spcBef>
                <a:spcPts val="0"/>
              </a:spcBef>
              <a:spcAft>
                <a:spcPts val="0"/>
              </a:spcAft>
              <a:buClrTx/>
              <a:buSzTx/>
              <a:buFont typeface="Arial" panose="020B0604020202020204" pitchFamily="34" charset="0"/>
              <a:buNone/>
              <a:tabLst/>
              <a:defRPr lang="en-US" sz="2638" dirty="0">
                <a:solidFill>
                  <a:schemeClr val="accent3"/>
                </a:solidFill>
              </a:defRPr>
            </a:lvl1pPr>
          </a:lstStyle>
          <a:p>
            <a:pPr marL="0" lvl="0"/>
            <a:r>
              <a:rPr lang="en-US"/>
              <a:t>Sub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65951" y="679706"/>
            <a:ext cx="2600965" cy="1355257"/>
          </a:xfrm>
          <a:prstGeom prst="rect">
            <a:avLst/>
          </a:prstGeom>
        </p:spPr>
      </p:pic>
    </p:spTree>
    <p:extLst>
      <p:ext uri="{BB962C8B-B14F-4D97-AF65-F5344CB8AC3E}">
        <p14:creationId xmlns:p14="http://schemas.microsoft.com/office/powerpoint/2010/main" val="1707948797"/>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over11">
    <p:spTree>
      <p:nvGrpSpPr>
        <p:cNvPr id="1" name=""/>
        <p:cNvGrpSpPr/>
        <p:nvPr/>
      </p:nvGrpSpPr>
      <p:grpSpPr>
        <a:xfrm>
          <a:off x="0" y="0"/>
          <a:ext cx="0" cy="0"/>
          <a:chOff x="0" y="0"/>
          <a:chExt cx="0" cy="0"/>
        </a:xfrm>
      </p:grpSpPr>
      <p:sp>
        <p:nvSpPr>
          <p:cNvPr id="9" name="Freeform 8"/>
          <p:cNvSpPr/>
          <p:nvPr userDrawn="1"/>
        </p:nvSpPr>
        <p:spPr>
          <a:xfrm>
            <a:off x="0" y="0"/>
            <a:ext cx="20104100" cy="9702284"/>
          </a:xfrm>
          <a:custGeom>
            <a:avLst/>
            <a:gdLst>
              <a:gd name="connsiteX0" fmla="*/ 0 w 12192000"/>
              <a:gd name="connsiteY0" fmla="*/ 0 h 5873580"/>
              <a:gd name="connsiteX1" fmla="*/ 12192000 w 12192000"/>
              <a:gd name="connsiteY1" fmla="*/ 0 h 5873580"/>
              <a:gd name="connsiteX2" fmla="*/ 12192000 w 12192000"/>
              <a:gd name="connsiteY2" fmla="*/ 448624 h 5873580"/>
              <a:gd name="connsiteX3" fmla="*/ 12192000 w 12192000"/>
              <a:gd name="connsiteY3" fmla="*/ 2347836 h 5873580"/>
              <a:gd name="connsiteX4" fmla="*/ 0 w 12192000"/>
              <a:gd name="connsiteY4" fmla="*/ 4899184 h 5873580"/>
              <a:gd name="connsiteX5" fmla="*/ 0 w 12192000"/>
              <a:gd name="connsiteY5" fmla="*/ 176498 h 5873580"/>
              <a:gd name="connsiteX6" fmla="*/ 0 w 12192000"/>
              <a:gd name="connsiteY6" fmla="*/ 0 h 5873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73580">
                <a:moveTo>
                  <a:pt x="0" y="0"/>
                </a:moveTo>
                <a:lnTo>
                  <a:pt x="12192000" y="0"/>
                </a:lnTo>
                <a:lnTo>
                  <a:pt x="12192000" y="448624"/>
                </a:lnTo>
                <a:cubicBezTo>
                  <a:pt x="12192000" y="1051556"/>
                  <a:pt x="12192000" y="1684140"/>
                  <a:pt x="12192000" y="2347836"/>
                </a:cubicBezTo>
                <a:cubicBezTo>
                  <a:pt x="12192000" y="7979192"/>
                  <a:pt x="1443790" y="5266946"/>
                  <a:pt x="0" y="4899184"/>
                </a:cubicBezTo>
                <a:cubicBezTo>
                  <a:pt x="0" y="4899184"/>
                  <a:pt x="0" y="4899184"/>
                  <a:pt x="0" y="176498"/>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0" name="Title 1"/>
          <p:cNvSpPr>
            <a:spLocks noGrp="1"/>
          </p:cNvSpPr>
          <p:nvPr>
            <p:ph type="ctrTitle" hasCustomPrompt="1"/>
          </p:nvPr>
        </p:nvSpPr>
        <p:spPr>
          <a:xfrm>
            <a:off x="672755" y="3142846"/>
            <a:ext cx="8191913" cy="11905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4947"/>
              </a:lnSpc>
              <a:defRPr lang="en-US" sz="4287" b="0" dirty="0">
                <a:solidFill>
                  <a:schemeClr val="bg1"/>
                </a:solidFill>
              </a:defRPr>
            </a:lvl1pPr>
          </a:lstStyle>
          <a:p>
            <a:pPr marL="0" lvl="0"/>
            <a:r>
              <a:rPr lang="en-US"/>
              <a:t>Title of Presentation</a:t>
            </a:r>
          </a:p>
        </p:txBody>
      </p:sp>
      <p:sp>
        <p:nvSpPr>
          <p:cNvPr id="21" name="Subtitle 2"/>
          <p:cNvSpPr>
            <a:spLocks noGrp="1"/>
          </p:cNvSpPr>
          <p:nvPr>
            <p:ph type="subTitle" idx="1" hasCustomPrompt="1"/>
          </p:nvPr>
        </p:nvSpPr>
        <p:spPr>
          <a:xfrm>
            <a:off x="672755" y="4653297"/>
            <a:ext cx="8191913" cy="20218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1507846" rtl="0" eaLnBrk="1" fontAlgn="auto" latinLnBrk="0" hangingPunct="1">
              <a:lnSpc>
                <a:spcPts val="2968"/>
              </a:lnSpc>
              <a:spcBef>
                <a:spcPts val="0"/>
              </a:spcBef>
              <a:spcAft>
                <a:spcPts val="0"/>
              </a:spcAft>
              <a:buClrTx/>
              <a:buSzTx/>
              <a:buFont typeface="Arial" panose="020B0604020202020204" pitchFamily="34" charset="0"/>
              <a:buNone/>
              <a:tabLst/>
              <a:defRPr lang="en-US" sz="2638" dirty="0">
                <a:solidFill>
                  <a:schemeClr val="bg1"/>
                </a:solidFill>
              </a:defRPr>
            </a:lvl1pPr>
          </a:lstStyle>
          <a:p>
            <a:pPr marL="0" lvl="0"/>
            <a:r>
              <a:rPr lang="en-US"/>
              <a:t>Subtitle</a:t>
            </a: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65951" y="9417002"/>
            <a:ext cx="2600965" cy="1355257"/>
          </a:xfrm>
          <a:prstGeom prst="rect">
            <a:avLst/>
          </a:prstGeom>
        </p:spPr>
      </p:pic>
    </p:spTree>
    <p:extLst>
      <p:ext uri="{BB962C8B-B14F-4D97-AF65-F5344CB8AC3E}">
        <p14:creationId xmlns:p14="http://schemas.microsoft.com/office/powerpoint/2010/main" val="182420054"/>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_Two columns">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6733E381-C11A-4F10-88ED-DDEA4B9167E2}"/>
              </a:ext>
            </a:extLst>
          </p:cNvPr>
          <p:cNvSpPr>
            <a:spLocks noGrp="1"/>
          </p:cNvSpPr>
          <p:nvPr>
            <p:ph type="title" hasCustomPrompt="1"/>
          </p:nvPr>
        </p:nvSpPr>
        <p:spPr>
          <a:xfrm>
            <a:off x="672755" y="668691"/>
            <a:ext cx="18047183" cy="1428941"/>
          </a:xfrm>
          <a:prstGeom prst="rect">
            <a:avLst/>
          </a:prstGeom>
        </p:spPr>
        <p:txBody>
          <a:bodyPr vert="horz" lIns="0" tIns="0" rIns="0" bIns="0" rtlCol="0" anchor="t">
            <a:normAutofit/>
          </a:bodyPr>
          <a:lstStyle>
            <a:lvl1pPr>
              <a:defRPr lang="pt-PT" dirty="0">
                <a:solidFill>
                  <a:schemeClr val="tx2"/>
                </a:solidFill>
                <a:latin typeface="Ubuntu" panose="020B0504030602030204" pitchFamily="34" charset="0"/>
              </a:defRPr>
            </a:lvl1pPr>
          </a:lstStyle>
          <a:p>
            <a:pPr lvl="0">
              <a:lnSpc>
                <a:spcPts val="4947"/>
              </a:lnSpc>
            </a:pPr>
            <a:r>
              <a:rPr lang="en-US" dirty="0"/>
              <a:t>Click to insert title</a:t>
            </a:r>
            <a:endParaRPr lang="pt-PT" dirty="0"/>
          </a:p>
        </p:txBody>
      </p:sp>
      <p:sp>
        <p:nvSpPr>
          <p:cNvPr id="16" name="Retângulo 43">
            <a:extLst>
              <a:ext uri="{FF2B5EF4-FFF2-40B4-BE49-F238E27FC236}">
                <a16:creationId xmlns:a16="http://schemas.microsoft.com/office/drawing/2014/main" id="{25FC8637-25BD-4C09-AF25-56B4243DAB3D}"/>
              </a:ext>
            </a:extLst>
          </p:cNvPr>
          <p:cNvSpPr/>
          <p:nvPr userDrawn="1"/>
        </p:nvSpPr>
        <p:spPr>
          <a:xfrm>
            <a:off x="19349792" y="10829142"/>
            <a:ext cx="481221" cy="295337"/>
          </a:xfrm>
          <a:prstGeom prst="rect">
            <a:avLst/>
          </a:prstGeom>
        </p:spPr>
        <p:txBody>
          <a:bodyPr wrap="none">
            <a:spAutoFit/>
          </a:bodyPr>
          <a:lstStyle/>
          <a:p>
            <a:pPr algn="r"/>
            <a:fld id="{0502E5A9-B53C-401E-A0E0-4A359BB0A9E5}" type="slidenum">
              <a:rPr lang="en-US" sz="1319" smtClean="0">
                <a:solidFill>
                  <a:prstClr val="black">
                    <a:lumMod val="50000"/>
                    <a:lumOff val="50000"/>
                  </a:prstClr>
                </a:solidFill>
                <a:cs typeface="Arial" panose="020B0604020202020204" pitchFamily="34" charset="0"/>
              </a:rPr>
              <a:t>‹#›</a:t>
            </a:fld>
            <a:endParaRPr lang="en-US" sz="1319">
              <a:solidFill>
                <a:prstClr val="black">
                  <a:lumMod val="50000"/>
                  <a:lumOff val="50000"/>
                </a:prstClr>
              </a:solidFill>
              <a:cs typeface="Arial" panose="020B0604020202020204" pitchFamily="34" charset="0"/>
            </a:endParaRPr>
          </a:p>
        </p:txBody>
      </p:sp>
      <p:sp>
        <p:nvSpPr>
          <p:cNvPr id="26" name="Retângulo 43">
            <a:extLst>
              <a:ext uri="{FF2B5EF4-FFF2-40B4-BE49-F238E27FC236}">
                <a16:creationId xmlns:a16="http://schemas.microsoft.com/office/drawing/2014/main" id="{834ADCB4-BFB1-450D-8F6D-64217F4CD92C}"/>
              </a:ext>
            </a:extLst>
          </p:cNvPr>
          <p:cNvSpPr/>
          <p:nvPr userDrawn="1"/>
        </p:nvSpPr>
        <p:spPr>
          <a:xfrm>
            <a:off x="698255" y="10829141"/>
            <a:ext cx="4274077" cy="362509"/>
          </a:xfrm>
          <a:prstGeom prst="rect">
            <a:avLst/>
          </a:prstGeom>
        </p:spPr>
        <p:txBody>
          <a:bodyPr wrap="none" lIns="0" tIns="0" rIns="0" bIns="0" anchor="ctr">
            <a:noAutofit/>
          </a:bodyPr>
          <a:lstStyle/>
          <a:p>
            <a:pPr>
              <a:lnSpc>
                <a:spcPct val="100000"/>
              </a:lnSpc>
            </a:pPr>
            <a:r>
              <a:rPr lang="en-US" sz="1319" dirty="0">
                <a:solidFill>
                  <a:schemeClr val="bg2">
                    <a:lumMod val="50000"/>
                  </a:schemeClr>
                </a:solidFill>
                <a:cs typeface="Arial" panose="020B0604020202020204" pitchFamily="34" charset="0"/>
              </a:rPr>
              <a:t>© 2019 Sogeti. All rights reserved.</a:t>
            </a:r>
          </a:p>
        </p:txBody>
      </p:sp>
      <p:pic>
        <p:nvPicPr>
          <p:cNvPr id="17" name="Imagen 16">
            <a:extLst>
              <a:ext uri="{FF2B5EF4-FFF2-40B4-BE49-F238E27FC236}">
                <a16:creationId xmlns:a16="http://schemas.microsoft.com/office/drawing/2014/main" id="{B19D9FA0-2C4F-C34D-8626-CD98EE45060D}"/>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7545396" y="503485"/>
            <a:ext cx="1962528" cy="1019036"/>
          </a:xfrm>
          <a:prstGeom prst="rect">
            <a:avLst/>
          </a:prstGeom>
        </p:spPr>
      </p:pic>
      <p:sp>
        <p:nvSpPr>
          <p:cNvPr id="2" name="Triángulo 1">
            <a:hlinkClick r:id="" action="ppaction://hlinkshowjump?jump=nextslide"/>
            <a:extLst>
              <a:ext uri="{FF2B5EF4-FFF2-40B4-BE49-F238E27FC236}">
                <a16:creationId xmlns:a16="http://schemas.microsoft.com/office/drawing/2014/main" id="{11E3E062-CBF5-D846-8ECE-D8A9256E94E4}"/>
              </a:ext>
            </a:extLst>
          </p:cNvPr>
          <p:cNvSpPr/>
          <p:nvPr userDrawn="1"/>
        </p:nvSpPr>
        <p:spPr>
          <a:xfrm rot="5400000">
            <a:off x="16659910" y="600985"/>
            <a:ext cx="762156" cy="567156"/>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Tree>
    <p:extLst>
      <p:ext uri="{BB962C8B-B14F-4D97-AF65-F5344CB8AC3E}">
        <p14:creationId xmlns:p14="http://schemas.microsoft.com/office/powerpoint/2010/main" val="3360239953"/>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1_Cover11">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9192243"/>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672755" y="668691"/>
            <a:ext cx="15661826" cy="1426539"/>
          </a:xfrm>
          <a:prstGeom prst="rect">
            <a:avLst/>
          </a:prstGeom>
        </p:spPr>
        <p:txBody>
          <a:bodyPr vert="horz" lIns="0" tIns="0" rIns="0" bIns="0" rtlCol="0" anchor="t">
            <a:normAutofit/>
          </a:bodyPr>
          <a:lstStyle>
            <a:lvl1pPr>
              <a:defRPr lang="pt-PT" b="1" i="0" dirty="0">
                <a:latin typeface="Ubuntu" panose="020B0504030602030204" pitchFamily="34" charset="0"/>
              </a:defRPr>
            </a:lvl1pPr>
          </a:lstStyle>
          <a:p>
            <a:pPr lvl="0">
              <a:lnSpc>
                <a:spcPts val="4947"/>
              </a:lnSpc>
            </a:pPr>
            <a:r>
              <a:rPr lang="en-US"/>
              <a:t>Click to add title</a:t>
            </a:r>
            <a:endParaRPr lang="pt-PT"/>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626297" y="10829141"/>
            <a:ext cx="4274077" cy="362509"/>
          </a:xfrm>
          <a:prstGeom prst="rect">
            <a:avLst/>
          </a:prstGeom>
        </p:spPr>
        <p:txBody>
          <a:bodyPr wrap="none" lIns="0" tIns="0" rIns="0" bIns="0" anchor="ctr">
            <a:noAutofit/>
          </a:bodyPr>
          <a:lstStyle/>
          <a:p>
            <a:pPr>
              <a:lnSpc>
                <a:spcPct val="100000"/>
              </a:lnSpc>
            </a:pPr>
            <a:r>
              <a:rPr lang="en-US" sz="1319">
                <a:solidFill>
                  <a:schemeClr val="bg2">
                    <a:lumMod val="50000"/>
                  </a:schemeClr>
                </a:solidFill>
                <a:cs typeface="Arial" panose="020B0604020202020204" pitchFamily="34" charset="0"/>
              </a:rPr>
              <a:t>© 2019 Sogeti. All rights reserved.</a:t>
            </a:r>
          </a:p>
        </p:txBody>
      </p:sp>
      <p:pic>
        <p:nvPicPr>
          <p:cNvPr id="4" name="Imagen 3">
            <a:extLst>
              <a:ext uri="{FF2B5EF4-FFF2-40B4-BE49-F238E27FC236}">
                <a16:creationId xmlns:a16="http://schemas.microsoft.com/office/drawing/2014/main" id="{7FA23FA5-8013-B04A-A8B2-00AEAF9D5720}"/>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6760600" y="503485"/>
            <a:ext cx="2747325" cy="1426539"/>
          </a:xfrm>
          <a:prstGeom prst="rect">
            <a:avLst/>
          </a:prstGeom>
        </p:spPr>
      </p:pic>
      <p:sp>
        <p:nvSpPr>
          <p:cNvPr id="8" name="Título 1">
            <a:extLst>
              <a:ext uri="{FF2B5EF4-FFF2-40B4-BE49-F238E27FC236}">
                <a16:creationId xmlns:a16="http://schemas.microsoft.com/office/drawing/2014/main" id="{C8EF7944-6A84-F04C-A012-53E9228417A2}"/>
              </a:ext>
            </a:extLst>
          </p:cNvPr>
          <p:cNvSpPr txBox="1">
            <a:spLocks/>
          </p:cNvSpPr>
          <p:nvPr userDrawn="1"/>
        </p:nvSpPr>
        <p:spPr>
          <a:xfrm>
            <a:off x="17715895" y="10271032"/>
            <a:ext cx="8450590" cy="1190531"/>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lang="pt-PT" sz="2600" b="1" i="0" kern="1200">
                <a:solidFill>
                  <a:schemeClr val="tx2"/>
                </a:solidFill>
                <a:latin typeface="Ubuntu" panose="020B0504030602030204" pitchFamily="34" charset="0"/>
                <a:ea typeface="Verdana" panose="020B0604030504040204" pitchFamily="34" charset="0"/>
                <a:cs typeface="Verdana" panose="020B0604030504040204" pitchFamily="34" charset="0"/>
              </a:defRPr>
            </a:lvl1pPr>
          </a:lstStyle>
          <a:p>
            <a:pPr>
              <a:lnSpc>
                <a:spcPts val="8245"/>
              </a:lnSpc>
            </a:pPr>
            <a:r>
              <a:rPr lang="es-ES_tradnl" sz="2638" dirty="0">
                <a:solidFill>
                  <a:schemeClr val="accent2"/>
                </a:solidFill>
                <a:latin typeface="Ubuntu Mono" panose="020B0509030602030204" pitchFamily="49" charset="0"/>
              </a:rPr>
              <a:t>COGNITIVE</a:t>
            </a:r>
            <a:r>
              <a:rPr lang="es-ES_tradnl" sz="2638" dirty="0">
                <a:solidFill>
                  <a:schemeClr val="accent5"/>
                </a:solidFill>
                <a:latin typeface="Ubuntu Mono" panose="020B0509030602030204" pitchFamily="49" charset="0"/>
              </a:rPr>
              <a:t>QA</a:t>
            </a:r>
          </a:p>
        </p:txBody>
      </p:sp>
      <p:pic>
        <p:nvPicPr>
          <p:cNvPr id="10" name="Gráfico 9" descr="Cerebro">
            <a:extLst>
              <a:ext uri="{FF2B5EF4-FFF2-40B4-BE49-F238E27FC236}">
                <a16:creationId xmlns:a16="http://schemas.microsoft.com/office/drawing/2014/main" id="{1FA572AE-0AD2-8942-9D84-26037EDBBB2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7679220" y="10369075"/>
            <a:ext cx="455042" cy="455840"/>
          </a:xfrm>
          <a:prstGeom prst="rect">
            <a:avLst/>
          </a:prstGeom>
        </p:spPr>
      </p:pic>
    </p:spTree>
    <p:extLst>
      <p:ext uri="{BB962C8B-B14F-4D97-AF65-F5344CB8AC3E}">
        <p14:creationId xmlns:p14="http://schemas.microsoft.com/office/powerpoint/2010/main" val="3510993375"/>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672754" y="3321224"/>
            <a:ext cx="9141085" cy="7338486"/>
          </a:xfrm>
          <a:prstGeom prst="rect">
            <a:avLst/>
          </a:prstGeom>
        </p:spPr>
        <p:txBody>
          <a:bodyPr>
            <a:noAutofit/>
          </a:bodyPr>
          <a:lstStyle>
            <a:lvl1pPr>
              <a:lnSpc>
                <a:spcPct val="100000"/>
              </a:lnSpc>
              <a:defRPr sz="2309">
                <a:solidFill>
                  <a:schemeClr val="tx1"/>
                </a:solidFill>
              </a:defRPr>
            </a:lvl1pPr>
            <a:lvl2pPr>
              <a:lnSpc>
                <a:spcPct val="100000"/>
              </a:lnSpc>
              <a:defRPr sz="1979"/>
            </a:lvl2pPr>
            <a:lvl3pPr>
              <a:lnSpc>
                <a:spcPct val="100000"/>
              </a:lnSpc>
              <a:defRPr sz="1979"/>
            </a:lvl3pPr>
            <a:lvl4pPr>
              <a:lnSpc>
                <a:spcPct val="100000"/>
              </a:lnSpc>
              <a:defRPr sz="1979"/>
            </a:lvl4pPr>
            <a:lvl5pPr>
              <a:lnSpc>
                <a:spcPct val="100000"/>
              </a:lnSpc>
              <a:defRPr sz="1979"/>
            </a:lvl5pPr>
          </a:lstStyle>
          <a:p>
            <a:pPr lvl="0"/>
            <a:r>
              <a:rPr lang="en-US"/>
              <a:t>Click to insert long text</a:t>
            </a:r>
          </a:p>
        </p:txBody>
      </p:sp>
      <p:sp>
        <p:nvSpPr>
          <p:cNvPr id="11" name="Text Placeholder 7">
            <a:extLst>
              <a:ext uri="{FF2B5EF4-FFF2-40B4-BE49-F238E27FC236}">
                <a16:creationId xmlns:a16="http://schemas.microsoft.com/office/drawing/2014/main" id="{4F279807-494A-45DD-A5C6-24F625316B92}"/>
              </a:ext>
            </a:extLst>
          </p:cNvPr>
          <p:cNvSpPr>
            <a:spLocks noGrp="1"/>
          </p:cNvSpPr>
          <p:nvPr>
            <p:ph type="body" sz="quarter" idx="11" hasCustomPrompt="1"/>
          </p:nvPr>
        </p:nvSpPr>
        <p:spPr>
          <a:xfrm>
            <a:off x="10290267" y="3321223"/>
            <a:ext cx="9096386" cy="7336489"/>
          </a:xfrm>
          <a:prstGeom prst="rect">
            <a:avLst/>
          </a:prstGeom>
        </p:spPr>
        <p:txBody>
          <a:bodyPr>
            <a:noAutofit/>
          </a:bodyPr>
          <a:lstStyle>
            <a:lvl1pPr>
              <a:lnSpc>
                <a:spcPct val="100000"/>
              </a:lnSpc>
              <a:defRPr sz="2309">
                <a:solidFill>
                  <a:schemeClr val="tx1"/>
                </a:solidFill>
              </a:defRPr>
            </a:lvl1pPr>
            <a:lvl2pPr>
              <a:lnSpc>
                <a:spcPct val="100000"/>
              </a:lnSpc>
              <a:defRPr sz="1979"/>
            </a:lvl2pPr>
            <a:lvl3pPr>
              <a:lnSpc>
                <a:spcPct val="100000"/>
              </a:lnSpc>
              <a:defRPr sz="1979"/>
            </a:lvl3pPr>
            <a:lvl4pPr>
              <a:lnSpc>
                <a:spcPct val="100000"/>
              </a:lnSpc>
              <a:defRPr sz="1979"/>
            </a:lvl4pPr>
            <a:lvl5pPr>
              <a:lnSpc>
                <a:spcPct val="100000"/>
              </a:lnSpc>
              <a:defRPr sz="1979"/>
            </a:lvl5pPr>
          </a:lstStyle>
          <a:p>
            <a:pPr lvl="0"/>
            <a:r>
              <a:rPr lang="en-US"/>
              <a:t>Click to insert long text</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672754" y="2347265"/>
            <a:ext cx="9141085" cy="724327"/>
          </a:xfrm>
          <a:prstGeom prst="rect">
            <a:avLst/>
          </a:prstGeom>
        </p:spPr>
        <p:txBody>
          <a:bodyPr>
            <a:noAutofit/>
          </a:bodyPr>
          <a:lstStyle>
            <a:lvl1pPr>
              <a:lnSpc>
                <a:spcPts val="3628"/>
              </a:lnSpc>
              <a:defRPr sz="2968" b="0">
                <a:solidFill>
                  <a:srgbClr val="12ABDB"/>
                </a:solidFill>
              </a:defRPr>
            </a:lvl1pPr>
            <a:lvl2pPr>
              <a:lnSpc>
                <a:spcPct val="100000"/>
              </a:lnSpc>
              <a:defRPr sz="1979"/>
            </a:lvl2pPr>
            <a:lvl3pPr>
              <a:lnSpc>
                <a:spcPct val="100000"/>
              </a:lnSpc>
              <a:defRPr sz="1979"/>
            </a:lvl3pPr>
            <a:lvl4pPr>
              <a:lnSpc>
                <a:spcPct val="100000"/>
              </a:lnSpc>
              <a:defRPr sz="1979"/>
            </a:lvl4pPr>
            <a:lvl5pPr>
              <a:lnSpc>
                <a:spcPct val="100000"/>
              </a:lnSpc>
              <a:defRPr sz="1979"/>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10290267" y="2347265"/>
            <a:ext cx="9096386" cy="724327"/>
          </a:xfrm>
          <a:prstGeom prst="rect">
            <a:avLst/>
          </a:prstGeom>
        </p:spPr>
        <p:txBody>
          <a:bodyPr>
            <a:noAutofit/>
          </a:bodyPr>
          <a:lstStyle>
            <a:lvl1pPr>
              <a:lnSpc>
                <a:spcPts val="3628"/>
              </a:lnSpc>
              <a:defRPr sz="2968" b="0">
                <a:solidFill>
                  <a:srgbClr val="12ABDB"/>
                </a:solidFill>
              </a:defRPr>
            </a:lvl1pPr>
            <a:lvl2pPr>
              <a:lnSpc>
                <a:spcPct val="100000"/>
              </a:lnSpc>
              <a:defRPr sz="1979"/>
            </a:lvl2pPr>
            <a:lvl3pPr>
              <a:lnSpc>
                <a:spcPct val="100000"/>
              </a:lnSpc>
              <a:defRPr sz="1979"/>
            </a:lvl3pPr>
            <a:lvl4pPr>
              <a:lnSpc>
                <a:spcPct val="100000"/>
              </a:lnSpc>
              <a:defRPr sz="1979"/>
            </a:lvl4pPr>
            <a:lvl5pPr>
              <a:lnSpc>
                <a:spcPct val="100000"/>
              </a:lnSpc>
              <a:defRPr sz="1979"/>
            </a:lvl5pPr>
          </a:lstStyle>
          <a:p>
            <a:pPr lvl="0"/>
            <a:r>
              <a:rPr lang="en-US"/>
              <a:t>Click to insert title</a:t>
            </a:r>
          </a:p>
        </p:txBody>
      </p:sp>
      <p:sp>
        <p:nvSpPr>
          <p:cNvPr id="9" name="Title Placeholder 1">
            <a:extLst>
              <a:ext uri="{FF2B5EF4-FFF2-40B4-BE49-F238E27FC236}">
                <a16:creationId xmlns:a16="http://schemas.microsoft.com/office/drawing/2014/main" id="{6733E381-C11A-4F10-88ED-DDEA4B9167E2}"/>
              </a:ext>
            </a:extLst>
          </p:cNvPr>
          <p:cNvSpPr>
            <a:spLocks noGrp="1"/>
          </p:cNvSpPr>
          <p:nvPr>
            <p:ph type="title" hasCustomPrompt="1"/>
          </p:nvPr>
        </p:nvSpPr>
        <p:spPr>
          <a:xfrm>
            <a:off x="672755" y="668691"/>
            <a:ext cx="18047183" cy="1428941"/>
          </a:xfrm>
          <a:prstGeom prst="rect">
            <a:avLst/>
          </a:prstGeom>
        </p:spPr>
        <p:txBody>
          <a:bodyPr vert="horz" lIns="0" tIns="0" rIns="0" bIns="0" rtlCol="0" anchor="t">
            <a:normAutofit/>
          </a:bodyPr>
          <a:lstStyle>
            <a:lvl1pPr>
              <a:defRPr lang="pt-PT" dirty="0">
                <a:solidFill>
                  <a:schemeClr val="tx2"/>
                </a:solidFill>
              </a:defRPr>
            </a:lvl1pPr>
          </a:lstStyle>
          <a:p>
            <a:pPr lvl="0">
              <a:lnSpc>
                <a:spcPts val="4947"/>
              </a:lnSpc>
            </a:pPr>
            <a:r>
              <a:rPr lang="en-US"/>
              <a:t>Click to insert title</a:t>
            </a:r>
            <a:endParaRPr lang="pt-PT"/>
          </a:p>
        </p:txBody>
      </p:sp>
      <p:sp>
        <p:nvSpPr>
          <p:cNvPr id="16" name="Retângulo 43">
            <a:extLst>
              <a:ext uri="{FF2B5EF4-FFF2-40B4-BE49-F238E27FC236}">
                <a16:creationId xmlns:a16="http://schemas.microsoft.com/office/drawing/2014/main" id="{25FC8637-25BD-4C09-AF25-56B4243DAB3D}"/>
              </a:ext>
            </a:extLst>
          </p:cNvPr>
          <p:cNvSpPr/>
          <p:nvPr userDrawn="1"/>
        </p:nvSpPr>
        <p:spPr>
          <a:xfrm>
            <a:off x="19349792" y="10829142"/>
            <a:ext cx="481221" cy="295337"/>
          </a:xfrm>
          <a:prstGeom prst="rect">
            <a:avLst/>
          </a:prstGeom>
        </p:spPr>
        <p:txBody>
          <a:bodyPr wrap="none">
            <a:spAutoFit/>
          </a:bodyPr>
          <a:lstStyle/>
          <a:p>
            <a:pPr algn="r"/>
            <a:fld id="{0502E5A9-B53C-401E-A0E0-4A359BB0A9E5}" type="slidenum">
              <a:rPr lang="en-US" sz="1319" smtClean="0">
                <a:solidFill>
                  <a:prstClr val="black">
                    <a:lumMod val="50000"/>
                    <a:lumOff val="50000"/>
                  </a:prstClr>
                </a:solidFill>
                <a:cs typeface="Arial" panose="020B0604020202020204" pitchFamily="34" charset="0"/>
              </a:rPr>
              <a:t>‹#›</a:t>
            </a:fld>
            <a:endParaRPr lang="en-US" sz="1319">
              <a:solidFill>
                <a:prstClr val="black">
                  <a:lumMod val="50000"/>
                  <a:lumOff val="50000"/>
                </a:prstClr>
              </a:solidFill>
              <a:cs typeface="Arial" panose="020B0604020202020204" pitchFamily="34" charset="0"/>
            </a:endParaRPr>
          </a:p>
        </p:txBody>
      </p:sp>
      <p:sp>
        <p:nvSpPr>
          <p:cNvPr id="26" name="Retângulo 43">
            <a:extLst>
              <a:ext uri="{FF2B5EF4-FFF2-40B4-BE49-F238E27FC236}">
                <a16:creationId xmlns:a16="http://schemas.microsoft.com/office/drawing/2014/main" id="{834ADCB4-BFB1-450D-8F6D-64217F4CD92C}"/>
              </a:ext>
            </a:extLst>
          </p:cNvPr>
          <p:cNvSpPr/>
          <p:nvPr userDrawn="1"/>
        </p:nvSpPr>
        <p:spPr>
          <a:xfrm>
            <a:off x="698255" y="10829141"/>
            <a:ext cx="4274077" cy="362509"/>
          </a:xfrm>
          <a:prstGeom prst="rect">
            <a:avLst/>
          </a:prstGeom>
        </p:spPr>
        <p:txBody>
          <a:bodyPr wrap="none" lIns="0" tIns="0" rIns="0" bIns="0" anchor="ctr">
            <a:noAutofit/>
          </a:bodyPr>
          <a:lstStyle/>
          <a:p>
            <a:pPr>
              <a:lnSpc>
                <a:spcPct val="100000"/>
              </a:lnSpc>
            </a:pPr>
            <a:r>
              <a:rPr lang="en-US" sz="1319" dirty="0">
                <a:solidFill>
                  <a:schemeClr val="bg2">
                    <a:lumMod val="50000"/>
                  </a:schemeClr>
                </a:solidFill>
                <a:cs typeface="Arial" panose="020B0604020202020204" pitchFamily="34" charset="0"/>
              </a:rPr>
              <a:t>© 2019 Sogeti. All rights reserved.</a:t>
            </a:r>
          </a:p>
        </p:txBody>
      </p:sp>
      <p:pic>
        <p:nvPicPr>
          <p:cNvPr id="17" name="Imagen 16">
            <a:extLst>
              <a:ext uri="{FF2B5EF4-FFF2-40B4-BE49-F238E27FC236}">
                <a16:creationId xmlns:a16="http://schemas.microsoft.com/office/drawing/2014/main" id="{B19D9FA0-2C4F-C34D-8626-CD98EE45060D}"/>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7545396" y="503485"/>
            <a:ext cx="1962528" cy="1019036"/>
          </a:xfrm>
          <a:prstGeom prst="rect">
            <a:avLst/>
          </a:prstGeom>
        </p:spPr>
      </p:pic>
    </p:spTree>
    <p:extLst>
      <p:ext uri="{BB962C8B-B14F-4D97-AF65-F5344CB8AC3E}">
        <p14:creationId xmlns:p14="http://schemas.microsoft.com/office/powerpoint/2010/main" val="2649374645"/>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hree column with content">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79F1DAD-5BB1-4142-B838-01DB99370135}"/>
              </a:ext>
            </a:extLst>
          </p:cNvPr>
          <p:cNvSpPr/>
          <p:nvPr userDrawn="1"/>
        </p:nvSpPr>
        <p:spPr>
          <a:xfrm>
            <a:off x="0" y="6734719"/>
            <a:ext cx="20104100" cy="459368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9" name="Text Placeholder 4">
            <a:extLst>
              <a:ext uri="{FF2B5EF4-FFF2-40B4-BE49-F238E27FC236}">
                <a16:creationId xmlns:a16="http://schemas.microsoft.com/office/drawing/2014/main" id="{04C1CAD0-39C3-4CE2-A9E9-8CA99EFF5357}"/>
              </a:ext>
            </a:extLst>
          </p:cNvPr>
          <p:cNvSpPr>
            <a:spLocks noGrp="1"/>
          </p:cNvSpPr>
          <p:nvPr>
            <p:ph type="body" sz="quarter" idx="13" hasCustomPrompt="1"/>
          </p:nvPr>
        </p:nvSpPr>
        <p:spPr>
          <a:xfrm>
            <a:off x="672754" y="2351142"/>
            <a:ext cx="5910957" cy="681163"/>
          </a:xfrm>
          <a:prstGeom prst="rect">
            <a:avLst/>
          </a:prstGeom>
          <a:noFill/>
        </p:spPr>
        <p:txBody>
          <a:bodyPr anchor="ctr">
            <a:noAutofit/>
          </a:bodyPr>
          <a:lstStyle>
            <a:lvl1pPr algn="l">
              <a:defRPr sz="2968" b="0">
                <a:solidFill>
                  <a:srgbClr val="12ABDB"/>
                </a:solidFill>
              </a:defRPr>
            </a:lvl1pPr>
            <a:lvl2pPr>
              <a:defRPr sz="2309"/>
            </a:lvl2pPr>
            <a:lvl3pPr>
              <a:defRPr sz="1979"/>
            </a:lvl3pPr>
            <a:lvl4pPr>
              <a:defRPr sz="1814"/>
            </a:lvl4pPr>
            <a:lvl5pPr>
              <a:defRPr sz="1814"/>
            </a:lvl5pPr>
          </a:lstStyle>
          <a:p>
            <a:pPr lvl="0"/>
            <a:r>
              <a:rPr lang="en-US"/>
              <a:t>Click to insert title</a:t>
            </a:r>
          </a:p>
        </p:txBody>
      </p:sp>
      <p:sp>
        <p:nvSpPr>
          <p:cNvPr id="37" name="Text Placeholder 4">
            <a:extLst>
              <a:ext uri="{FF2B5EF4-FFF2-40B4-BE49-F238E27FC236}">
                <a16:creationId xmlns:a16="http://schemas.microsoft.com/office/drawing/2014/main" id="{8D6FD04F-776D-4BC2-9828-DC149A95B778}"/>
              </a:ext>
            </a:extLst>
          </p:cNvPr>
          <p:cNvSpPr>
            <a:spLocks noGrp="1"/>
          </p:cNvSpPr>
          <p:nvPr>
            <p:ph type="body" sz="quarter" idx="27" hasCustomPrompt="1"/>
          </p:nvPr>
        </p:nvSpPr>
        <p:spPr>
          <a:xfrm>
            <a:off x="13550897" y="2351142"/>
            <a:ext cx="5880449" cy="681163"/>
          </a:xfrm>
          <a:prstGeom prst="rect">
            <a:avLst/>
          </a:prstGeom>
          <a:noFill/>
        </p:spPr>
        <p:txBody>
          <a:bodyPr anchor="ctr">
            <a:noAutofit/>
          </a:bodyPr>
          <a:lstStyle>
            <a:lvl1pPr algn="l">
              <a:defRPr sz="2968" b="0">
                <a:solidFill>
                  <a:srgbClr val="12ABDB"/>
                </a:solidFill>
              </a:defRPr>
            </a:lvl1pPr>
            <a:lvl2pPr>
              <a:defRPr sz="2309"/>
            </a:lvl2pPr>
            <a:lvl3pPr>
              <a:defRPr sz="1979"/>
            </a:lvl3pPr>
            <a:lvl4pPr>
              <a:defRPr sz="1814"/>
            </a:lvl4pPr>
            <a:lvl5pPr>
              <a:defRPr sz="1814"/>
            </a:lvl5pPr>
          </a:lstStyle>
          <a:p>
            <a:pPr lvl="0"/>
            <a:r>
              <a:rPr lang="en-US"/>
              <a:t>Click to insert title</a:t>
            </a:r>
          </a:p>
        </p:txBody>
      </p:sp>
      <p:sp>
        <p:nvSpPr>
          <p:cNvPr id="39" name="Text Placeholder 4">
            <a:extLst>
              <a:ext uri="{FF2B5EF4-FFF2-40B4-BE49-F238E27FC236}">
                <a16:creationId xmlns:a16="http://schemas.microsoft.com/office/drawing/2014/main" id="{5A2CDF95-9D29-4775-8BEF-90BC5372B782}"/>
              </a:ext>
            </a:extLst>
          </p:cNvPr>
          <p:cNvSpPr>
            <a:spLocks noGrp="1"/>
          </p:cNvSpPr>
          <p:nvPr>
            <p:ph type="body" sz="quarter" idx="29" hasCustomPrompt="1"/>
          </p:nvPr>
        </p:nvSpPr>
        <p:spPr>
          <a:xfrm>
            <a:off x="7127080" y="2351142"/>
            <a:ext cx="5880449" cy="681163"/>
          </a:xfrm>
          <a:prstGeom prst="rect">
            <a:avLst/>
          </a:prstGeom>
          <a:noFill/>
        </p:spPr>
        <p:txBody>
          <a:bodyPr anchor="ctr">
            <a:noAutofit/>
          </a:bodyPr>
          <a:lstStyle>
            <a:lvl1pPr algn="l">
              <a:defRPr sz="2968" b="0">
                <a:solidFill>
                  <a:srgbClr val="12ABDB"/>
                </a:solidFill>
              </a:defRPr>
            </a:lvl1pPr>
            <a:lvl2pPr>
              <a:defRPr sz="2309"/>
            </a:lvl2pPr>
            <a:lvl3pPr>
              <a:defRPr sz="1979"/>
            </a:lvl3pPr>
            <a:lvl4pPr>
              <a:defRPr sz="1814"/>
            </a:lvl4pPr>
            <a:lvl5pPr>
              <a:defRPr sz="1814"/>
            </a:lvl5pPr>
          </a:lstStyle>
          <a:p>
            <a:pPr lvl="0"/>
            <a:r>
              <a:rPr lang="en-US"/>
              <a:t>Click to insert title</a:t>
            </a:r>
          </a:p>
        </p:txBody>
      </p:sp>
      <p:sp>
        <p:nvSpPr>
          <p:cNvPr id="41" name="Text Placeholder 4">
            <a:extLst>
              <a:ext uri="{FF2B5EF4-FFF2-40B4-BE49-F238E27FC236}">
                <a16:creationId xmlns:a16="http://schemas.microsoft.com/office/drawing/2014/main" id="{6012FFDA-311F-429E-998E-F6E6B0A7186E}"/>
              </a:ext>
            </a:extLst>
          </p:cNvPr>
          <p:cNvSpPr>
            <a:spLocks noGrp="1"/>
          </p:cNvSpPr>
          <p:nvPr>
            <p:ph type="body" sz="quarter" idx="31" hasCustomPrompt="1"/>
          </p:nvPr>
        </p:nvSpPr>
        <p:spPr>
          <a:xfrm>
            <a:off x="672755" y="6990631"/>
            <a:ext cx="18758591" cy="681163"/>
          </a:xfrm>
          <a:prstGeom prst="rect">
            <a:avLst/>
          </a:prstGeom>
          <a:noFill/>
        </p:spPr>
        <p:txBody>
          <a:bodyPr vert="horz" lIns="0" tIns="0" rIns="0" bIns="0" rtlCol="0" anchor="ctr">
            <a:noAutofit/>
          </a:bodyPr>
          <a:lstStyle>
            <a:lvl1pPr>
              <a:defRPr lang="en-US" b="0" dirty="0">
                <a:solidFill>
                  <a:schemeClr val="accent4"/>
                </a:solidFill>
              </a:defRPr>
            </a:lvl1pPr>
          </a:lstStyle>
          <a:p>
            <a:pPr lvl="0"/>
            <a:r>
              <a:rPr lang="en-US"/>
              <a:t>Click to insert section title</a:t>
            </a:r>
          </a:p>
        </p:txBody>
      </p:sp>
      <p:sp>
        <p:nvSpPr>
          <p:cNvPr id="42"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703261" y="3083273"/>
            <a:ext cx="5880449" cy="3294607"/>
          </a:xfrm>
          <a:prstGeom prst="rect">
            <a:avLst/>
          </a:prstGeom>
        </p:spPr>
        <p:txBody>
          <a:bodyPr>
            <a:noAutofit/>
          </a:bodyPr>
          <a:lstStyle>
            <a:lvl1pPr>
              <a:lnSpc>
                <a:spcPts val="2638"/>
              </a:lnSpc>
              <a:defRPr sz="2309">
                <a:solidFill>
                  <a:schemeClr val="tx1"/>
                </a:solidFill>
              </a:defRPr>
            </a:lvl1pPr>
            <a:lvl2pPr marL="285340" indent="-277485">
              <a:lnSpc>
                <a:spcPts val="2309"/>
              </a:lnSpc>
              <a:defRPr sz="1979">
                <a:solidFill>
                  <a:schemeClr val="tx1"/>
                </a:solidFill>
              </a:defRPr>
            </a:lvl2pPr>
            <a:lvl3pPr marL="573296" indent="-287957">
              <a:lnSpc>
                <a:spcPts val="2309"/>
              </a:lnSpc>
              <a:defRPr sz="1979">
                <a:solidFill>
                  <a:schemeClr val="tx1"/>
                </a:solidFill>
              </a:defRPr>
            </a:lvl3pPr>
            <a:lvl4pPr marL="840311" indent="-267014">
              <a:lnSpc>
                <a:spcPts val="1979"/>
              </a:lnSpc>
              <a:defRPr sz="1814">
                <a:solidFill>
                  <a:schemeClr val="tx1"/>
                </a:solidFill>
              </a:defRPr>
            </a:lvl4pPr>
            <a:lvl5pPr>
              <a:lnSpc>
                <a:spcPct val="100000"/>
              </a:lnSpc>
              <a:defRPr sz="1979">
                <a:solidFill>
                  <a:schemeClr val="tx1"/>
                </a:solidFill>
              </a:defRPr>
            </a:lvl5pPr>
          </a:lstStyle>
          <a:p>
            <a:pPr lvl="0"/>
            <a:r>
              <a:rPr lang="en-US"/>
              <a:t>Click to insert text</a:t>
            </a:r>
          </a:p>
        </p:txBody>
      </p:sp>
      <p:sp>
        <p:nvSpPr>
          <p:cNvPr id="18" name="Retângulo 43">
            <a:extLst>
              <a:ext uri="{FF2B5EF4-FFF2-40B4-BE49-F238E27FC236}">
                <a16:creationId xmlns:a16="http://schemas.microsoft.com/office/drawing/2014/main" id="{25FC8637-25BD-4C09-AF25-56B4243DAB3D}"/>
              </a:ext>
            </a:extLst>
          </p:cNvPr>
          <p:cNvSpPr/>
          <p:nvPr userDrawn="1"/>
        </p:nvSpPr>
        <p:spPr>
          <a:xfrm>
            <a:off x="19349792" y="10829142"/>
            <a:ext cx="481221" cy="295337"/>
          </a:xfrm>
          <a:prstGeom prst="rect">
            <a:avLst/>
          </a:prstGeom>
        </p:spPr>
        <p:txBody>
          <a:bodyPr wrap="none">
            <a:spAutoFit/>
          </a:bodyPr>
          <a:lstStyle/>
          <a:p>
            <a:pPr algn="r"/>
            <a:fld id="{0502E5A9-B53C-401E-A0E0-4A359BB0A9E5}" type="slidenum">
              <a:rPr lang="en-US" sz="1319" smtClean="0">
                <a:solidFill>
                  <a:prstClr val="black">
                    <a:lumMod val="50000"/>
                    <a:lumOff val="50000"/>
                  </a:prstClr>
                </a:solidFill>
                <a:cs typeface="Arial" panose="020B0604020202020204" pitchFamily="34" charset="0"/>
              </a:rPr>
              <a:t>‹#›</a:t>
            </a:fld>
            <a:endParaRPr lang="en-US" sz="1319">
              <a:solidFill>
                <a:prstClr val="black">
                  <a:lumMod val="50000"/>
                  <a:lumOff val="50000"/>
                </a:prstClr>
              </a:solidFill>
              <a:cs typeface="Arial" panose="020B0604020202020204" pitchFamily="34" charset="0"/>
            </a:endParaRPr>
          </a:p>
        </p:txBody>
      </p:sp>
      <p:sp>
        <p:nvSpPr>
          <p:cNvPr id="23"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672755" y="668691"/>
            <a:ext cx="18165921" cy="1426539"/>
          </a:xfrm>
          <a:prstGeom prst="rect">
            <a:avLst/>
          </a:prstGeom>
        </p:spPr>
        <p:txBody>
          <a:bodyPr vert="horz" lIns="0" tIns="0" rIns="0" bIns="0" rtlCol="0" anchor="t">
            <a:normAutofit/>
          </a:bodyPr>
          <a:lstStyle>
            <a:lvl1pPr>
              <a:defRPr lang="pt-PT" dirty="0"/>
            </a:lvl1pPr>
          </a:lstStyle>
          <a:p>
            <a:pPr lvl="0">
              <a:lnSpc>
                <a:spcPts val="4947"/>
              </a:lnSpc>
            </a:pPr>
            <a:r>
              <a:rPr lang="en-US"/>
              <a:t>Click to add title</a:t>
            </a:r>
            <a:endParaRPr lang="pt-PT"/>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7127080" y="3083273"/>
            <a:ext cx="5880449" cy="3294607"/>
          </a:xfrm>
          <a:prstGeom prst="rect">
            <a:avLst/>
          </a:prstGeom>
        </p:spPr>
        <p:txBody>
          <a:bodyPr>
            <a:noAutofit/>
          </a:bodyPr>
          <a:lstStyle>
            <a:lvl1pPr>
              <a:lnSpc>
                <a:spcPts val="2638"/>
              </a:lnSpc>
              <a:defRPr sz="2309">
                <a:solidFill>
                  <a:schemeClr val="tx1"/>
                </a:solidFill>
              </a:defRPr>
            </a:lvl1pPr>
            <a:lvl2pPr marL="285340" indent="-277485">
              <a:lnSpc>
                <a:spcPts val="2309"/>
              </a:lnSpc>
              <a:defRPr sz="1979">
                <a:solidFill>
                  <a:schemeClr val="tx1"/>
                </a:solidFill>
              </a:defRPr>
            </a:lvl2pPr>
            <a:lvl3pPr marL="573296" indent="-287957">
              <a:lnSpc>
                <a:spcPts val="2309"/>
              </a:lnSpc>
              <a:defRPr sz="1979">
                <a:solidFill>
                  <a:schemeClr val="tx1"/>
                </a:solidFill>
              </a:defRPr>
            </a:lvl3pPr>
            <a:lvl4pPr marL="840311" indent="-267014">
              <a:lnSpc>
                <a:spcPts val="1979"/>
              </a:lnSpc>
              <a:defRPr sz="1814">
                <a:solidFill>
                  <a:schemeClr val="tx1"/>
                </a:solidFill>
              </a:defRPr>
            </a:lvl4pPr>
            <a:lvl5pPr>
              <a:lnSpc>
                <a:spcPct val="100000"/>
              </a:lnSpc>
              <a:defRPr sz="1979">
                <a:solidFill>
                  <a:schemeClr val="tx1"/>
                </a:solidFill>
              </a:defRPr>
            </a:lvl5pPr>
          </a:lstStyle>
          <a:p>
            <a:pPr lvl="0"/>
            <a:r>
              <a:rPr lang="en-US"/>
              <a:t>Click to insert text</a:t>
            </a:r>
          </a:p>
        </p:txBody>
      </p:sp>
      <p:sp>
        <p:nvSpPr>
          <p:cNvPr id="25"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13550897" y="3083273"/>
            <a:ext cx="5880449" cy="3294607"/>
          </a:xfrm>
          <a:prstGeom prst="rect">
            <a:avLst/>
          </a:prstGeom>
        </p:spPr>
        <p:txBody>
          <a:bodyPr>
            <a:noAutofit/>
          </a:bodyPr>
          <a:lstStyle>
            <a:lvl1pPr>
              <a:lnSpc>
                <a:spcPts val="2638"/>
              </a:lnSpc>
              <a:defRPr sz="2309">
                <a:solidFill>
                  <a:schemeClr val="tx1"/>
                </a:solidFill>
              </a:defRPr>
            </a:lvl1pPr>
            <a:lvl2pPr marL="285340" indent="-277485">
              <a:lnSpc>
                <a:spcPts val="2309"/>
              </a:lnSpc>
              <a:defRPr sz="1979">
                <a:solidFill>
                  <a:schemeClr val="tx1"/>
                </a:solidFill>
              </a:defRPr>
            </a:lvl2pPr>
            <a:lvl3pPr marL="573296" indent="-287957">
              <a:lnSpc>
                <a:spcPts val="2309"/>
              </a:lnSpc>
              <a:defRPr sz="1979">
                <a:solidFill>
                  <a:schemeClr val="tx1"/>
                </a:solidFill>
              </a:defRPr>
            </a:lvl3pPr>
            <a:lvl4pPr marL="840311" indent="-267014">
              <a:lnSpc>
                <a:spcPts val="1979"/>
              </a:lnSpc>
              <a:defRPr sz="1814">
                <a:solidFill>
                  <a:schemeClr val="tx1"/>
                </a:solidFill>
              </a:defRPr>
            </a:lvl4pPr>
            <a:lvl5pPr>
              <a:lnSpc>
                <a:spcPct val="100000"/>
              </a:lnSpc>
              <a:defRPr sz="1979">
                <a:solidFill>
                  <a:schemeClr val="tx1"/>
                </a:solidFill>
              </a:defRPr>
            </a:lvl5pPr>
          </a:lstStyle>
          <a:p>
            <a:pPr lvl="0"/>
            <a:r>
              <a:rPr lang="en-US"/>
              <a:t>Click to insert text</a:t>
            </a:r>
          </a:p>
        </p:txBody>
      </p:sp>
      <p:sp>
        <p:nvSpPr>
          <p:cNvPr id="26"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703260" y="7721065"/>
            <a:ext cx="18728085" cy="2972030"/>
          </a:xfrm>
          <a:prstGeom prst="rect">
            <a:avLst/>
          </a:prstGeom>
        </p:spPr>
        <p:txBody>
          <a:bodyPr>
            <a:noAutofit/>
          </a:bodyPr>
          <a:lstStyle>
            <a:lvl1pPr>
              <a:lnSpc>
                <a:spcPts val="2638"/>
              </a:lnSpc>
              <a:defRPr sz="2309">
                <a:solidFill>
                  <a:schemeClr val="tx1"/>
                </a:solidFill>
              </a:defRPr>
            </a:lvl1pPr>
            <a:lvl2pPr marL="285340" indent="-277485">
              <a:lnSpc>
                <a:spcPts val="2309"/>
              </a:lnSpc>
              <a:defRPr sz="1979">
                <a:solidFill>
                  <a:schemeClr val="tx1"/>
                </a:solidFill>
              </a:defRPr>
            </a:lvl2pPr>
            <a:lvl3pPr marL="573296" indent="-287957">
              <a:lnSpc>
                <a:spcPts val="2309"/>
              </a:lnSpc>
              <a:buClr>
                <a:schemeClr val="accent4"/>
              </a:buClr>
              <a:defRPr sz="1979">
                <a:solidFill>
                  <a:schemeClr val="tx1"/>
                </a:solidFill>
              </a:defRPr>
            </a:lvl3pPr>
            <a:lvl4pPr marL="840311" indent="-267014">
              <a:lnSpc>
                <a:spcPts val="1979"/>
              </a:lnSpc>
              <a:buClr>
                <a:schemeClr val="accent2"/>
              </a:buClr>
              <a:defRPr sz="1814">
                <a:solidFill>
                  <a:schemeClr val="tx1"/>
                </a:solidFill>
              </a:defRPr>
            </a:lvl4pPr>
            <a:lvl5pPr>
              <a:lnSpc>
                <a:spcPct val="100000"/>
              </a:lnSpc>
              <a:defRPr sz="1979">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cxnSp>
        <p:nvCxnSpPr>
          <p:cNvPr id="2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362232" y="10882253"/>
            <a:ext cx="0" cy="256989"/>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30" name="Rectangle 27">
            <a:hlinkClick r:id="rId2"/>
            <a:extLst>
              <a:ext uri="{FF2B5EF4-FFF2-40B4-BE49-F238E27FC236}">
                <a16:creationId xmlns:a16="http://schemas.microsoft.com/office/drawing/2014/main" id="{F376ABD1-4930-42EB-9A73-9A9C7C6BF2D3}"/>
              </a:ext>
            </a:extLst>
          </p:cNvPr>
          <p:cNvSpPr/>
          <p:nvPr userDrawn="1"/>
        </p:nvSpPr>
        <p:spPr>
          <a:xfrm>
            <a:off x="658187" y="10829493"/>
            <a:ext cx="4664915" cy="362509"/>
          </a:xfrm>
          <a:prstGeom prst="rect">
            <a:avLst/>
          </a:prstGeom>
        </p:spPr>
        <p:txBody>
          <a:bodyPr wrap="square" lIns="0" tIns="0" rIns="0" bIns="0" anchor="ctr" anchorCtr="0">
            <a:noAutofit/>
          </a:bodyPr>
          <a:lstStyle/>
          <a:p>
            <a:pPr lvl="0" algn="l" defTabSz="1507846">
              <a:lnSpc>
                <a:spcPct val="100000"/>
              </a:lnSpc>
              <a:defRPr/>
            </a:pPr>
            <a:r>
              <a:rPr lang="en-US" sz="1319" kern="0">
                <a:solidFill>
                  <a:schemeClr val="tx2"/>
                </a:solidFill>
                <a:latin typeface="+mj-lt"/>
                <a:cs typeface="Arial" panose="020B0604020202020204" pitchFamily="34" charset="0"/>
              </a:rPr>
              <a:t>Presentation Title</a:t>
            </a:r>
          </a:p>
        </p:txBody>
      </p:sp>
      <p:sp>
        <p:nvSpPr>
          <p:cNvPr id="31" name="Rectangle 27">
            <a:hlinkClick r:id="rId2"/>
            <a:extLst>
              <a:ext uri="{FF2B5EF4-FFF2-40B4-BE49-F238E27FC236}">
                <a16:creationId xmlns:a16="http://schemas.microsoft.com/office/drawing/2014/main" id="{F376ABD1-4930-42EB-9A73-9A9C7C6BF2D3}"/>
              </a:ext>
            </a:extLst>
          </p:cNvPr>
          <p:cNvSpPr/>
          <p:nvPr userDrawn="1"/>
        </p:nvSpPr>
        <p:spPr>
          <a:xfrm>
            <a:off x="2601711" y="10829494"/>
            <a:ext cx="1714607" cy="355530"/>
          </a:xfrm>
          <a:prstGeom prst="rect">
            <a:avLst/>
          </a:prstGeom>
        </p:spPr>
        <p:txBody>
          <a:bodyPr wrap="square" lIns="0" tIns="0" rIns="0" bIns="0" anchor="ctr" anchorCtr="0">
            <a:noAutofit/>
          </a:bodyPr>
          <a:lstStyle/>
          <a:p>
            <a:pPr lvl="0" algn="l" defTabSz="1507846">
              <a:lnSpc>
                <a:spcPct val="100000"/>
              </a:lnSpc>
              <a:defRPr/>
            </a:pPr>
            <a:r>
              <a:rPr lang="en-US" sz="1319" kern="0">
                <a:solidFill>
                  <a:schemeClr val="tx1"/>
                </a:solidFill>
                <a:latin typeface="+mj-lt"/>
                <a:cs typeface="Arial" panose="020B0604020202020204" pitchFamily="34" charset="0"/>
              </a:rPr>
              <a:t>Date</a:t>
            </a:r>
          </a:p>
        </p:txBody>
      </p:sp>
      <p:sp>
        <p:nvSpPr>
          <p:cNvPr id="32" name="Retângulo 43">
            <a:extLst>
              <a:ext uri="{FF2B5EF4-FFF2-40B4-BE49-F238E27FC236}">
                <a16:creationId xmlns:a16="http://schemas.microsoft.com/office/drawing/2014/main" id="{834ADCB4-BFB1-450D-8F6D-64217F4CD92C}"/>
              </a:ext>
            </a:extLst>
          </p:cNvPr>
          <p:cNvSpPr/>
          <p:nvPr userDrawn="1"/>
        </p:nvSpPr>
        <p:spPr>
          <a:xfrm>
            <a:off x="3453436" y="10829141"/>
            <a:ext cx="4274077" cy="362509"/>
          </a:xfrm>
          <a:prstGeom prst="rect">
            <a:avLst/>
          </a:prstGeom>
        </p:spPr>
        <p:txBody>
          <a:bodyPr wrap="none" lIns="0" tIns="0" rIns="0" bIns="0" anchor="ctr">
            <a:noAutofit/>
          </a:bodyPr>
          <a:lstStyle/>
          <a:p>
            <a:pPr>
              <a:lnSpc>
                <a:spcPct val="100000"/>
              </a:lnSpc>
            </a:pPr>
            <a:r>
              <a:rPr lang="en-US" sz="1319">
                <a:solidFill>
                  <a:schemeClr val="bg2">
                    <a:lumMod val="50000"/>
                  </a:schemeClr>
                </a:solidFill>
                <a:cs typeface="Arial" panose="020B0604020202020204" pitchFamily="34" charset="0"/>
              </a:rPr>
              <a:t>© 2018 </a:t>
            </a:r>
            <a:r>
              <a:rPr lang="en-US" sz="1319" err="1">
                <a:solidFill>
                  <a:schemeClr val="bg2">
                    <a:lumMod val="50000"/>
                  </a:schemeClr>
                </a:solidFill>
                <a:cs typeface="Arial" panose="020B0604020202020204" pitchFamily="34" charset="0"/>
              </a:rPr>
              <a:t>Sogeti</a:t>
            </a:r>
            <a:r>
              <a:rPr lang="en-US" sz="1319">
                <a:solidFill>
                  <a:schemeClr val="bg2">
                    <a:lumMod val="50000"/>
                  </a:schemeClr>
                </a:solidFill>
                <a:cs typeface="Arial" panose="020B0604020202020204" pitchFamily="34" charset="0"/>
              </a:rPr>
              <a:t>. All rights reserved.</a:t>
            </a:r>
          </a:p>
        </p:txBody>
      </p:sp>
      <p:cxnSp>
        <p:nvCxnSpPr>
          <p:cNvPr id="3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16656" y="10882253"/>
            <a:ext cx="0" cy="256989"/>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429955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
        <p:nvSpPr>
          <p:cNvPr id="10" name="Rectángulo 9">
            <a:extLst>
              <a:ext uri="{FF2B5EF4-FFF2-40B4-BE49-F238E27FC236}">
                <a16:creationId xmlns:a16="http://schemas.microsoft.com/office/drawing/2014/main" id="{E7BF236D-D0D3-10D7-3261-21E349035258}"/>
              </a:ext>
            </a:extLst>
          </p:cNvPr>
          <p:cNvSpPr/>
          <p:nvPr userDrawn="1"/>
        </p:nvSpPr>
        <p:spPr>
          <a:xfrm>
            <a:off x="0" y="0"/>
            <a:ext cx="20104100" cy="113284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3" name="Imagen 2">
            <a:extLst>
              <a:ext uri="{FF2B5EF4-FFF2-40B4-BE49-F238E27FC236}">
                <a16:creationId xmlns:a16="http://schemas.microsoft.com/office/drawing/2014/main" id="{94769285-F552-DA33-E50F-731CFD3C70A6}"/>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2" y="0"/>
            <a:ext cx="10433051" cy="11328400"/>
          </a:xfrm>
          <a:prstGeom prst="rect">
            <a:avLst/>
          </a:prstGeom>
        </p:spPr>
      </p:pic>
      <p:sp>
        <p:nvSpPr>
          <p:cNvPr id="4" name="Holder 4"/>
          <p:cNvSpPr>
            <a:spLocks noGrp="1"/>
          </p:cNvSpPr>
          <p:nvPr>
            <p:ph type="ftr" sz="quarter" idx="5"/>
          </p:nvPr>
        </p:nvSpPr>
        <p:spPr>
          <a:xfrm>
            <a:off x="16647741" y="10759212"/>
            <a:ext cx="2962677" cy="200055"/>
          </a:xfrm>
          <a:prstGeom prst="rect">
            <a:avLst/>
          </a:prstGeom>
        </p:spPr>
        <p:txBody>
          <a:bodyPr lIns="0" tIns="0" rIns="0" bIns="0"/>
          <a:lstStyle>
            <a:lvl1pPr>
              <a:defRPr sz="1300" b="0" i="0">
                <a:solidFill>
                  <a:schemeClr val="bg1"/>
                </a:solidFill>
                <a:latin typeface="Ubuntu Light"/>
                <a:cs typeface="Ubuntu Light"/>
              </a:defRPr>
            </a:lvl1pPr>
          </a:lstStyle>
          <a:p>
            <a:pPr marL="26034">
              <a:spcBef>
                <a:spcPts val="30"/>
              </a:spcBef>
            </a:pPr>
            <a:r>
              <a:rPr lang="es-ES" err="1"/>
              <a:t>Public</a:t>
            </a:r>
            <a:r>
              <a:rPr lang="es-ES" spc="-40"/>
              <a:t> </a:t>
            </a:r>
            <a:r>
              <a:rPr lang="es-ES"/>
              <a:t>©</a:t>
            </a:r>
            <a:r>
              <a:rPr lang="es-ES" spc="-40"/>
              <a:t> </a:t>
            </a:r>
            <a:r>
              <a:rPr lang="es-ES"/>
              <a:t>2023</a:t>
            </a:r>
            <a:r>
              <a:rPr lang="es-ES" spc="-40"/>
              <a:t> </a:t>
            </a:r>
            <a:r>
              <a:rPr lang="es-ES" spc="-10"/>
              <a:t>Sogeti.</a:t>
            </a:r>
            <a:r>
              <a:rPr lang="es-ES" spc="-35"/>
              <a:t> </a:t>
            </a:r>
            <a:r>
              <a:rPr lang="es-ES" err="1"/>
              <a:t>All</a:t>
            </a:r>
            <a:r>
              <a:rPr lang="es-ES" spc="-40"/>
              <a:t> </a:t>
            </a:r>
            <a:r>
              <a:rPr lang="es-ES" err="1"/>
              <a:t>rights</a:t>
            </a:r>
            <a:r>
              <a:rPr lang="es-ES" spc="-40"/>
              <a:t> </a:t>
            </a:r>
            <a:r>
              <a:rPr lang="es-ES" spc="-10" err="1"/>
              <a:t>reserved</a:t>
            </a:r>
            <a:endParaRPr lang="es-ES" spc="-10"/>
          </a:p>
        </p:txBody>
      </p:sp>
      <p:sp>
        <p:nvSpPr>
          <p:cNvPr id="2" name="CuadroTexto 1">
            <a:extLst>
              <a:ext uri="{FF2B5EF4-FFF2-40B4-BE49-F238E27FC236}">
                <a16:creationId xmlns:a16="http://schemas.microsoft.com/office/drawing/2014/main" id="{72E5CF79-7DA3-E21E-3060-87CB44907F25}"/>
              </a:ext>
            </a:extLst>
          </p:cNvPr>
          <p:cNvSpPr txBox="1"/>
          <p:nvPr userDrawn="1"/>
        </p:nvSpPr>
        <p:spPr>
          <a:xfrm>
            <a:off x="755650" y="10845800"/>
            <a:ext cx="7772400" cy="292388"/>
          </a:xfrm>
          <a:prstGeom prst="rect">
            <a:avLst/>
          </a:prstGeom>
          <a:noFill/>
        </p:spPr>
        <p:txBody>
          <a:bodyPr wrap="square" rtlCol="0">
            <a:spAutoFit/>
          </a:bodyPr>
          <a:lstStyle/>
          <a:p>
            <a:r>
              <a:rPr lang="es-ES" sz="1300" b="0" i="0">
                <a:solidFill>
                  <a:schemeClr val="bg1"/>
                </a:solidFill>
                <a:latin typeface="Ubuntu Medium" panose="020B0504030602030204" pitchFamily="34" charset="0"/>
              </a:rPr>
              <a:t>#FlourishingDigitalBusinessWithQuality </a:t>
            </a:r>
            <a:r>
              <a:rPr lang="es-ES" sz="1300" b="1" i="0">
                <a:solidFill>
                  <a:schemeClr val="bg1"/>
                </a:solidFill>
                <a:latin typeface="Ubuntu" panose="020B0504030602030204" pitchFamily="34" charset="0"/>
              </a:rPr>
              <a:t> ·</a:t>
            </a:r>
            <a:r>
              <a:rPr lang="es-ES" sz="1300" b="0" i="0">
                <a:solidFill>
                  <a:schemeClr val="bg1"/>
                </a:solidFill>
                <a:latin typeface="Ubuntu Medium" panose="020B0504030602030204" pitchFamily="34" charset="0"/>
              </a:rPr>
              <a:t>   </a:t>
            </a:r>
            <a:r>
              <a:rPr lang="es-ES" sz="1300" b="0" i="0" err="1">
                <a:solidFill>
                  <a:schemeClr val="bg1"/>
                </a:solidFill>
                <a:latin typeface="Ubuntu Medium" panose="020B0504030602030204" pitchFamily="34" charset="0"/>
              </a:rPr>
              <a:t>by</a:t>
            </a:r>
            <a:r>
              <a:rPr lang="es-ES" sz="1300" b="0" i="0">
                <a:solidFill>
                  <a:schemeClr val="bg1"/>
                </a:solidFill>
                <a:latin typeface="Ubuntu Medium" panose="020B0504030602030204" pitchFamily="34" charset="0"/>
              </a:rPr>
              <a:t> </a:t>
            </a:r>
            <a:r>
              <a:rPr lang="es-ES" sz="1300" b="1" i="0">
                <a:solidFill>
                  <a:schemeClr val="bg1"/>
                </a:solidFill>
                <a:latin typeface="Ubuntu" panose="020B0504030602030204" pitchFamily="34" charset="0"/>
              </a:rPr>
              <a:t>Sogeti España</a:t>
            </a:r>
          </a:p>
        </p:txBody>
      </p:sp>
      <p:sp>
        <p:nvSpPr>
          <p:cNvPr id="5" name="Forma libre 4">
            <a:extLst>
              <a:ext uri="{FF2B5EF4-FFF2-40B4-BE49-F238E27FC236}">
                <a16:creationId xmlns:a16="http://schemas.microsoft.com/office/drawing/2014/main" id="{FBAABD7F-C513-9B40-6AE2-E43DB3944CCE}"/>
              </a:ext>
            </a:extLst>
          </p:cNvPr>
          <p:cNvSpPr/>
          <p:nvPr userDrawn="1"/>
        </p:nvSpPr>
        <p:spPr>
          <a:xfrm flipV="1">
            <a:off x="755650" y="10384024"/>
            <a:ext cx="2362200" cy="385576"/>
          </a:xfrm>
          <a:custGeom>
            <a:avLst/>
            <a:gdLst/>
            <a:ahLst/>
            <a:cxnLst/>
            <a:rect l="l" t="t" r="r" b="b"/>
            <a:pathLst>
              <a:path w="4876802" h="796029">
                <a:moveTo>
                  <a:pt x="2572782" y="405299"/>
                </a:moveTo>
                <a:cubicBezTo>
                  <a:pt x="2589609" y="405299"/>
                  <a:pt x="2601809" y="398820"/>
                  <a:pt x="2609382" y="385863"/>
                </a:cubicBezTo>
                <a:cubicBezTo>
                  <a:pt x="2616954" y="372906"/>
                  <a:pt x="2620740" y="355826"/>
                  <a:pt x="2620740" y="334623"/>
                </a:cubicBezTo>
                <a:cubicBezTo>
                  <a:pt x="2620740" y="313420"/>
                  <a:pt x="2616618" y="296256"/>
                  <a:pt x="2608372" y="283131"/>
                </a:cubicBezTo>
                <a:cubicBezTo>
                  <a:pt x="2600126" y="270006"/>
                  <a:pt x="2587927" y="263443"/>
                  <a:pt x="2571772" y="263443"/>
                </a:cubicBezTo>
                <a:cubicBezTo>
                  <a:pt x="2554945" y="263443"/>
                  <a:pt x="2542744" y="270006"/>
                  <a:pt x="2535172" y="283131"/>
                </a:cubicBezTo>
                <a:cubicBezTo>
                  <a:pt x="2527600" y="296256"/>
                  <a:pt x="2523814" y="313420"/>
                  <a:pt x="2523814" y="334623"/>
                </a:cubicBezTo>
                <a:cubicBezTo>
                  <a:pt x="2523814" y="355826"/>
                  <a:pt x="2527937" y="372906"/>
                  <a:pt x="2536182" y="385863"/>
                </a:cubicBezTo>
                <a:cubicBezTo>
                  <a:pt x="2544428" y="398820"/>
                  <a:pt x="2556628" y="405299"/>
                  <a:pt x="2572782" y="405299"/>
                </a:cubicBezTo>
                <a:close/>
                <a:moveTo>
                  <a:pt x="1810782" y="405299"/>
                </a:moveTo>
                <a:cubicBezTo>
                  <a:pt x="1827610" y="405299"/>
                  <a:pt x="1839810" y="398820"/>
                  <a:pt x="1847382" y="385863"/>
                </a:cubicBezTo>
                <a:cubicBezTo>
                  <a:pt x="1854954" y="372906"/>
                  <a:pt x="1858740" y="355826"/>
                  <a:pt x="1858740" y="334623"/>
                </a:cubicBezTo>
                <a:cubicBezTo>
                  <a:pt x="1858740" y="313420"/>
                  <a:pt x="1854618" y="296256"/>
                  <a:pt x="1846372" y="283131"/>
                </a:cubicBezTo>
                <a:cubicBezTo>
                  <a:pt x="1838127" y="270006"/>
                  <a:pt x="1825927" y="263443"/>
                  <a:pt x="1809772" y="263443"/>
                </a:cubicBezTo>
                <a:cubicBezTo>
                  <a:pt x="1792945" y="263443"/>
                  <a:pt x="1780745" y="270006"/>
                  <a:pt x="1773173" y="283131"/>
                </a:cubicBezTo>
                <a:cubicBezTo>
                  <a:pt x="1765600" y="296256"/>
                  <a:pt x="1761814" y="313420"/>
                  <a:pt x="1761814" y="334623"/>
                </a:cubicBezTo>
                <a:cubicBezTo>
                  <a:pt x="1761814" y="355826"/>
                  <a:pt x="1765937" y="372906"/>
                  <a:pt x="1774182" y="385863"/>
                </a:cubicBezTo>
                <a:cubicBezTo>
                  <a:pt x="1782428" y="398820"/>
                  <a:pt x="1794628" y="405299"/>
                  <a:pt x="1810782" y="405299"/>
                </a:cubicBezTo>
                <a:close/>
                <a:moveTo>
                  <a:pt x="810657" y="405299"/>
                </a:moveTo>
                <a:cubicBezTo>
                  <a:pt x="827485" y="405299"/>
                  <a:pt x="839684" y="398820"/>
                  <a:pt x="847257" y="385863"/>
                </a:cubicBezTo>
                <a:cubicBezTo>
                  <a:pt x="854829" y="372906"/>
                  <a:pt x="858615" y="355826"/>
                  <a:pt x="858616" y="334623"/>
                </a:cubicBezTo>
                <a:cubicBezTo>
                  <a:pt x="858615" y="313420"/>
                  <a:pt x="854493" y="296256"/>
                  <a:pt x="846247" y="283131"/>
                </a:cubicBezTo>
                <a:cubicBezTo>
                  <a:pt x="838002" y="270006"/>
                  <a:pt x="825802" y="263443"/>
                  <a:pt x="809647" y="263443"/>
                </a:cubicBezTo>
                <a:cubicBezTo>
                  <a:pt x="792820" y="263443"/>
                  <a:pt x="780620" y="270006"/>
                  <a:pt x="773048" y="283131"/>
                </a:cubicBezTo>
                <a:cubicBezTo>
                  <a:pt x="765475" y="296256"/>
                  <a:pt x="761689" y="313420"/>
                  <a:pt x="761689" y="334623"/>
                </a:cubicBezTo>
                <a:cubicBezTo>
                  <a:pt x="761689" y="355826"/>
                  <a:pt x="765812" y="372906"/>
                  <a:pt x="774057" y="385863"/>
                </a:cubicBezTo>
                <a:cubicBezTo>
                  <a:pt x="782303" y="398820"/>
                  <a:pt x="794503" y="405299"/>
                  <a:pt x="810657" y="405299"/>
                </a:cubicBezTo>
                <a:close/>
                <a:moveTo>
                  <a:pt x="3325256" y="411861"/>
                </a:moveTo>
                <a:cubicBezTo>
                  <a:pt x="3316506" y="411861"/>
                  <a:pt x="3309608" y="408496"/>
                  <a:pt x="3304560" y="401765"/>
                </a:cubicBezTo>
                <a:cubicBezTo>
                  <a:pt x="3299512" y="395034"/>
                  <a:pt x="3296988" y="387125"/>
                  <a:pt x="3296988" y="378038"/>
                </a:cubicBezTo>
                <a:cubicBezTo>
                  <a:pt x="3296988" y="368951"/>
                  <a:pt x="3299512" y="361126"/>
                  <a:pt x="3304560" y="354564"/>
                </a:cubicBezTo>
                <a:cubicBezTo>
                  <a:pt x="3309608" y="348001"/>
                  <a:pt x="3316506" y="344720"/>
                  <a:pt x="3325256" y="344720"/>
                </a:cubicBezTo>
                <a:cubicBezTo>
                  <a:pt x="3333334" y="344720"/>
                  <a:pt x="3339980" y="348001"/>
                  <a:pt x="3345198" y="354564"/>
                </a:cubicBezTo>
                <a:cubicBezTo>
                  <a:pt x="3350414" y="361126"/>
                  <a:pt x="3353022" y="368951"/>
                  <a:pt x="3353022" y="378038"/>
                </a:cubicBezTo>
                <a:cubicBezTo>
                  <a:pt x="3353022" y="387125"/>
                  <a:pt x="3350414" y="395034"/>
                  <a:pt x="3345198" y="401765"/>
                </a:cubicBezTo>
                <a:cubicBezTo>
                  <a:pt x="3339980" y="408496"/>
                  <a:pt x="3333334" y="411861"/>
                  <a:pt x="3325256" y="411861"/>
                </a:cubicBezTo>
                <a:close/>
                <a:moveTo>
                  <a:pt x="2207070" y="453257"/>
                </a:moveTo>
                <a:lnTo>
                  <a:pt x="2207070" y="401765"/>
                </a:lnTo>
                <a:lnTo>
                  <a:pt x="2272697" y="401765"/>
                </a:lnTo>
                <a:lnTo>
                  <a:pt x="2272697" y="314430"/>
                </a:lnTo>
                <a:cubicBezTo>
                  <a:pt x="2272697" y="297939"/>
                  <a:pt x="2274043" y="283299"/>
                  <a:pt x="2276735" y="270510"/>
                </a:cubicBezTo>
                <a:cubicBezTo>
                  <a:pt x="2279428" y="257721"/>
                  <a:pt x="2284055" y="246868"/>
                  <a:pt x="2290618" y="237949"/>
                </a:cubicBezTo>
                <a:cubicBezTo>
                  <a:pt x="2297181" y="229031"/>
                  <a:pt x="2305931" y="222215"/>
                  <a:pt x="2316869" y="217504"/>
                </a:cubicBezTo>
                <a:cubicBezTo>
                  <a:pt x="2327807" y="212792"/>
                  <a:pt x="2341353" y="210436"/>
                  <a:pt x="2357508" y="210436"/>
                </a:cubicBezTo>
                <a:cubicBezTo>
                  <a:pt x="2366931" y="210436"/>
                  <a:pt x="2377280" y="211530"/>
                  <a:pt x="2388554" y="213718"/>
                </a:cubicBezTo>
                <a:cubicBezTo>
                  <a:pt x="2399829" y="215905"/>
                  <a:pt x="2411860" y="220028"/>
                  <a:pt x="2424649" y="226086"/>
                </a:cubicBezTo>
                <a:lnTo>
                  <a:pt x="2416572" y="276063"/>
                </a:lnTo>
                <a:cubicBezTo>
                  <a:pt x="2406475" y="271352"/>
                  <a:pt x="2397388" y="268239"/>
                  <a:pt x="2389312" y="266724"/>
                </a:cubicBezTo>
                <a:cubicBezTo>
                  <a:pt x="2381234" y="265210"/>
                  <a:pt x="2374335" y="264452"/>
                  <a:pt x="2368614" y="264452"/>
                </a:cubicBezTo>
                <a:cubicBezTo>
                  <a:pt x="2356498" y="264452"/>
                  <a:pt x="2347832" y="267902"/>
                  <a:pt x="2342615" y="274801"/>
                </a:cubicBezTo>
                <a:cubicBezTo>
                  <a:pt x="2337398" y="281701"/>
                  <a:pt x="2334790" y="292218"/>
                  <a:pt x="2334790" y="306353"/>
                </a:cubicBezTo>
                <a:lnTo>
                  <a:pt x="2334790" y="453257"/>
                </a:lnTo>
                <a:close/>
                <a:moveTo>
                  <a:pt x="1088092" y="457800"/>
                </a:moveTo>
                <a:cubicBezTo>
                  <a:pt x="1064870" y="457800"/>
                  <a:pt x="1044593" y="455949"/>
                  <a:pt x="1027260" y="452247"/>
                </a:cubicBezTo>
                <a:cubicBezTo>
                  <a:pt x="1009928" y="448545"/>
                  <a:pt x="993016" y="443665"/>
                  <a:pt x="976526" y="437607"/>
                </a:cubicBezTo>
                <a:lnTo>
                  <a:pt x="976526" y="215989"/>
                </a:lnTo>
                <a:lnTo>
                  <a:pt x="1039124" y="215989"/>
                </a:lnTo>
                <a:lnTo>
                  <a:pt x="1039124" y="392173"/>
                </a:lnTo>
                <a:cubicBezTo>
                  <a:pt x="1047874" y="394529"/>
                  <a:pt x="1056456" y="396128"/>
                  <a:pt x="1064870" y="396969"/>
                </a:cubicBezTo>
                <a:cubicBezTo>
                  <a:pt x="1073284" y="397810"/>
                  <a:pt x="1081866" y="398231"/>
                  <a:pt x="1090616" y="398231"/>
                </a:cubicBezTo>
                <a:cubicBezTo>
                  <a:pt x="1094318" y="398231"/>
                  <a:pt x="1098861" y="398063"/>
                  <a:pt x="1104246" y="397726"/>
                </a:cubicBezTo>
                <a:cubicBezTo>
                  <a:pt x="1109631" y="397390"/>
                  <a:pt x="1115184" y="396801"/>
                  <a:pt x="1120905" y="395959"/>
                </a:cubicBezTo>
                <a:cubicBezTo>
                  <a:pt x="1126627" y="395118"/>
                  <a:pt x="1132264" y="394192"/>
                  <a:pt x="1137817" y="393183"/>
                </a:cubicBezTo>
                <a:cubicBezTo>
                  <a:pt x="1143370" y="392173"/>
                  <a:pt x="1148166" y="391164"/>
                  <a:pt x="1152205" y="390154"/>
                </a:cubicBezTo>
                <a:lnTo>
                  <a:pt x="1163311" y="447704"/>
                </a:lnTo>
                <a:cubicBezTo>
                  <a:pt x="1157589" y="449723"/>
                  <a:pt x="1151111" y="451322"/>
                  <a:pt x="1143875" y="452500"/>
                </a:cubicBezTo>
                <a:cubicBezTo>
                  <a:pt x="1136639" y="453678"/>
                  <a:pt x="1129487" y="454687"/>
                  <a:pt x="1122420" y="455529"/>
                </a:cubicBezTo>
                <a:cubicBezTo>
                  <a:pt x="1115352" y="456370"/>
                  <a:pt x="1108706" y="456959"/>
                  <a:pt x="1102479" y="457296"/>
                </a:cubicBezTo>
                <a:cubicBezTo>
                  <a:pt x="1096253" y="457632"/>
                  <a:pt x="1091457" y="457800"/>
                  <a:pt x="1088092" y="457800"/>
                </a:cubicBezTo>
                <a:close/>
                <a:moveTo>
                  <a:pt x="2572782" y="459315"/>
                </a:moveTo>
                <a:cubicBezTo>
                  <a:pt x="2556628" y="459315"/>
                  <a:pt x="2541651" y="456370"/>
                  <a:pt x="2527852" y="450480"/>
                </a:cubicBezTo>
                <a:cubicBezTo>
                  <a:pt x="2514054" y="444591"/>
                  <a:pt x="2502190" y="436177"/>
                  <a:pt x="2492262" y="425239"/>
                </a:cubicBezTo>
                <a:cubicBezTo>
                  <a:pt x="2482334" y="414301"/>
                  <a:pt x="2474594" y="401176"/>
                  <a:pt x="2469040" y="385863"/>
                </a:cubicBezTo>
                <a:cubicBezTo>
                  <a:pt x="2463487" y="370550"/>
                  <a:pt x="2460711" y="353638"/>
                  <a:pt x="2460711" y="335128"/>
                </a:cubicBezTo>
                <a:cubicBezTo>
                  <a:pt x="2460711" y="316281"/>
                  <a:pt x="2463403" y="299201"/>
                  <a:pt x="2468788" y="283888"/>
                </a:cubicBezTo>
                <a:cubicBezTo>
                  <a:pt x="2474173" y="268575"/>
                  <a:pt x="2481829" y="255366"/>
                  <a:pt x="2491758" y="244259"/>
                </a:cubicBezTo>
                <a:cubicBezTo>
                  <a:pt x="2501686" y="233153"/>
                  <a:pt x="2513465" y="224571"/>
                  <a:pt x="2527095" y="218513"/>
                </a:cubicBezTo>
                <a:cubicBezTo>
                  <a:pt x="2540726" y="212455"/>
                  <a:pt x="2555954" y="209427"/>
                  <a:pt x="2572782" y="209427"/>
                </a:cubicBezTo>
                <a:cubicBezTo>
                  <a:pt x="2589609" y="209427"/>
                  <a:pt x="2604838" y="212455"/>
                  <a:pt x="2618468" y="218513"/>
                </a:cubicBezTo>
                <a:cubicBezTo>
                  <a:pt x="2632098" y="224571"/>
                  <a:pt x="2643794" y="233153"/>
                  <a:pt x="2653554" y="244259"/>
                </a:cubicBezTo>
                <a:cubicBezTo>
                  <a:pt x="2663314" y="255366"/>
                  <a:pt x="2670886" y="268575"/>
                  <a:pt x="2676271" y="283888"/>
                </a:cubicBezTo>
                <a:cubicBezTo>
                  <a:pt x="2681656" y="299201"/>
                  <a:pt x="2684348" y="316281"/>
                  <a:pt x="2684348" y="335128"/>
                </a:cubicBezTo>
                <a:cubicBezTo>
                  <a:pt x="2684348" y="353638"/>
                  <a:pt x="2681656" y="370550"/>
                  <a:pt x="2676271" y="385863"/>
                </a:cubicBezTo>
                <a:cubicBezTo>
                  <a:pt x="2670886" y="401176"/>
                  <a:pt x="2663230" y="414301"/>
                  <a:pt x="2653302" y="425239"/>
                </a:cubicBezTo>
                <a:cubicBezTo>
                  <a:pt x="2643373" y="436177"/>
                  <a:pt x="2631594" y="444591"/>
                  <a:pt x="2617964" y="450480"/>
                </a:cubicBezTo>
                <a:cubicBezTo>
                  <a:pt x="2604334" y="456370"/>
                  <a:pt x="2589273" y="459315"/>
                  <a:pt x="2572782" y="459315"/>
                </a:cubicBezTo>
                <a:close/>
                <a:moveTo>
                  <a:pt x="1810782" y="459315"/>
                </a:moveTo>
                <a:cubicBezTo>
                  <a:pt x="1794628" y="459315"/>
                  <a:pt x="1779651" y="456370"/>
                  <a:pt x="1765853" y="450480"/>
                </a:cubicBezTo>
                <a:cubicBezTo>
                  <a:pt x="1752054" y="444591"/>
                  <a:pt x="1740191" y="436177"/>
                  <a:pt x="1730262" y="425239"/>
                </a:cubicBezTo>
                <a:cubicBezTo>
                  <a:pt x="1720334" y="414301"/>
                  <a:pt x="1712594" y="401176"/>
                  <a:pt x="1707040" y="385863"/>
                </a:cubicBezTo>
                <a:cubicBezTo>
                  <a:pt x="1701488" y="370550"/>
                  <a:pt x="1698711" y="353638"/>
                  <a:pt x="1698711" y="335128"/>
                </a:cubicBezTo>
                <a:cubicBezTo>
                  <a:pt x="1698711" y="316281"/>
                  <a:pt x="1701403" y="299201"/>
                  <a:pt x="1706788" y="283888"/>
                </a:cubicBezTo>
                <a:cubicBezTo>
                  <a:pt x="1712173" y="268575"/>
                  <a:pt x="1719829" y="255366"/>
                  <a:pt x="1729758" y="244259"/>
                </a:cubicBezTo>
                <a:cubicBezTo>
                  <a:pt x="1739686" y="233153"/>
                  <a:pt x="1751465" y="224571"/>
                  <a:pt x="1765095" y="218513"/>
                </a:cubicBezTo>
                <a:cubicBezTo>
                  <a:pt x="1778726" y="212455"/>
                  <a:pt x="1793954" y="209427"/>
                  <a:pt x="1810782" y="209427"/>
                </a:cubicBezTo>
                <a:cubicBezTo>
                  <a:pt x="1827610" y="209427"/>
                  <a:pt x="1842838" y="212455"/>
                  <a:pt x="1856469" y="218513"/>
                </a:cubicBezTo>
                <a:cubicBezTo>
                  <a:pt x="1870099" y="224571"/>
                  <a:pt x="1881794" y="233153"/>
                  <a:pt x="1891554" y="244259"/>
                </a:cubicBezTo>
                <a:cubicBezTo>
                  <a:pt x="1901314" y="255366"/>
                  <a:pt x="1908886" y="268575"/>
                  <a:pt x="1914271" y="283888"/>
                </a:cubicBezTo>
                <a:cubicBezTo>
                  <a:pt x="1919656" y="299201"/>
                  <a:pt x="1922348" y="316281"/>
                  <a:pt x="1922348" y="335128"/>
                </a:cubicBezTo>
                <a:cubicBezTo>
                  <a:pt x="1922348" y="353638"/>
                  <a:pt x="1919656" y="370550"/>
                  <a:pt x="1914271" y="385863"/>
                </a:cubicBezTo>
                <a:cubicBezTo>
                  <a:pt x="1908886" y="401176"/>
                  <a:pt x="1901230" y="414301"/>
                  <a:pt x="1891302" y="425239"/>
                </a:cubicBezTo>
                <a:cubicBezTo>
                  <a:pt x="1881374" y="436177"/>
                  <a:pt x="1869594" y="444591"/>
                  <a:pt x="1855964" y="450480"/>
                </a:cubicBezTo>
                <a:cubicBezTo>
                  <a:pt x="1842334" y="456370"/>
                  <a:pt x="1827273" y="459315"/>
                  <a:pt x="1810782" y="459315"/>
                </a:cubicBezTo>
                <a:close/>
                <a:moveTo>
                  <a:pt x="810657" y="459315"/>
                </a:moveTo>
                <a:cubicBezTo>
                  <a:pt x="794503" y="459315"/>
                  <a:pt x="779526" y="456370"/>
                  <a:pt x="765728" y="450480"/>
                </a:cubicBezTo>
                <a:cubicBezTo>
                  <a:pt x="751929" y="444591"/>
                  <a:pt x="740066" y="436177"/>
                  <a:pt x="730138" y="425239"/>
                </a:cubicBezTo>
                <a:cubicBezTo>
                  <a:pt x="720209" y="414301"/>
                  <a:pt x="712469" y="401176"/>
                  <a:pt x="706916" y="385863"/>
                </a:cubicBezTo>
                <a:cubicBezTo>
                  <a:pt x="701362" y="370550"/>
                  <a:pt x="698586" y="353638"/>
                  <a:pt x="698586" y="335128"/>
                </a:cubicBezTo>
                <a:cubicBezTo>
                  <a:pt x="698586" y="316281"/>
                  <a:pt x="701278" y="299201"/>
                  <a:pt x="706663" y="283888"/>
                </a:cubicBezTo>
                <a:cubicBezTo>
                  <a:pt x="712048" y="268575"/>
                  <a:pt x="719704" y="255366"/>
                  <a:pt x="729633" y="244259"/>
                </a:cubicBezTo>
                <a:cubicBezTo>
                  <a:pt x="739561" y="233153"/>
                  <a:pt x="751340" y="224571"/>
                  <a:pt x="764970" y="218513"/>
                </a:cubicBezTo>
                <a:cubicBezTo>
                  <a:pt x="778601" y="212455"/>
                  <a:pt x="793830" y="209427"/>
                  <a:pt x="810657" y="209427"/>
                </a:cubicBezTo>
                <a:cubicBezTo>
                  <a:pt x="827485" y="209427"/>
                  <a:pt x="842713" y="212455"/>
                  <a:pt x="856344" y="218513"/>
                </a:cubicBezTo>
                <a:cubicBezTo>
                  <a:pt x="869974" y="224571"/>
                  <a:pt x="881669" y="233153"/>
                  <a:pt x="891429" y="244259"/>
                </a:cubicBezTo>
                <a:cubicBezTo>
                  <a:pt x="901189" y="255366"/>
                  <a:pt x="908761" y="268575"/>
                  <a:pt x="914146" y="283888"/>
                </a:cubicBezTo>
                <a:cubicBezTo>
                  <a:pt x="919531" y="299201"/>
                  <a:pt x="922223" y="316281"/>
                  <a:pt x="922223" y="335128"/>
                </a:cubicBezTo>
                <a:cubicBezTo>
                  <a:pt x="922223" y="353638"/>
                  <a:pt x="919531" y="370550"/>
                  <a:pt x="914146" y="385863"/>
                </a:cubicBezTo>
                <a:cubicBezTo>
                  <a:pt x="908761" y="401176"/>
                  <a:pt x="901105" y="414301"/>
                  <a:pt x="891177" y="425239"/>
                </a:cubicBezTo>
                <a:cubicBezTo>
                  <a:pt x="881248" y="436177"/>
                  <a:pt x="869469" y="444591"/>
                  <a:pt x="855839" y="450480"/>
                </a:cubicBezTo>
                <a:cubicBezTo>
                  <a:pt x="842209" y="456370"/>
                  <a:pt x="827148" y="459315"/>
                  <a:pt x="810657" y="459315"/>
                </a:cubicBezTo>
                <a:close/>
                <a:moveTo>
                  <a:pt x="546919" y="477993"/>
                </a:moveTo>
                <a:cubicBezTo>
                  <a:pt x="563410" y="477993"/>
                  <a:pt x="576620" y="474207"/>
                  <a:pt x="586548" y="466635"/>
                </a:cubicBezTo>
                <a:cubicBezTo>
                  <a:pt x="596476" y="459062"/>
                  <a:pt x="601441" y="446189"/>
                  <a:pt x="601441" y="428016"/>
                </a:cubicBezTo>
                <a:cubicBezTo>
                  <a:pt x="601441" y="408832"/>
                  <a:pt x="596392" y="395286"/>
                  <a:pt x="586296" y="387377"/>
                </a:cubicBezTo>
                <a:cubicBezTo>
                  <a:pt x="576199" y="379468"/>
                  <a:pt x="561223" y="375514"/>
                  <a:pt x="541366" y="375514"/>
                </a:cubicBezTo>
                <a:lnTo>
                  <a:pt x="516125" y="375514"/>
                </a:lnTo>
                <a:lnTo>
                  <a:pt x="516125" y="476479"/>
                </a:lnTo>
                <a:cubicBezTo>
                  <a:pt x="519827" y="477152"/>
                  <a:pt x="524960" y="477573"/>
                  <a:pt x="531522" y="477741"/>
                </a:cubicBezTo>
                <a:cubicBezTo>
                  <a:pt x="538085" y="477909"/>
                  <a:pt x="543217" y="477993"/>
                  <a:pt x="546919" y="477993"/>
                </a:cubicBezTo>
                <a:close/>
                <a:moveTo>
                  <a:pt x="3324752" y="482537"/>
                </a:moveTo>
                <a:cubicBezTo>
                  <a:pt x="3341916" y="482537"/>
                  <a:pt x="3354958" y="473198"/>
                  <a:pt x="3363876" y="454519"/>
                </a:cubicBezTo>
                <a:cubicBezTo>
                  <a:pt x="3372794" y="435841"/>
                  <a:pt x="3377254" y="408664"/>
                  <a:pt x="3377254" y="372990"/>
                </a:cubicBezTo>
                <a:cubicBezTo>
                  <a:pt x="3377254" y="336979"/>
                  <a:pt x="3372794" y="309634"/>
                  <a:pt x="3363876" y="290956"/>
                </a:cubicBezTo>
                <a:cubicBezTo>
                  <a:pt x="3354958" y="272277"/>
                  <a:pt x="3341916" y="262938"/>
                  <a:pt x="3324752" y="262938"/>
                </a:cubicBezTo>
                <a:cubicBezTo>
                  <a:pt x="3307924" y="262938"/>
                  <a:pt x="3294968" y="272277"/>
                  <a:pt x="3285880" y="290956"/>
                </a:cubicBezTo>
                <a:cubicBezTo>
                  <a:pt x="3276794" y="309634"/>
                  <a:pt x="3272250" y="336979"/>
                  <a:pt x="3272250" y="372990"/>
                </a:cubicBezTo>
                <a:cubicBezTo>
                  <a:pt x="3272250" y="408664"/>
                  <a:pt x="3276794" y="435841"/>
                  <a:pt x="3285880" y="454519"/>
                </a:cubicBezTo>
                <a:cubicBezTo>
                  <a:pt x="3294968" y="473198"/>
                  <a:pt x="3307924" y="482537"/>
                  <a:pt x="3324752" y="482537"/>
                </a:cubicBezTo>
                <a:close/>
                <a:moveTo>
                  <a:pt x="1323054" y="522923"/>
                </a:moveTo>
                <a:lnTo>
                  <a:pt x="1260961" y="512826"/>
                </a:lnTo>
                <a:lnTo>
                  <a:pt x="1260961" y="453257"/>
                </a:lnTo>
                <a:lnTo>
                  <a:pt x="1206945" y="453257"/>
                </a:lnTo>
                <a:lnTo>
                  <a:pt x="1206945" y="401765"/>
                </a:lnTo>
                <a:lnTo>
                  <a:pt x="1260961" y="401765"/>
                </a:lnTo>
                <a:lnTo>
                  <a:pt x="1260961" y="304334"/>
                </a:lnTo>
                <a:cubicBezTo>
                  <a:pt x="1260961" y="284477"/>
                  <a:pt x="1262980" y="268407"/>
                  <a:pt x="1267019" y="256123"/>
                </a:cubicBezTo>
                <a:cubicBezTo>
                  <a:pt x="1271057" y="243839"/>
                  <a:pt x="1276947" y="234331"/>
                  <a:pt x="1284688" y="227600"/>
                </a:cubicBezTo>
                <a:cubicBezTo>
                  <a:pt x="1292428" y="220869"/>
                  <a:pt x="1301852" y="216326"/>
                  <a:pt x="1312958" y="213970"/>
                </a:cubicBezTo>
                <a:cubicBezTo>
                  <a:pt x="1324064" y="211614"/>
                  <a:pt x="1336853" y="210436"/>
                  <a:pt x="1351325" y="210436"/>
                </a:cubicBezTo>
                <a:cubicBezTo>
                  <a:pt x="1363777" y="210436"/>
                  <a:pt x="1376650" y="211446"/>
                  <a:pt x="1389944" y="213465"/>
                </a:cubicBezTo>
                <a:cubicBezTo>
                  <a:pt x="1403238" y="215484"/>
                  <a:pt x="1415606" y="218850"/>
                  <a:pt x="1427048" y="223562"/>
                </a:cubicBezTo>
                <a:lnTo>
                  <a:pt x="1418466" y="277073"/>
                </a:lnTo>
                <a:cubicBezTo>
                  <a:pt x="1412745" y="274381"/>
                  <a:pt x="1407444" y="272193"/>
                  <a:pt x="1402564" y="270510"/>
                </a:cubicBezTo>
                <a:cubicBezTo>
                  <a:pt x="1397684" y="268828"/>
                  <a:pt x="1392973" y="267566"/>
                  <a:pt x="1388429" y="266724"/>
                </a:cubicBezTo>
                <a:cubicBezTo>
                  <a:pt x="1383886" y="265883"/>
                  <a:pt x="1379174" y="265294"/>
                  <a:pt x="1374294" y="264957"/>
                </a:cubicBezTo>
                <a:cubicBezTo>
                  <a:pt x="1369414" y="264621"/>
                  <a:pt x="1364114" y="264452"/>
                  <a:pt x="1358392" y="264452"/>
                </a:cubicBezTo>
                <a:cubicBezTo>
                  <a:pt x="1353007" y="264452"/>
                  <a:pt x="1348127" y="264957"/>
                  <a:pt x="1343752" y="265967"/>
                </a:cubicBezTo>
                <a:cubicBezTo>
                  <a:pt x="1339377" y="266977"/>
                  <a:pt x="1335675" y="268996"/>
                  <a:pt x="1332646" y="272025"/>
                </a:cubicBezTo>
                <a:cubicBezTo>
                  <a:pt x="1329617" y="275054"/>
                  <a:pt x="1327261" y="279261"/>
                  <a:pt x="1325579" y="284645"/>
                </a:cubicBezTo>
                <a:cubicBezTo>
                  <a:pt x="1323896" y="290030"/>
                  <a:pt x="1323054" y="297098"/>
                  <a:pt x="1323054" y="305848"/>
                </a:cubicBezTo>
                <a:lnTo>
                  <a:pt x="1323054" y="401765"/>
                </a:lnTo>
                <a:lnTo>
                  <a:pt x="1422505" y="401765"/>
                </a:lnTo>
                <a:lnTo>
                  <a:pt x="1422505" y="453257"/>
                </a:lnTo>
                <a:lnTo>
                  <a:pt x="1323054" y="453257"/>
                </a:lnTo>
                <a:close/>
                <a:moveTo>
                  <a:pt x="539852" y="532010"/>
                </a:moveTo>
                <a:cubicBezTo>
                  <a:pt x="534131" y="532010"/>
                  <a:pt x="527568" y="531841"/>
                  <a:pt x="520164" y="531505"/>
                </a:cubicBezTo>
                <a:cubicBezTo>
                  <a:pt x="512760" y="531168"/>
                  <a:pt x="505187" y="530748"/>
                  <a:pt x="497447" y="530243"/>
                </a:cubicBezTo>
                <a:cubicBezTo>
                  <a:pt x="489706" y="529738"/>
                  <a:pt x="482049" y="528981"/>
                  <a:pt x="474477" y="527971"/>
                </a:cubicBezTo>
                <a:cubicBezTo>
                  <a:pt x="466905" y="526961"/>
                  <a:pt x="460090" y="525784"/>
                  <a:pt x="454032" y="524437"/>
                </a:cubicBezTo>
                <a:lnTo>
                  <a:pt x="454032" y="215989"/>
                </a:lnTo>
                <a:lnTo>
                  <a:pt x="516125" y="215989"/>
                </a:lnTo>
                <a:lnTo>
                  <a:pt x="516125" y="321498"/>
                </a:lnTo>
                <a:lnTo>
                  <a:pt x="538337" y="321498"/>
                </a:lnTo>
                <a:cubicBezTo>
                  <a:pt x="578723" y="321498"/>
                  <a:pt x="609938" y="329827"/>
                  <a:pt x="631982" y="346486"/>
                </a:cubicBezTo>
                <a:cubicBezTo>
                  <a:pt x="654026" y="363146"/>
                  <a:pt x="665048" y="390154"/>
                  <a:pt x="665048" y="427511"/>
                </a:cubicBezTo>
                <a:cubicBezTo>
                  <a:pt x="665048" y="464531"/>
                  <a:pt x="654111" y="491203"/>
                  <a:pt x="632235" y="507526"/>
                </a:cubicBezTo>
                <a:cubicBezTo>
                  <a:pt x="610359" y="523848"/>
                  <a:pt x="579565" y="532010"/>
                  <a:pt x="539852" y="532010"/>
                </a:cubicBezTo>
                <a:close/>
                <a:moveTo>
                  <a:pt x="3816452" y="535544"/>
                </a:moveTo>
                <a:cubicBezTo>
                  <a:pt x="3797604" y="535544"/>
                  <a:pt x="3780694" y="532430"/>
                  <a:pt x="3765716" y="526204"/>
                </a:cubicBezTo>
                <a:cubicBezTo>
                  <a:pt x="3750740" y="519978"/>
                  <a:pt x="3738708" y="513836"/>
                  <a:pt x="3729622" y="507778"/>
                </a:cubicBezTo>
                <a:lnTo>
                  <a:pt x="3751834" y="462344"/>
                </a:lnTo>
                <a:cubicBezTo>
                  <a:pt x="3760248" y="468065"/>
                  <a:pt x="3770260" y="472861"/>
                  <a:pt x="3781872" y="476731"/>
                </a:cubicBezTo>
                <a:cubicBezTo>
                  <a:pt x="3793482" y="480602"/>
                  <a:pt x="3805178" y="482537"/>
                  <a:pt x="3816956" y="482537"/>
                </a:cubicBezTo>
                <a:cubicBezTo>
                  <a:pt x="3829072" y="482537"/>
                  <a:pt x="3838580" y="479255"/>
                  <a:pt x="3845480" y="472693"/>
                </a:cubicBezTo>
                <a:cubicBezTo>
                  <a:pt x="3852378" y="466130"/>
                  <a:pt x="3855828" y="457127"/>
                  <a:pt x="3855828" y="445685"/>
                </a:cubicBezTo>
                <a:cubicBezTo>
                  <a:pt x="3855828" y="437944"/>
                  <a:pt x="3854230" y="431550"/>
                  <a:pt x="3851032" y="426501"/>
                </a:cubicBezTo>
                <a:cubicBezTo>
                  <a:pt x="3847836" y="421453"/>
                  <a:pt x="3843712" y="417414"/>
                  <a:pt x="3838664" y="414385"/>
                </a:cubicBezTo>
                <a:cubicBezTo>
                  <a:pt x="3833616" y="411357"/>
                  <a:pt x="3827894" y="409169"/>
                  <a:pt x="3821500" y="407823"/>
                </a:cubicBezTo>
                <a:cubicBezTo>
                  <a:pt x="3815106" y="406477"/>
                  <a:pt x="3808712" y="405803"/>
                  <a:pt x="3802316" y="405803"/>
                </a:cubicBezTo>
                <a:lnTo>
                  <a:pt x="3779094" y="405803"/>
                </a:lnTo>
                <a:lnTo>
                  <a:pt x="3779094" y="354311"/>
                </a:lnTo>
                <a:lnTo>
                  <a:pt x="3798278" y="354311"/>
                </a:lnTo>
                <a:cubicBezTo>
                  <a:pt x="3818470" y="354311"/>
                  <a:pt x="3835130" y="351030"/>
                  <a:pt x="3848256" y="344467"/>
                </a:cubicBezTo>
                <a:cubicBezTo>
                  <a:pt x="3861380" y="337904"/>
                  <a:pt x="3867944" y="326378"/>
                  <a:pt x="3867944" y="309887"/>
                </a:cubicBezTo>
                <a:cubicBezTo>
                  <a:pt x="3867944" y="296425"/>
                  <a:pt x="3863652" y="285150"/>
                  <a:pt x="3855072" y="276063"/>
                </a:cubicBezTo>
                <a:cubicBezTo>
                  <a:pt x="3846488" y="266977"/>
                  <a:pt x="3831596" y="262433"/>
                  <a:pt x="3810394" y="262433"/>
                </a:cubicBezTo>
                <a:cubicBezTo>
                  <a:pt x="3793230" y="262433"/>
                  <a:pt x="3778506" y="264284"/>
                  <a:pt x="3766222" y="267986"/>
                </a:cubicBezTo>
                <a:cubicBezTo>
                  <a:pt x="3753938" y="271688"/>
                  <a:pt x="3743924" y="275222"/>
                  <a:pt x="3736184" y="278588"/>
                </a:cubicBezTo>
                <a:lnTo>
                  <a:pt x="3724068" y="226591"/>
                </a:lnTo>
                <a:cubicBezTo>
                  <a:pt x="3727770" y="224908"/>
                  <a:pt x="3732988" y="223057"/>
                  <a:pt x="3739718" y="221037"/>
                </a:cubicBezTo>
                <a:cubicBezTo>
                  <a:pt x="3746450" y="219018"/>
                  <a:pt x="3753770" y="217167"/>
                  <a:pt x="3761678" y="215484"/>
                </a:cubicBezTo>
                <a:cubicBezTo>
                  <a:pt x="3769588" y="213802"/>
                  <a:pt x="3777832" y="212371"/>
                  <a:pt x="3786414" y="211193"/>
                </a:cubicBezTo>
                <a:cubicBezTo>
                  <a:pt x="3794996" y="210015"/>
                  <a:pt x="3803158" y="209427"/>
                  <a:pt x="3810898" y="209427"/>
                </a:cubicBezTo>
                <a:cubicBezTo>
                  <a:pt x="3831764" y="209427"/>
                  <a:pt x="3849770" y="211867"/>
                  <a:pt x="3864916" y="216746"/>
                </a:cubicBezTo>
                <a:cubicBezTo>
                  <a:pt x="3880060" y="221626"/>
                  <a:pt x="3892512" y="228526"/>
                  <a:pt x="3902272" y="237444"/>
                </a:cubicBezTo>
                <a:cubicBezTo>
                  <a:pt x="3912032" y="246363"/>
                  <a:pt x="3919268" y="256880"/>
                  <a:pt x="3923980" y="268996"/>
                </a:cubicBezTo>
                <a:cubicBezTo>
                  <a:pt x="3928692" y="281112"/>
                  <a:pt x="3931048" y="294405"/>
                  <a:pt x="3931048" y="308877"/>
                </a:cubicBezTo>
                <a:cubicBezTo>
                  <a:pt x="3931048" y="327051"/>
                  <a:pt x="3926588" y="342700"/>
                  <a:pt x="3917668" y="355826"/>
                </a:cubicBezTo>
                <a:cubicBezTo>
                  <a:pt x="3908750" y="368951"/>
                  <a:pt x="3896214" y="378879"/>
                  <a:pt x="3880060" y="385610"/>
                </a:cubicBezTo>
                <a:cubicBezTo>
                  <a:pt x="3891840" y="391668"/>
                  <a:pt x="3901262" y="400419"/>
                  <a:pt x="3908330" y="411861"/>
                </a:cubicBezTo>
                <a:cubicBezTo>
                  <a:pt x="3915398" y="423304"/>
                  <a:pt x="3918932" y="435252"/>
                  <a:pt x="3918932" y="447704"/>
                </a:cubicBezTo>
                <a:cubicBezTo>
                  <a:pt x="3918932" y="460156"/>
                  <a:pt x="3916912" y="471767"/>
                  <a:pt x="3912874" y="482537"/>
                </a:cubicBezTo>
                <a:cubicBezTo>
                  <a:pt x="3908834" y="493306"/>
                  <a:pt x="3902608" y="502646"/>
                  <a:pt x="3894196" y="510555"/>
                </a:cubicBezTo>
                <a:cubicBezTo>
                  <a:pt x="3885780" y="518464"/>
                  <a:pt x="3875096" y="524606"/>
                  <a:pt x="3862138" y="528981"/>
                </a:cubicBezTo>
                <a:cubicBezTo>
                  <a:pt x="3849180" y="533356"/>
                  <a:pt x="3833952" y="535544"/>
                  <a:pt x="3816452" y="535544"/>
                </a:cubicBezTo>
                <a:close/>
                <a:moveTo>
                  <a:pt x="3567354" y="535544"/>
                </a:moveTo>
                <a:cubicBezTo>
                  <a:pt x="3549854" y="535544"/>
                  <a:pt x="3532268" y="532178"/>
                  <a:pt x="3514600" y="525447"/>
                </a:cubicBezTo>
                <a:cubicBezTo>
                  <a:pt x="3496930" y="518716"/>
                  <a:pt x="3481366" y="508283"/>
                  <a:pt x="3467904" y="494148"/>
                </a:cubicBezTo>
                <a:lnTo>
                  <a:pt x="3498698" y="450733"/>
                </a:lnTo>
                <a:cubicBezTo>
                  <a:pt x="3509130" y="461839"/>
                  <a:pt x="3519732" y="469748"/>
                  <a:pt x="3530502" y="474460"/>
                </a:cubicBezTo>
                <a:cubicBezTo>
                  <a:pt x="3541272" y="479171"/>
                  <a:pt x="3551536" y="481527"/>
                  <a:pt x="3561296" y="481527"/>
                </a:cubicBezTo>
                <a:cubicBezTo>
                  <a:pt x="3573076" y="481527"/>
                  <a:pt x="3582836" y="478078"/>
                  <a:pt x="3590576" y="471178"/>
                </a:cubicBezTo>
                <a:cubicBezTo>
                  <a:pt x="3598316" y="464279"/>
                  <a:pt x="3602186" y="454435"/>
                  <a:pt x="3602188" y="441646"/>
                </a:cubicBezTo>
                <a:cubicBezTo>
                  <a:pt x="3602186" y="432559"/>
                  <a:pt x="3599074" y="423641"/>
                  <a:pt x="3592848" y="414890"/>
                </a:cubicBezTo>
                <a:cubicBezTo>
                  <a:pt x="3586622" y="406140"/>
                  <a:pt x="3578712" y="397053"/>
                  <a:pt x="3569120" y="387630"/>
                </a:cubicBezTo>
                <a:cubicBezTo>
                  <a:pt x="3559528" y="378206"/>
                  <a:pt x="3549264" y="368362"/>
                  <a:pt x="3538326" y="358097"/>
                </a:cubicBezTo>
                <a:cubicBezTo>
                  <a:pt x="3527388" y="347833"/>
                  <a:pt x="3517124" y="336727"/>
                  <a:pt x="3507532" y="324779"/>
                </a:cubicBezTo>
                <a:cubicBezTo>
                  <a:pt x="3497940" y="312831"/>
                  <a:pt x="3490032" y="299790"/>
                  <a:pt x="3483806" y="285655"/>
                </a:cubicBezTo>
                <a:cubicBezTo>
                  <a:pt x="3477580" y="271520"/>
                  <a:pt x="3474466" y="256039"/>
                  <a:pt x="3474466" y="239211"/>
                </a:cubicBezTo>
                <a:cubicBezTo>
                  <a:pt x="3474466" y="237192"/>
                  <a:pt x="3474382" y="233658"/>
                  <a:pt x="3474214" y="228610"/>
                </a:cubicBezTo>
                <a:cubicBezTo>
                  <a:pt x="3474046" y="223562"/>
                  <a:pt x="3474466" y="219355"/>
                  <a:pt x="3475476" y="215989"/>
                </a:cubicBezTo>
                <a:lnTo>
                  <a:pt x="3679426" y="215989"/>
                </a:lnTo>
                <a:lnTo>
                  <a:pt x="3679426" y="267481"/>
                </a:lnTo>
                <a:lnTo>
                  <a:pt x="3545142" y="267481"/>
                </a:lnTo>
                <a:cubicBezTo>
                  <a:pt x="3545142" y="272530"/>
                  <a:pt x="3546908" y="278083"/>
                  <a:pt x="3550442" y="284141"/>
                </a:cubicBezTo>
                <a:cubicBezTo>
                  <a:pt x="3553976" y="290198"/>
                  <a:pt x="3558268" y="296172"/>
                  <a:pt x="3563316" y="302062"/>
                </a:cubicBezTo>
                <a:cubicBezTo>
                  <a:pt x="3568364" y="307952"/>
                  <a:pt x="3573748" y="313673"/>
                  <a:pt x="3579470" y="319226"/>
                </a:cubicBezTo>
                <a:cubicBezTo>
                  <a:pt x="3585190" y="324779"/>
                  <a:pt x="3590240" y="329575"/>
                  <a:pt x="3594614" y="333613"/>
                </a:cubicBezTo>
                <a:cubicBezTo>
                  <a:pt x="3603364" y="341691"/>
                  <a:pt x="3611946" y="350104"/>
                  <a:pt x="3620360" y="358855"/>
                </a:cubicBezTo>
                <a:cubicBezTo>
                  <a:pt x="3628774" y="367605"/>
                  <a:pt x="3636346" y="376692"/>
                  <a:pt x="3643078" y="386115"/>
                </a:cubicBezTo>
                <a:cubicBezTo>
                  <a:pt x="3649808" y="395539"/>
                  <a:pt x="3655194" y="405214"/>
                  <a:pt x="3659232" y="415143"/>
                </a:cubicBezTo>
                <a:cubicBezTo>
                  <a:pt x="3663270" y="425071"/>
                  <a:pt x="3665290" y="435420"/>
                  <a:pt x="3665290" y="446189"/>
                </a:cubicBezTo>
                <a:cubicBezTo>
                  <a:pt x="3665290" y="460998"/>
                  <a:pt x="3662598" y="474039"/>
                  <a:pt x="3657212" y="485313"/>
                </a:cubicBezTo>
                <a:cubicBezTo>
                  <a:pt x="3651828" y="496588"/>
                  <a:pt x="3644592" y="505927"/>
                  <a:pt x="3635506" y="513331"/>
                </a:cubicBezTo>
                <a:cubicBezTo>
                  <a:pt x="3626418" y="520735"/>
                  <a:pt x="3615986" y="526288"/>
                  <a:pt x="3604206" y="529990"/>
                </a:cubicBezTo>
                <a:cubicBezTo>
                  <a:pt x="3592426" y="533692"/>
                  <a:pt x="3580142" y="535544"/>
                  <a:pt x="3567354" y="535544"/>
                </a:cubicBezTo>
                <a:close/>
                <a:moveTo>
                  <a:pt x="3324752" y="535544"/>
                </a:moveTo>
                <a:cubicBezTo>
                  <a:pt x="3290088" y="535544"/>
                  <a:pt x="3263332" y="522081"/>
                  <a:pt x="3244486" y="495157"/>
                </a:cubicBezTo>
                <a:cubicBezTo>
                  <a:pt x="3225638" y="468233"/>
                  <a:pt x="3216214" y="427511"/>
                  <a:pt x="3216214" y="372990"/>
                </a:cubicBezTo>
                <a:cubicBezTo>
                  <a:pt x="3216214" y="317796"/>
                  <a:pt x="3225470" y="276737"/>
                  <a:pt x="3243980" y="249813"/>
                </a:cubicBezTo>
                <a:cubicBezTo>
                  <a:pt x="3262490" y="222889"/>
                  <a:pt x="3289414" y="209427"/>
                  <a:pt x="3324752" y="209427"/>
                </a:cubicBezTo>
                <a:cubicBezTo>
                  <a:pt x="3360090" y="209427"/>
                  <a:pt x="3387014" y="222889"/>
                  <a:pt x="3405524" y="249813"/>
                </a:cubicBezTo>
                <a:cubicBezTo>
                  <a:pt x="3424034" y="276737"/>
                  <a:pt x="3433290" y="317796"/>
                  <a:pt x="3433290" y="372990"/>
                </a:cubicBezTo>
                <a:cubicBezTo>
                  <a:pt x="3433290" y="427847"/>
                  <a:pt x="3424034" y="468654"/>
                  <a:pt x="3405524" y="495410"/>
                </a:cubicBezTo>
                <a:cubicBezTo>
                  <a:pt x="3387014" y="522166"/>
                  <a:pt x="3360090" y="535544"/>
                  <a:pt x="3324752" y="535544"/>
                </a:cubicBezTo>
                <a:close/>
                <a:moveTo>
                  <a:pt x="3062528" y="535544"/>
                </a:moveTo>
                <a:cubicBezTo>
                  <a:pt x="3045028" y="535544"/>
                  <a:pt x="3027444" y="532178"/>
                  <a:pt x="3009774" y="525447"/>
                </a:cubicBezTo>
                <a:cubicBezTo>
                  <a:pt x="2992106" y="518716"/>
                  <a:pt x="2976540" y="508283"/>
                  <a:pt x="2963078" y="494148"/>
                </a:cubicBezTo>
                <a:lnTo>
                  <a:pt x="2993872" y="450733"/>
                </a:lnTo>
                <a:cubicBezTo>
                  <a:pt x="3004306" y="461839"/>
                  <a:pt x="3014908" y="469748"/>
                  <a:pt x="3025676" y="474460"/>
                </a:cubicBezTo>
                <a:cubicBezTo>
                  <a:pt x="3036446" y="479171"/>
                  <a:pt x="3046712" y="481527"/>
                  <a:pt x="3056472" y="481527"/>
                </a:cubicBezTo>
                <a:cubicBezTo>
                  <a:pt x="3068250" y="481527"/>
                  <a:pt x="3078010" y="478078"/>
                  <a:pt x="3085752" y="471178"/>
                </a:cubicBezTo>
                <a:cubicBezTo>
                  <a:pt x="3093492" y="464279"/>
                  <a:pt x="3097362" y="454435"/>
                  <a:pt x="3097362" y="441646"/>
                </a:cubicBezTo>
                <a:cubicBezTo>
                  <a:pt x="3097362" y="432559"/>
                  <a:pt x="3094248" y="423641"/>
                  <a:pt x="3088022" y="414890"/>
                </a:cubicBezTo>
                <a:cubicBezTo>
                  <a:pt x="3081796" y="406140"/>
                  <a:pt x="3073888" y="397053"/>
                  <a:pt x="3064296" y="387630"/>
                </a:cubicBezTo>
                <a:cubicBezTo>
                  <a:pt x="3054704" y="378206"/>
                  <a:pt x="3044440" y="368362"/>
                  <a:pt x="3033502" y="358097"/>
                </a:cubicBezTo>
                <a:cubicBezTo>
                  <a:pt x="3022564" y="347833"/>
                  <a:pt x="3012298" y="336727"/>
                  <a:pt x="3002708" y="324779"/>
                </a:cubicBezTo>
                <a:cubicBezTo>
                  <a:pt x="2993116" y="312831"/>
                  <a:pt x="2985206" y="299790"/>
                  <a:pt x="2978980" y="285655"/>
                </a:cubicBezTo>
                <a:cubicBezTo>
                  <a:pt x="2972754" y="271520"/>
                  <a:pt x="2969642" y="256039"/>
                  <a:pt x="2969642" y="239211"/>
                </a:cubicBezTo>
                <a:cubicBezTo>
                  <a:pt x="2969642" y="237192"/>
                  <a:pt x="2969558" y="233658"/>
                  <a:pt x="2969388" y="228610"/>
                </a:cubicBezTo>
                <a:cubicBezTo>
                  <a:pt x="2969220" y="223562"/>
                  <a:pt x="2969640" y="219355"/>
                  <a:pt x="2970650" y="215989"/>
                </a:cubicBezTo>
                <a:lnTo>
                  <a:pt x="3174600" y="215989"/>
                </a:lnTo>
                <a:lnTo>
                  <a:pt x="3174600" y="267481"/>
                </a:lnTo>
                <a:lnTo>
                  <a:pt x="3040316" y="267481"/>
                </a:lnTo>
                <a:cubicBezTo>
                  <a:pt x="3040316" y="272530"/>
                  <a:pt x="3042084" y="278083"/>
                  <a:pt x="3045618" y="284141"/>
                </a:cubicBezTo>
                <a:cubicBezTo>
                  <a:pt x="3049152" y="290198"/>
                  <a:pt x="3053442" y="296172"/>
                  <a:pt x="3058490" y="302062"/>
                </a:cubicBezTo>
                <a:cubicBezTo>
                  <a:pt x="3063538" y="307952"/>
                  <a:pt x="3068924" y="313673"/>
                  <a:pt x="3074644" y="319226"/>
                </a:cubicBezTo>
                <a:cubicBezTo>
                  <a:pt x="3080366" y="324779"/>
                  <a:pt x="3085414" y="329575"/>
                  <a:pt x="3089790" y="333613"/>
                </a:cubicBezTo>
                <a:cubicBezTo>
                  <a:pt x="3098540" y="341691"/>
                  <a:pt x="3107122" y="350104"/>
                  <a:pt x="3115536" y="358855"/>
                </a:cubicBezTo>
                <a:cubicBezTo>
                  <a:pt x="3123950" y="367605"/>
                  <a:pt x="3131522" y="376692"/>
                  <a:pt x="3138252" y="386115"/>
                </a:cubicBezTo>
                <a:cubicBezTo>
                  <a:pt x="3144984" y="395539"/>
                  <a:pt x="3150368" y="405214"/>
                  <a:pt x="3154408" y="415143"/>
                </a:cubicBezTo>
                <a:cubicBezTo>
                  <a:pt x="3158446" y="425071"/>
                  <a:pt x="3160464" y="435420"/>
                  <a:pt x="3160464" y="446189"/>
                </a:cubicBezTo>
                <a:cubicBezTo>
                  <a:pt x="3160464" y="460998"/>
                  <a:pt x="3157772" y="474039"/>
                  <a:pt x="3152388" y="485313"/>
                </a:cubicBezTo>
                <a:cubicBezTo>
                  <a:pt x="3147002" y="496588"/>
                  <a:pt x="3139766" y="505927"/>
                  <a:pt x="3130680" y="513331"/>
                </a:cubicBezTo>
                <a:cubicBezTo>
                  <a:pt x="3121594" y="520735"/>
                  <a:pt x="3111160" y="526288"/>
                  <a:pt x="3099382" y="529990"/>
                </a:cubicBezTo>
                <a:cubicBezTo>
                  <a:pt x="3087602" y="533692"/>
                  <a:pt x="3075318" y="535544"/>
                  <a:pt x="3062528" y="535544"/>
                </a:cubicBezTo>
                <a:close/>
                <a:moveTo>
                  <a:pt x="2292890" y="561290"/>
                </a:moveTo>
                <a:cubicBezTo>
                  <a:pt x="2282120" y="561290"/>
                  <a:pt x="2272949" y="557756"/>
                  <a:pt x="2265377" y="550688"/>
                </a:cubicBezTo>
                <a:cubicBezTo>
                  <a:pt x="2257805" y="543621"/>
                  <a:pt x="2254018" y="533861"/>
                  <a:pt x="2254018" y="521408"/>
                </a:cubicBezTo>
                <a:cubicBezTo>
                  <a:pt x="2254018" y="509293"/>
                  <a:pt x="2257805" y="499701"/>
                  <a:pt x="2265377" y="492633"/>
                </a:cubicBezTo>
                <a:cubicBezTo>
                  <a:pt x="2272949" y="485566"/>
                  <a:pt x="2282120" y="482032"/>
                  <a:pt x="2292890" y="482032"/>
                </a:cubicBezTo>
                <a:cubicBezTo>
                  <a:pt x="2303660" y="482032"/>
                  <a:pt x="2312914" y="485566"/>
                  <a:pt x="2320655" y="492633"/>
                </a:cubicBezTo>
                <a:cubicBezTo>
                  <a:pt x="2328396" y="499701"/>
                  <a:pt x="2332266" y="509293"/>
                  <a:pt x="2332266" y="521408"/>
                </a:cubicBezTo>
                <a:cubicBezTo>
                  <a:pt x="2332266" y="533861"/>
                  <a:pt x="2328396" y="543621"/>
                  <a:pt x="2320655" y="550688"/>
                </a:cubicBezTo>
                <a:cubicBezTo>
                  <a:pt x="2312914" y="557756"/>
                  <a:pt x="2303660" y="561290"/>
                  <a:pt x="2292890" y="561290"/>
                </a:cubicBezTo>
                <a:close/>
                <a:moveTo>
                  <a:pt x="1959420" y="563309"/>
                </a:moveTo>
                <a:lnTo>
                  <a:pt x="1959420" y="511817"/>
                </a:lnTo>
                <a:lnTo>
                  <a:pt x="2025047" y="511817"/>
                </a:lnTo>
                <a:lnTo>
                  <a:pt x="2025047" y="310392"/>
                </a:lnTo>
                <a:cubicBezTo>
                  <a:pt x="2025047" y="277746"/>
                  <a:pt x="2031610" y="252926"/>
                  <a:pt x="2044735" y="235930"/>
                </a:cubicBezTo>
                <a:cubicBezTo>
                  <a:pt x="2057860" y="218934"/>
                  <a:pt x="2078727" y="210436"/>
                  <a:pt x="2107333" y="210436"/>
                </a:cubicBezTo>
                <a:cubicBezTo>
                  <a:pt x="2117767" y="210436"/>
                  <a:pt x="2127106" y="211109"/>
                  <a:pt x="2135351" y="212455"/>
                </a:cubicBezTo>
                <a:cubicBezTo>
                  <a:pt x="2143597" y="213802"/>
                  <a:pt x="2150580" y="215400"/>
                  <a:pt x="2156302" y="217251"/>
                </a:cubicBezTo>
                <a:cubicBezTo>
                  <a:pt x="2162023" y="219102"/>
                  <a:pt x="2166650" y="220869"/>
                  <a:pt x="2170184" y="222552"/>
                </a:cubicBezTo>
                <a:cubicBezTo>
                  <a:pt x="2173718" y="224235"/>
                  <a:pt x="2175990" y="225413"/>
                  <a:pt x="2176999" y="226086"/>
                </a:cubicBezTo>
                <a:lnTo>
                  <a:pt x="2168922" y="276063"/>
                </a:lnTo>
                <a:cubicBezTo>
                  <a:pt x="2166230" y="275054"/>
                  <a:pt x="2160677" y="272866"/>
                  <a:pt x="2152263" y="269501"/>
                </a:cubicBezTo>
                <a:cubicBezTo>
                  <a:pt x="2143849" y="266135"/>
                  <a:pt x="2133416" y="264452"/>
                  <a:pt x="2120964" y="264452"/>
                </a:cubicBezTo>
                <a:cubicBezTo>
                  <a:pt x="2111204" y="264452"/>
                  <a:pt x="2103126" y="267313"/>
                  <a:pt x="2096732" y="273034"/>
                </a:cubicBezTo>
                <a:cubicBezTo>
                  <a:pt x="2090338" y="278756"/>
                  <a:pt x="2087140" y="289694"/>
                  <a:pt x="2087140" y="305848"/>
                </a:cubicBezTo>
                <a:lnTo>
                  <a:pt x="2087140" y="563309"/>
                </a:lnTo>
                <a:close/>
                <a:moveTo>
                  <a:pt x="1607052" y="565833"/>
                </a:moveTo>
                <a:cubicBezTo>
                  <a:pt x="1594263" y="565833"/>
                  <a:pt x="1581811" y="564234"/>
                  <a:pt x="1569695" y="561037"/>
                </a:cubicBezTo>
                <a:cubicBezTo>
                  <a:pt x="1557579" y="557840"/>
                  <a:pt x="1546810" y="552455"/>
                  <a:pt x="1537386" y="544883"/>
                </a:cubicBezTo>
                <a:cubicBezTo>
                  <a:pt x="1527963" y="537310"/>
                  <a:pt x="1520474" y="527214"/>
                  <a:pt x="1514921" y="514593"/>
                </a:cubicBezTo>
                <a:cubicBezTo>
                  <a:pt x="1509368" y="501973"/>
                  <a:pt x="1506592" y="486071"/>
                  <a:pt x="1506592" y="466887"/>
                </a:cubicBezTo>
                <a:lnTo>
                  <a:pt x="1506592" y="453257"/>
                </a:lnTo>
                <a:lnTo>
                  <a:pt x="1454595" y="453257"/>
                </a:lnTo>
                <a:lnTo>
                  <a:pt x="1454595" y="401765"/>
                </a:lnTo>
                <a:lnTo>
                  <a:pt x="1506592" y="401765"/>
                </a:lnTo>
                <a:lnTo>
                  <a:pt x="1506592" y="215989"/>
                </a:lnTo>
                <a:lnTo>
                  <a:pt x="1569190" y="215989"/>
                </a:lnTo>
                <a:lnTo>
                  <a:pt x="1569190" y="401765"/>
                </a:lnTo>
                <a:lnTo>
                  <a:pt x="1666621" y="401765"/>
                </a:lnTo>
                <a:lnTo>
                  <a:pt x="1666621" y="453257"/>
                </a:lnTo>
                <a:lnTo>
                  <a:pt x="1569190" y="453257"/>
                </a:lnTo>
                <a:lnTo>
                  <a:pt x="1569190" y="465878"/>
                </a:lnTo>
                <a:cubicBezTo>
                  <a:pt x="1569190" y="475974"/>
                  <a:pt x="1570368" y="484135"/>
                  <a:pt x="1572724" y="490362"/>
                </a:cubicBezTo>
                <a:cubicBezTo>
                  <a:pt x="1575080" y="496588"/>
                  <a:pt x="1578193" y="501384"/>
                  <a:pt x="1582063" y="504749"/>
                </a:cubicBezTo>
                <a:cubicBezTo>
                  <a:pt x="1585933" y="508115"/>
                  <a:pt x="1590477" y="510302"/>
                  <a:pt x="1595693" y="511312"/>
                </a:cubicBezTo>
                <a:cubicBezTo>
                  <a:pt x="1600910" y="512322"/>
                  <a:pt x="1606379" y="512826"/>
                  <a:pt x="1612100" y="512826"/>
                </a:cubicBezTo>
                <a:cubicBezTo>
                  <a:pt x="1622533" y="512826"/>
                  <a:pt x="1633555" y="511396"/>
                  <a:pt x="1645166" y="508535"/>
                </a:cubicBezTo>
                <a:cubicBezTo>
                  <a:pt x="1656777" y="505675"/>
                  <a:pt x="1666453" y="502898"/>
                  <a:pt x="1674194" y="500206"/>
                </a:cubicBezTo>
                <a:lnTo>
                  <a:pt x="1684795" y="550688"/>
                </a:lnTo>
                <a:cubicBezTo>
                  <a:pt x="1673689" y="556073"/>
                  <a:pt x="1661236" y="559943"/>
                  <a:pt x="1647438" y="562299"/>
                </a:cubicBezTo>
                <a:cubicBezTo>
                  <a:pt x="1633639" y="564655"/>
                  <a:pt x="1620178" y="565833"/>
                  <a:pt x="1607052" y="565833"/>
                </a:cubicBezTo>
                <a:close/>
                <a:moveTo>
                  <a:pt x="0" y="796029"/>
                </a:moveTo>
                <a:lnTo>
                  <a:pt x="4876802" y="796029"/>
                </a:lnTo>
                <a:lnTo>
                  <a:pt x="4824822" y="344498"/>
                </a:lnTo>
                <a:cubicBezTo>
                  <a:pt x="4801968" y="145891"/>
                  <a:pt x="4682292" y="207"/>
                  <a:pt x="4541980" y="155"/>
                </a:cubicBezTo>
                <a:lnTo>
                  <a:pt x="0" y="0"/>
                </a:lnTo>
                <a:close/>
              </a:path>
            </a:pathLst>
          </a:custGeom>
          <a:solidFill>
            <a:schemeClr val="bg1"/>
          </a:solidFill>
          <a:ln w="2834" cap="flat">
            <a:noFill/>
            <a:prstDash val="solid"/>
            <a:miter/>
          </a:ln>
        </p:spPr>
        <p:txBody>
          <a:bodyPr wrap="square" rtlCol="0" anchor="ctr">
            <a:noAutofit/>
          </a:bodyPr>
          <a:lstStyle/>
          <a:p>
            <a:endParaRPr lang="en-US"/>
          </a:p>
        </p:txBody>
      </p:sp>
      <p:pic>
        <p:nvPicPr>
          <p:cNvPr id="11" name="Imagen 10" descr="Un dibujo de una cara feliz&#10;&#10;Descripción generada automáticamente con confianza baja">
            <a:extLst>
              <a:ext uri="{FF2B5EF4-FFF2-40B4-BE49-F238E27FC236}">
                <a16:creationId xmlns:a16="http://schemas.microsoft.com/office/drawing/2014/main" id="{AAE5E7C8-61FF-4E9E-B7AA-24C524932BC4}"/>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7824450" y="406400"/>
            <a:ext cx="1801936" cy="934010"/>
          </a:xfrm>
          <a:prstGeom prst="rect">
            <a:avLst/>
          </a:prstGeom>
        </p:spPr>
      </p:pic>
    </p:spTree>
    <p:extLst>
      <p:ext uri="{BB962C8B-B14F-4D97-AF65-F5344CB8AC3E}">
        <p14:creationId xmlns:p14="http://schemas.microsoft.com/office/powerpoint/2010/main" val="2567360774"/>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ext with Shapes - Layout1">
    <p:bg>
      <p:bgRef idx="1001">
        <a:schemeClr val="bg1"/>
      </p:bgRef>
    </p:bg>
    <p:spTree>
      <p:nvGrpSpPr>
        <p:cNvPr id="1" name=""/>
        <p:cNvGrpSpPr/>
        <p:nvPr/>
      </p:nvGrpSpPr>
      <p:grpSpPr>
        <a:xfrm>
          <a:off x="0" y="0"/>
          <a:ext cx="0" cy="0"/>
          <a:chOff x="0" y="0"/>
          <a:chExt cx="0" cy="0"/>
        </a:xfrm>
      </p:grpSpPr>
      <p:sp>
        <p:nvSpPr>
          <p:cNvPr id="28" name="Freeform 27"/>
          <p:cNvSpPr/>
          <p:nvPr userDrawn="1"/>
        </p:nvSpPr>
        <p:spPr>
          <a:xfrm>
            <a:off x="12584188" y="1"/>
            <a:ext cx="7519915" cy="11328402"/>
          </a:xfrm>
          <a:custGeom>
            <a:avLst/>
            <a:gdLst>
              <a:gd name="connsiteX0" fmla="*/ 3889339 w 4560403"/>
              <a:gd name="connsiteY0" fmla="*/ 0 h 6858001"/>
              <a:gd name="connsiteX1" fmla="*/ 4560403 w 4560403"/>
              <a:gd name="connsiteY1" fmla="*/ 0 h 6858001"/>
              <a:gd name="connsiteX2" fmla="*/ 4560403 w 4560403"/>
              <a:gd name="connsiteY2" fmla="*/ 6858001 h 6858001"/>
              <a:gd name="connsiteX3" fmla="*/ 797256 w 4560403"/>
              <a:gd name="connsiteY3" fmla="*/ 6858001 h 6858001"/>
              <a:gd name="connsiteX4" fmla="*/ 788343 w 4560403"/>
              <a:gd name="connsiteY4" fmla="*/ 6827268 h 6858001"/>
              <a:gd name="connsiteX5" fmla="*/ 116308 w 4560403"/>
              <a:gd name="connsiteY5" fmla="*/ 4510048 h 6858001"/>
              <a:gd name="connsiteX6" fmla="*/ 1654161 w 4560403"/>
              <a:gd name="connsiteY6" fmla="*/ 1075400 h 6858001"/>
              <a:gd name="connsiteX7" fmla="*/ 3880655 w 4560403"/>
              <a:gd name="connsiteY7" fmla="*/ 4178 h 6858001"/>
              <a:gd name="connsiteX8" fmla="*/ 3889339 w 4560403"/>
              <a:gd name="connsiteY8" fmla="*/ 0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60403" h="6858001">
                <a:moveTo>
                  <a:pt x="3889339" y="0"/>
                </a:moveTo>
                <a:lnTo>
                  <a:pt x="4560403" y="0"/>
                </a:lnTo>
                <a:lnTo>
                  <a:pt x="4560403" y="6858001"/>
                </a:lnTo>
                <a:lnTo>
                  <a:pt x="797256" y="6858001"/>
                </a:lnTo>
                <a:lnTo>
                  <a:pt x="788343" y="6827268"/>
                </a:lnTo>
                <a:cubicBezTo>
                  <a:pt x="116308" y="4510048"/>
                  <a:pt x="116308" y="4510048"/>
                  <a:pt x="116308" y="4510048"/>
                </a:cubicBezTo>
                <a:cubicBezTo>
                  <a:pt x="-280530" y="3141724"/>
                  <a:pt x="364088" y="1689508"/>
                  <a:pt x="1654161" y="1075400"/>
                </a:cubicBezTo>
                <a:cubicBezTo>
                  <a:pt x="2768462" y="539282"/>
                  <a:pt x="3456195" y="208397"/>
                  <a:pt x="3880655" y="4178"/>
                </a:cubicBezTo>
                <a:lnTo>
                  <a:pt x="3889339"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09">
              <a:solidFill>
                <a:schemeClr val="tx1"/>
              </a:solidFill>
            </a:endParaRPr>
          </a:p>
        </p:txBody>
      </p:sp>
      <p:sp>
        <p:nvSpPr>
          <p:cNvPr id="50"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672755" y="4474735"/>
            <a:ext cx="5461957" cy="1189465"/>
          </a:xfrm>
          <a:prstGeom prst="rect">
            <a:avLst/>
          </a:prstGeom>
        </p:spPr>
        <p:txBody>
          <a:bodyPr anchor="ctr">
            <a:noAutofit/>
          </a:bodyPr>
          <a:lstStyle>
            <a:lvl1pPr marL="0" marR="0" indent="0" algn="l" defTabSz="1507846" rtl="0" eaLnBrk="1" fontAlgn="auto" latinLnBrk="0" hangingPunct="1">
              <a:lnSpc>
                <a:spcPct val="100000"/>
              </a:lnSpc>
              <a:spcBef>
                <a:spcPts val="1649"/>
              </a:spcBef>
              <a:spcAft>
                <a:spcPts val="0"/>
              </a:spcAft>
              <a:buClrTx/>
              <a:buSzTx/>
              <a:buFont typeface="Arial" panose="020B0604020202020204" pitchFamily="34" charset="0"/>
              <a:buNone/>
              <a:tabLst/>
              <a:defRPr sz="2638"/>
            </a:lvl1pPr>
            <a:lvl2pPr>
              <a:lnSpc>
                <a:spcPct val="100000"/>
              </a:lnSpc>
              <a:defRPr sz="2309"/>
            </a:lvl2pPr>
            <a:lvl3pPr>
              <a:lnSpc>
                <a:spcPct val="100000"/>
              </a:lnSpc>
              <a:defRPr sz="2309"/>
            </a:lvl3pPr>
            <a:lvl4pPr>
              <a:lnSpc>
                <a:spcPct val="100000"/>
              </a:lnSpc>
              <a:defRPr sz="2309"/>
            </a:lvl4pPr>
            <a:lvl5pPr>
              <a:lnSpc>
                <a:spcPct val="100000"/>
              </a:lnSpc>
              <a:defRPr sz="1979"/>
            </a:lvl5pPr>
          </a:lstStyle>
          <a:p>
            <a:pPr marL="0" marR="0" lvl="0" indent="0" algn="l" defTabSz="1507846" rtl="0" eaLnBrk="1" fontAlgn="auto" latinLnBrk="0" hangingPunct="1">
              <a:lnSpc>
                <a:spcPct val="100000"/>
              </a:lnSpc>
              <a:spcBef>
                <a:spcPts val="1649"/>
              </a:spcBef>
              <a:spcAft>
                <a:spcPts val="0"/>
              </a:spcAft>
              <a:buClrTx/>
              <a:buSzTx/>
              <a:buFont typeface="Arial" panose="020B0604020202020204" pitchFamily="34" charset="0"/>
              <a:buNone/>
              <a:tabLst/>
              <a:defRPr/>
            </a:pPr>
            <a:r>
              <a:rPr lang="en-US"/>
              <a:t>Click to insert text</a:t>
            </a:r>
          </a:p>
        </p:txBody>
      </p:sp>
      <p:sp>
        <p:nvSpPr>
          <p:cNvPr id="51" name="Text Placeholder 7">
            <a:extLst>
              <a:ext uri="{FF2B5EF4-FFF2-40B4-BE49-F238E27FC236}">
                <a16:creationId xmlns:a16="http://schemas.microsoft.com/office/drawing/2014/main" id="{F12D7C74-E8A0-4A7D-95DA-A14111669514}"/>
              </a:ext>
            </a:extLst>
          </p:cNvPr>
          <p:cNvSpPr>
            <a:spLocks noGrp="1"/>
          </p:cNvSpPr>
          <p:nvPr>
            <p:ph type="body" sz="quarter" idx="33" hasCustomPrompt="1"/>
          </p:nvPr>
        </p:nvSpPr>
        <p:spPr>
          <a:xfrm>
            <a:off x="672755" y="6021040"/>
            <a:ext cx="5461957" cy="1189465"/>
          </a:xfrm>
          <a:prstGeom prst="rect">
            <a:avLst/>
          </a:prstGeom>
        </p:spPr>
        <p:txBody>
          <a:bodyPr anchor="ctr">
            <a:noAutofit/>
          </a:bodyPr>
          <a:lstStyle>
            <a:lvl1pPr marL="0" marR="0" indent="0" algn="l" defTabSz="1507846" rtl="0" eaLnBrk="1" fontAlgn="auto" latinLnBrk="0" hangingPunct="1">
              <a:lnSpc>
                <a:spcPct val="100000"/>
              </a:lnSpc>
              <a:spcBef>
                <a:spcPts val="1649"/>
              </a:spcBef>
              <a:spcAft>
                <a:spcPts val="0"/>
              </a:spcAft>
              <a:buClrTx/>
              <a:buSzTx/>
              <a:buFont typeface="Arial" panose="020B0604020202020204" pitchFamily="34" charset="0"/>
              <a:buNone/>
              <a:tabLst/>
              <a:defRPr sz="2638"/>
            </a:lvl1pPr>
            <a:lvl2pPr>
              <a:lnSpc>
                <a:spcPct val="100000"/>
              </a:lnSpc>
              <a:defRPr sz="2309"/>
            </a:lvl2pPr>
            <a:lvl3pPr>
              <a:lnSpc>
                <a:spcPct val="100000"/>
              </a:lnSpc>
              <a:defRPr sz="2309"/>
            </a:lvl3pPr>
            <a:lvl4pPr>
              <a:lnSpc>
                <a:spcPct val="100000"/>
              </a:lnSpc>
              <a:defRPr sz="2309"/>
            </a:lvl4pPr>
            <a:lvl5pPr>
              <a:lnSpc>
                <a:spcPct val="100000"/>
              </a:lnSpc>
              <a:defRPr sz="1979"/>
            </a:lvl5pPr>
          </a:lstStyle>
          <a:p>
            <a:pPr marL="0" marR="0" lvl="0" indent="0" algn="l" defTabSz="1507846" rtl="0" eaLnBrk="1" fontAlgn="auto" latinLnBrk="0" hangingPunct="1">
              <a:lnSpc>
                <a:spcPct val="100000"/>
              </a:lnSpc>
              <a:spcBef>
                <a:spcPts val="1649"/>
              </a:spcBef>
              <a:spcAft>
                <a:spcPts val="0"/>
              </a:spcAft>
              <a:buClrTx/>
              <a:buSzTx/>
              <a:buFont typeface="Arial" panose="020B0604020202020204" pitchFamily="34" charset="0"/>
              <a:buNone/>
              <a:tabLst/>
              <a:defRPr/>
            </a:pPr>
            <a:r>
              <a:rPr lang="en-US"/>
              <a:t>Click to insert text</a:t>
            </a:r>
          </a:p>
        </p:txBody>
      </p:sp>
      <p:sp>
        <p:nvSpPr>
          <p:cNvPr id="52" name="Text Placeholder 7">
            <a:extLst>
              <a:ext uri="{FF2B5EF4-FFF2-40B4-BE49-F238E27FC236}">
                <a16:creationId xmlns:a16="http://schemas.microsoft.com/office/drawing/2014/main" id="{92D6AE9D-467E-46C0-B32B-79A9B07CDD13}"/>
              </a:ext>
            </a:extLst>
          </p:cNvPr>
          <p:cNvSpPr>
            <a:spLocks noGrp="1"/>
          </p:cNvSpPr>
          <p:nvPr>
            <p:ph type="body" sz="quarter" idx="34" hasCustomPrompt="1"/>
          </p:nvPr>
        </p:nvSpPr>
        <p:spPr>
          <a:xfrm>
            <a:off x="672755" y="7648530"/>
            <a:ext cx="5461957" cy="1189465"/>
          </a:xfrm>
          <a:prstGeom prst="rect">
            <a:avLst/>
          </a:prstGeom>
        </p:spPr>
        <p:txBody>
          <a:bodyPr anchor="ctr">
            <a:noAutofit/>
          </a:bodyPr>
          <a:lstStyle>
            <a:lvl1pPr marL="0" marR="0" indent="0" algn="l" defTabSz="1507846" rtl="0" eaLnBrk="1" fontAlgn="auto" latinLnBrk="0" hangingPunct="1">
              <a:lnSpc>
                <a:spcPct val="100000"/>
              </a:lnSpc>
              <a:spcBef>
                <a:spcPts val="1649"/>
              </a:spcBef>
              <a:spcAft>
                <a:spcPts val="0"/>
              </a:spcAft>
              <a:buClrTx/>
              <a:buSzTx/>
              <a:buFont typeface="Arial" panose="020B0604020202020204" pitchFamily="34" charset="0"/>
              <a:buNone/>
              <a:tabLst/>
              <a:defRPr sz="2638"/>
            </a:lvl1pPr>
            <a:lvl2pPr>
              <a:lnSpc>
                <a:spcPct val="100000"/>
              </a:lnSpc>
              <a:defRPr sz="2309"/>
            </a:lvl2pPr>
            <a:lvl3pPr>
              <a:lnSpc>
                <a:spcPct val="100000"/>
              </a:lnSpc>
              <a:defRPr sz="2309"/>
            </a:lvl3pPr>
            <a:lvl4pPr>
              <a:lnSpc>
                <a:spcPct val="100000"/>
              </a:lnSpc>
              <a:defRPr sz="2309"/>
            </a:lvl4pPr>
            <a:lvl5pPr>
              <a:lnSpc>
                <a:spcPct val="100000"/>
              </a:lnSpc>
              <a:defRPr sz="1979"/>
            </a:lvl5pPr>
          </a:lstStyle>
          <a:p>
            <a:pPr marL="0" marR="0" lvl="0" indent="0" algn="l" defTabSz="1507846" rtl="0" eaLnBrk="1" fontAlgn="auto" latinLnBrk="0" hangingPunct="1">
              <a:lnSpc>
                <a:spcPct val="100000"/>
              </a:lnSpc>
              <a:spcBef>
                <a:spcPts val="1649"/>
              </a:spcBef>
              <a:spcAft>
                <a:spcPts val="0"/>
              </a:spcAft>
              <a:buClrTx/>
              <a:buSzTx/>
              <a:buFont typeface="Arial" panose="020B0604020202020204" pitchFamily="34" charset="0"/>
              <a:buNone/>
              <a:tabLst/>
              <a:defRPr/>
            </a:pPr>
            <a:r>
              <a:rPr lang="en-US"/>
              <a:t>Click to insert text</a:t>
            </a: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672755" y="668691"/>
            <a:ext cx="16266110" cy="1426539"/>
          </a:xfrm>
          <a:prstGeom prst="rect">
            <a:avLst/>
          </a:prstGeom>
        </p:spPr>
        <p:txBody>
          <a:bodyPr vert="horz" lIns="0" tIns="0" rIns="0" bIns="0" rtlCol="0" anchor="t">
            <a:normAutofit/>
          </a:bodyPr>
          <a:lstStyle>
            <a:lvl1pPr>
              <a:defRPr lang="pt-PT" dirty="0"/>
            </a:lvl1pPr>
          </a:lstStyle>
          <a:p>
            <a:pPr lvl="0">
              <a:lnSpc>
                <a:spcPts val="4947"/>
              </a:lnSpc>
            </a:pPr>
            <a:r>
              <a:rPr lang="en-US"/>
              <a:t>Click to add title</a:t>
            </a:r>
            <a:endParaRPr lang="pt-PT"/>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9349792" y="10829142"/>
            <a:ext cx="481221" cy="295337"/>
          </a:xfrm>
          <a:prstGeom prst="rect">
            <a:avLst/>
          </a:prstGeom>
        </p:spPr>
        <p:txBody>
          <a:bodyPr wrap="none">
            <a:spAutoFit/>
          </a:bodyPr>
          <a:lstStyle/>
          <a:p>
            <a:pPr algn="r"/>
            <a:fld id="{0502E5A9-B53C-401E-A0E0-4A359BB0A9E5}" type="slidenum">
              <a:rPr lang="en-US" sz="1319" smtClean="0">
                <a:solidFill>
                  <a:schemeClr val="bg1"/>
                </a:solidFill>
                <a:cs typeface="Arial" panose="020B0604020202020204" pitchFamily="34" charset="0"/>
              </a:rPr>
              <a:t>‹#›</a:t>
            </a:fld>
            <a:endParaRPr lang="en-US" sz="1319">
              <a:solidFill>
                <a:schemeClr val="bg1"/>
              </a:solidFill>
              <a:cs typeface="Arial" panose="020B0604020202020204" pitchFamily="34" charset="0"/>
            </a:endParaRPr>
          </a:p>
        </p:txBody>
      </p:sp>
      <p:cxnSp>
        <p:nvCxnSpPr>
          <p:cNvPr id="22"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362232" y="10882253"/>
            <a:ext cx="0" cy="256989"/>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23" name="Rectangle 27">
            <a:hlinkClick r:id="rId2"/>
            <a:extLst>
              <a:ext uri="{FF2B5EF4-FFF2-40B4-BE49-F238E27FC236}">
                <a16:creationId xmlns:a16="http://schemas.microsoft.com/office/drawing/2014/main" id="{F376ABD1-4930-42EB-9A73-9A9C7C6BF2D3}"/>
              </a:ext>
            </a:extLst>
          </p:cNvPr>
          <p:cNvSpPr/>
          <p:nvPr userDrawn="1"/>
        </p:nvSpPr>
        <p:spPr>
          <a:xfrm>
            <a:off x="658187" y="10829493"/>
            <a:ext cx="4664915" cy="362509"/>
          </a:xfrm>
          <a:prstGeom prst="rect">
            <a:avLst/>
          </a:prstGeom>
        </p:spPr>
        <p:txBody>
          <a:bodyPr wrap="square" lIns="0" tIns="0" rIns="0" bIns="0" anchor="ctr" anchorCtr="0">
            <a:noAutofit/>
          </a:bodyPr>
          <a:lstStyle/>
          <a:p>
            <a:pPr lvl="0" algn="l" defTabSz="1507846">
              <a:lnSpc>
                <a:spcPct val="100000"/>
              </a:lnSpc>
              <a:defRPr/>
            </a:pPr>
            <a:r>
              <a:rPr lang="en-US" sz="1319" kern="0">
                <a:solidFill>
                  <a:schemeClr val="tx2"/>
                </a:solidFill>
                <a:latin typeface="+mj-lt"/>
                <a:cs typeface="Arial" panose="020B0604020202020204" pitchFamily="34" charset="0"/>
              </a:rPr>
              <a:t>Presentation Title</a:t>
            </a:r>
          </a:p>
        </p:txBody>
      </p:sp>
      <p:sp>
        <p:nvSpPr>
          <p:cNvPr id="24" name="Rectangle 27">
            <a:hlinkClick r:id="rId2"/>
            <a:extLst>
              <a:ext uri="{FF2B5EF4-FFF2-40B4-BE49-F238E27FC236}">
                <a16:creationId xmlns:a16="http://schemas.microsoft.com/office/drawing/2014/main" id="{F376ABD1-4930-42EB-9A73-9A9C7C6BF2D3}"/>
              </a:ext>
            </a:extLst>
          </p:cNvPr>
          <p:cNvSpPr/>
          <p:nvPr userDrawn="1"/>
        </p:nvSpPr>
        <p:spPr>
          <a:xfrm>
            <a:off x="2601711" y="10829494"/>
            <a:ext cx="1714607" cy="355530"/>
          </a:xfrm>
          <a:prstGeom prst="rect">
            <a:avLst/>
          </a:prstGeom>
        </p:spPr>
        <p:txBody>
          <a:bodyPr wrap="square" lIns="0" tIns="0" rIns="0" bIns="0" anchor="ctr" anchorCtr="0">
            <a:noAutofit/>
          </a:bodyPr>
          <a:lstStyle/>
          <a:p>
            <a:pPr lvl="0" algn="l" defTabSz="1507846">
              <a:lnSpc>
                <a:spcPct val="100000"/>
              </a:lnSpc>
              <a:defRPr/>
            </a:pPr>
            <a:r>
              <a:rPr lang="en-US" sz="1319" kern="0">
                <a:solidFill>
                  <a:schemeClr val="tx1"/>
                </a:solidFill>
                <a:latin typeface="+mj-lt"/>
                <a:cs typeface="Arial" panose="020B0604020202020204" pitchFamily="34" charset="0"/>
              </a:rPr>
              <a:t>Date</a:t>
            </a:r>
          </a:p>
        </p:txBody>
      </p:sp>
      <p:sp>
        <p:nvSpPr>
          <p:cNvPr id="25" name="Retângulo 43">
            <a:extLst>
              <a:ext uri="{FF2B5EF4-FFF2-40B4-BE49-F238E27FC236}">
                <a16:creationId xmlns:a16="http://schemas.microsoft.com/office/drawing/2014/main" id="{834ADCB4-BFB1-450D-8F6D-64217F4CD92C}"/>
              </a:ext>
            </a:extLst>
          </p:cNvPr>
          <p:cNvSpPr/>
          <p:nvPr userDrawn="1"/>
        </p:nvSpPr>
        <p:spPr>
          <a:xfrm>
            <a:off x="3453436" y="10829141"/>
            <a:ext cx="4274077" cy="362509"/>
          </a:xfrm>
          <a:prstGeom prst="rect">
            <a:avLst/>
          </a:prstGeom>
        </p:spPr>
        <p:txBody>
          <a:bodyPr wrap="none" lIns="0" tIns="0" rIns="0" bIns="0" anchor="ctr">
            <a:noAutofit/>
          </a:bodyPr>
          <a:lstStyle/>
          <a:p>
            <a:pPr>
              <a:lnSpc>
                <a:spcPct val="100000"/>
              </a:lnSpc>
            </a:pPr>
            <a:r>
              <a:rPr lang="en-US" sz="1319">
                <a:solidFill>
                  <a:schemeClr val="bg2">
                    <a:lumMod val="50000"/>
                  </a:schemeClr>
                </a:solidFill>
                <a:cs typeface="Arial" panose="020B0604020202020204" pitchFamily="34" charset="0"/>
              </a:rPr>
              <a:t>© 2018 </a:t>
            </a:r>
            <a:r>
              <a:rPr lang="en-US" sz="1319" err="1">
                <a:solidFill>
                  <a:schemeClr val="bg2">
                    <a:lumMod val="50000"/>
                  </a:schemeClr>
                </a:solidFill>
                <a:cs typeface="Arial" panose="020B0604020202020204" pitchFamily="34" charset="0"/>
              </a:rPr>
              <a:t>Sogeti</a:t>
            </a:r>
            <a:r>
              <a:rPr lang="en-US" sz="1319">
                <a:solidFill>
                  <a:schemeClr val="bg2">
                    <a:lumMod val="50000"/>
                  </a:schemeClr>
                </a:solidFill>
                <a:cs typeface="Arial" panose="020B0604020202020204" pitchFamily="34" charset="0"/>
              </a:rPr>
              <a:t>. All rights reserved.</a:t>
            </a:r>
          </a:p>
        </p:txBody>
      </p:sp>
      <p:cxnSp>
        <p:nvCxnSpPr>
          <p:cNvPr id="26"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16656" y="10882253"/>
            <a:ext cx="0" cy="256989"/>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pic>
        <p:nvPicPr>
          <p:cNvPr id="27" name="Picture 26"/>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8326448" y="2732544"/>
            <a:ext cx="12141871" cy="7907575"/>
          </a:xfrm>
          <a:prstGeom prst="rect">
            <a:avLst/>
          </a:prstGeom>
        </p:spPr>
      </p:pic>
    </p:spTree>
    <p:extLst>
      <p:ext uri="{BB962C8B-B14F-4D97-AF65-F5344CB8AC3E}">
        <p14:creationId xmlns:p14="http://schemas.microsoft.com/office/powerpoint/2010/main" val="2947355220"/>
      </p:ext>
    </p:extLst>
  </p:cSld>
  <p:clrMapOvr>
    <a:overrideClrMapping bg1="lt1" tx1="dk1" bg2="lt2" tx2="dk2" accent1="accent1" accent2="accent2" accent3="accent3" accent4="accent4" accent5="accent5" accent6="accent6" hlink="hlink" folHlink="folHlink"/>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Text with Shapes - Layout1">
    <p:bg>
      <p:bgRef idx="1001">
        <a:schemeClr val="bg1"/>
      </p:bgRef>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672755" y="668691"/>
            <a:ext cx="16266110" cy="1426539"/>
          </a:xfrm>
          <a:prstGeom prst="rect">
            <a:avLst/>
          </a:prstGeom>
        </p:spPr>
        <p:txBody>
          <a:bodyPr vert="horz" lIns="0" tIns="0" rIns="0" bIns="0" rtlCol="0" anchor="t">
            <a:normAutofit/>
          </a:bodyPr>
          <a:lstStyle>
            <a:lvl1pPr>
              <a:defRPr lang="pt-PT" dirty="0"/>
            </a:lvl1pPr>
          </a:lstStyle>
          <a:p>
            <a:pPr lvl="0">
              <a:lnSpc>
                <a:spcPts val="4947"/>
              </a:lnSpc>
            </a:pPr>
            <a:r>
              <a:rPr lang="en-US"/>
              <a:t>Click to add title</a:t>
            </a:r>
            <a:endParaRPr lang="pt-PT"/>
          </a:p>
        </p:txBody>
      </p:sp>
      <p:grpSp>
        <p:nvGrpSpPr>
          <p:cNvPr id="31" name="Group 30"/>
          <p:cNvGrpSpPr/>
          <p:nvPr userDrawn="1"/>
        </p:nvGrpSpPr>
        <p:grpSpPr>
          <a:xfrm>
            <a:off x="672756" y="3498899"/>
            <a:ext cx="18758591" cy="4432574"/>
            <a:chOff x="407988" y="3962400"/>
            <a:chExt cx="11124255" cy="2286000"/>
          </a:xfrm>
          <a:solidFill>
            <a:schemeClr val="bg2"/>
          </a:solidFill>
        </p:grpSpPr>
        <p:sp>
          <p:nvSpPr>
            <p:cNvPr id="32" name="Rectangle 31"/>
            <p:cNvSpPr/>
            <p:nvPr userDrawn="1"/>
          </p:nvSpPr>
          <p:spPr>
            <a:xfrm>
              <a:off x="407988" y="3962400"/>
              <a:ext cx="3554412" cy="228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09">
                <a:solidFill>
                  <a:schemeClr val="tx1"/>
                </a:solidFill>
              </a:endParaRPr>
            </a:p>
          </p:txBody>
        </p:sp>
        <p:sp>
          <p:nvSpPr>
            <p:cNvPr id="33" name="Rectangle 32"/>
            <p:cNvSpPr/>
            <p:nvPr userDrawn="1"/>
          </p:nvSpPr>
          <p:spPr>
            <a:xfrm>
              <a:off x="4192909" y="3962400"/>
              <a:ext cx="3554412" cy="228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09">
                <a:solidFill>
                  <a:schemeClr val="tx1"/>
                </a:solidFill>
              </a:endParaRPr>
            </a:p>
          </p:txBody>
        </p:sp>
        <p:sp>
          <p:nvSpPr>
            <p:cNvPr id="34" name="Rectangle 33"/>
            <p:cNvSpPr/>
            <p:nvPr userDrawn="1"/>
          </p:nvSpPr>
          <p:spPr>
            <a:xfrm>
              <a:off x="7977831" y="3962400"/>
              <a:ext cx="3554412" cy="228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09">
                <a:solidFill>
                  <a:schemeClr val="tx1"/>
                </a:solidFill>
              </a:endParaRPr>
            </a:p>
          </p:txBody>
        </p:sp>
      </p:grpSp>
      <p:grpSp>
        <p:nvGrpSpPr>
          <p:cNvPr id="40" name="Group 39"/>
          <p:cNvGrpSpPr/>
          <p:nvPr userDrawn="1"/>
        </p:nvGrpSpPr>
        <p:grpSpPr>
          <a:xfrm>
            <a:off x="672756" y="7233608"/>
            <a:ext cx="18758591" cy="3243969"/>
            <a:chOff x="407988" y="3962400"/>
            <a:chExt cx="11124255" cy="2286000"/>
          </a:xfrm>
        </p:grpSpPr>
        <p:sp>
          <p:nvSpPr>
            <p:cNvPr id="41" name="Rectangle 40"/>
            <p:cNvSpPr/>
            <p:nvPr userDrawn="1"/>
          </p:nvSpPr>
          <p:spPr>
            <a:xfrm>
              <a:off x="407988" y="3962400"/>
              <a:ext cx="3554412" cy="228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09">
                <a:solidFill>
                  <a:schemeClr val="tx1"/>
                </a:solidFill>
              </a:endParaRPr>
            </a:p>
          </p:txBody>
        </p:sp>
        <p:sp>
          <p:nvSpPr>
            <p:cNvPr id="42" name="Rectangle 41"/>
            <p:cNvSpPr/>
            <p:nvPr userDrawn="1"/>
          </p:nvSpPr>
          <p:spPr>
            <a:xfrm>
              <a:off x="4192909" y="3962400"/>
              <a:ext cx="3554412" cy="228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09">
                <a:solidFill>
                  <a:schemeClr val="tx1"/>
                </a:solidFill>
              </a:endParaRPr>
            </a:p>
          </p:txBody>
        </p:sp>
        <p:sp>
          <p:nvSpPr>
            <p:cNvPr id="43" name="Rectangle 42"/>
            <p:cNvSpPr/>
            <p:nvPr userDrawn="1"/>
          </p:nvSpPr>
          <p:spPr>
            <a:xfrm>
              <a:off x="7977831" y="3962400"/>
              <a:ext cx="3554412" cy="2286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09">
                <a:solidFill>
                  <a:schemeClr val="tx1"/>
                </a:solidFill>
              </a:endParaRPr>
            </a:p>
          </p:txBody>
        </p:sp>
      </p:grpSp>
      <p:grpSp>
        <p:nvGrpSpPr>
          <p:cNvPr id="44" name="Group 43"/>
          <p:cNvGrpSpPr/>
          <p:nvPr userDrawn="1"/>
        </p:nvGrpSpPr>
        <p:grpSpPr>
          <a:xfrm>
            <a:off x="13807254" y="6487006"/>
            <a:ext cx="1747975" cy="1083979"/>
            <a:chOff x="402908" y="4604216"/>
            <a:chExt cx="920734" cy="569978"/>
          </a:xfrm>
        </p:grpSpPr>
        <p:pic>
          <p:nvPicPr>
            <p:cNvPr id="45" name="Picture 4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2908" y="4604216"/>
              <a:ext cx="920734" cy="569978"/>
            </a:xfrm>
            <a:prstGeom prst="rect">
              <a:avLst/>
            </a:prstGeom>
          </p:spPr>
        </p:pic>
        <p:sp>
          <p:nvSpPr>
            <p:cNvPr id="46" name="TextBox 45"/>
            <p:cNvSpPr txBox="1"/>
            <p:nvPr/>
          </p:nvSpPr>
          <p:spPr>
            <a:xfrm>
              <a:off x="588264" y="4685498"/>
              <a:ext cx="345517" cy="315410"/>
            </a:xfrm>
            <a:prstGeom prst="rect">
              <a:avLst/>
            </a:prstGeom>
            <a:noFill/>
          </p:spPr>
          <p:txBody>
            <a:bodyPr wrap="none" rtlCol="0">
              <a:spAutoFit/>
            </a:bodyPr>
            <a:lstStyle/>
            <a:p>
              <a:r>
                <a:rPr lang="en-US" sz="3298" b="1">
                  <a:solidFill>
                    <a:schemeClr val="accent1"/>
                  </a:solidFill>
                </a:rPr>
                <a:t>03</a:t>
              </a:r>
            </a:p>
          </p:txBody>
        </p:sp>
      </p:grpSp>
      <p:grpSp>
        <p:nvGrpSpPr>
          <p:cNvPr id="47" name="Group 46"/>
          <p:cNvGrpSpPr/>
          <p:nvPr userDrawn="1"/>
        </p:nvGrpSpPr>
        <p:grpSpPr>
          <a:xfrm>
            <a:off x="7241612" y="6487006"/>
            <a:ext cx="1747975" cy="1083979"/>
            <a:chOff x="402908" y="4604216"/>
            <a:chExt cx="920734" cy="569978"/>
          </a:xfrm>
        </p:grpSpPr>
        <p:pic>
          <p:nvPicPr>
            <p:cNvPr id="49" name="Picture 48"/>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2908" y="4604216"/>
              <a:ext cx="920734" cy="569978"/>
            </a:xfrm>
            <a:prstGeom prst="rect">
              <a:avLst/>
            </a:prstGeom>
          </p:spPr>
        </p:pic>
        <p:sp>
          <p:nvSpPr>
            <p:cNvPr id="53" name="TextBox 52"/>
            <p:cNvSpPr txBox="1"/>
            <p:nvPr/>
          </p:nvSpPr>
          <p:spPr>
            <a:xfrm>
              <a:off x="588264" y="4685498"/>
              <a:ext cx="345517" cy="315410"/>
            </a:xfrm>
            <a:prstGeom prst="rect">
              <a:avLst/>
            </a:prstGeom>
            <a:noFill/>
          </p:spPr>
          <p:txBody>
            <a:bodyPr wrap="none" rtlCol="0">
              <a:spAutoFit/>
            </a:bodyPr>
            <a:lstStyle/>
            <a:p>
              <a:r>
                <a:rPr lang="en-US" sz="3298" b="1">
                  <a:solidFill>
                    <a:schemeClr val="accent1"/>
                  </a:solidFill>
                </a:rPr>
                <a:t>02</a:t>
              </a:r>
            </a:p>
          </p:txBody>
        </p:sp>
      </p:grpSp>
      <p:grpSp>
        <p:nvGrpSpPr>
          <p:cNvPr id="54" name="Group 53"/>
          <p:cNvGrpSpPr/>
          <p:nvPr userDrawn="1"/>
        </p:nvGrpSpPr>
        <p:grpSpPr>
          <a:xfrm>
            <a:off x="1017930" y="6487006"/>
            <a:ext cx="1747975" cy="1083979"/>
            <a:chOff x="402908" y="4604216"/>
            <a:chExt cx="920734" cy="569978"/>
          </a:xfrm>
        </p:grpSpPr>
        <p:pic>
          <p:nvPicPr>
            <p:cNvPr id="55" name="Picture 5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02908" y="4604216"/>
              <a:ext cx="920734" cy="569978"/>
            </a:xfrm>
            <a:prstGeom prst="rect">
              <a:avLst/>
            </a:prstGeom>
          </p:spPr>
        </p:pic>
        <p:sp>
          <p:nvSpPr>
            <p:cNvPr id="56" name="TextBox 55"/>
            <p:cNvSpPr txBox="1"/>
            <p:nvPr/>
          </p:nvSpPr>
          <p:spPr>
            <a:xfrm>
              <a:off x="588264" y="4685498"/>
              <a:ext cx="345517" cy="315410"/>
            </a:xfrm>
            <a:prstGeom prst="rect">
              <a:avLst/>
            </a:prstGeom>
            <a:noFill/>
          </p:spPr>
          <p:txBody>
            <a:bodyPr wrap="none" rtlCol="0">
              <a:spAutoFit/>
            </a:bodyPr>
            <a:lstStyle/>
            <a:p>
              <a:r>
                <a:rPr lang="en-US" sz="3298" b="1">
                  <a:solidFill>
                    <a:schemeClr val="accent1"/>
                  </a:solidFill>
                </a:rPr>
                <a:t>01</a:t>
              </a:r>
            </a:p>
          </p:txBody>
        </p:sp>
      </p:grpSp>
      <p:pic>
        <p:nvPicPr>
          <p:cNvPr id="57" name="Picture 5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01078" y="3076692"/>
            <a:ext cx="5265221" cy="3268521"/>
          </a:xfrm>
          <a:prstGeom prst="rect">
            <a:avLst/>
          </a:prstGeom>
        </p:spPr>
      </p:pic>
      <p:pic>
        <p:nvPicPr>
          <p:cNvPr id="58" name="Picture 5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flipH="1">
            <a:off x="2283356" y="2247272"/>
            <a:ext cx="2793565" cy="3193743"/>
          </a:xfrm>
          <a:prstGeom prst="rect">
            <a:avLst/>
          </a:prstGeom>
        </p:spPr>
      </p:pic>
      <p:pic>
        <p:nvPicPr>
          <p:cNvPr id="59" name="Picture 5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467376" y="3076692"/>
            <a:ext cx="5265221" cy="3268521"/>
          </a:xfrm>
          <a:prstGeom prst="rect">
            <a:avLst/>
          </a:prstGeom>
        </p:spPr>
      </p:pic>
      <p:pic>
        <p:nvPicPr>
          <p:cNvPr id="60" name="Picture 59"/>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503186" y="2305107"/>
            <a:ext cx="3576028" cy="3317135"/>
          </a:xfrm>
          <a:prstGeom prst="rect">
            <a:avLst/>
          </a:prstGeom>
        </p:spPr>
      </p:pic>
      <p:pic>
        <p:nvPicPr>
          <p:cNvPr id="61" name="Picture 6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3733154" y="3076692"/>
            <a:ext cx="5265221" cy="3268521"/>
          </a:xfrm>
          <a:prstGeom prst="rect">
            <a:avLst/>
          </a:prstGeom>
        </p:spPr>
      </p:pic>
      <p:pic>
        <p:nvPicPr>
          <p:cNvPr id="62" name="Picture 61"/>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4801643" y="2608049"/>
            <a:ext cx="3292924" cy="2853899"/>
          </a:xfrm>
          <a:prstGeom prst="rect">
            <a:avLst/>
          </a:prstGeom>
        </p:spPr>
      </p:pic>
      <p:sp>
        <p:nvSpPr>
          <p:cNvPr id="35" name="Retângulo 43">
            <a:extLst>
              <a:ext uri="{FF2B5EF4-FFF2-40B4-BE49-F238E27FC236}">
                <a16:creationId xmlns:a16="http://schemas.microsoft.com/office/drawing/2014/main" id="{25FC8637-25BD-4C09-AF25-56B4243DAB3D}"/>
              </a:ext>
            </a:extLst>
          </p:cNvPr>
          <p:cNvSpPr/>
          <p:nvPr userDrawn="1"/>
        </p:nvSpPr>
        <p:spPr>
          <a:xfrm>
            <a:off x="19349792" y="10829142"/>
            <a:ext cx="481221" cy="295337"/>
          </a:xfrm>
          <a:prstGeom prst="rect">
            <a:avLst/>
          </a:prstGeom>
        </p:spPr>
        <p:txBody>
          <a:bodyPr wrap="none">
            <a:spAutoFit/>
          </a:bodyPr>
          <a:lstStyle/>
          <a:p>
            <a:pPr algn="r"/>
            <a:fld id="{0502E5A9-B53C-401E-A0E0-4A359BB0A9E5}" type="slidenum">
              <a:rPr lang="en-US" sz="1319" smtClean="0">
                <a:solidFill>
                  <a:prstClr val="black">
                    <a:lumMod val="50000"/>
                    <a:lumOff val="50000"/>
                  </a:prstClr>
                </a:solidFill>
                <a:cs typeface="Arial" panose="020B0604020202020204" pitchFamily="34" charset="0"/>
              </a:rPr>
              <a:t>‹#›</a:t>
            </a:fld>
            <a:endParaRPr lang="en-US" sz="1319">
              <a:solidFill>
                <a:prstClr val="black">
                  <a:lumMod val="50000"/>
                  <a:lumOff val="50000"/>
                </a:prstClr>
              </a:solidFill>
              <a:cs typeface="Arial" panose="020B0604020202020204" pitchFamily="34" charset="0"/>
            </a:endParaRPr>
          </a:p>
        </p:txBody>
      </p:sp>
      <p:sp>
        <p:nvSpPr>
          <p:cNvPr id="36"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904342" y="7722853"/>
            <a:ext cx="5562477" cy="2514664"/>
          </a:xfrm>
          <a:prstGeom prst="rect">
            <a:avLst/>
          </a:prstGeom>
        </p:spPr>
        <p:txBody>
          <a:bodyPr anchor="ctr">
            <a:noAutofit/>
          </a:bodyPr>
          <a:lstStyle>
            <a:lvl1pPr marL="0" marR="0" indent="0" algn="l" defTabSz="1507846" rtl="0" eaLnBrk="1" fontAlgn="auto" latinLnBrk="0" hangingPunct="1">
              <a:lnSpc>
                <a:spcPct val="100000"/>
              </a:lnSpc>
              <a:spcBef>
                <a:spcPts val="1649"/>
              </a:spcBef>
              <a:spcAft>
                <a:spcPts val="0"/>
              </a:spcAft>
              <a:buClrTx/>
              <a:buSzTx/>
              <a:buFont typeface="Arial" panose="020B0604020202020204" pitchFamily="34" charset="0"/>
              <a:buNone/>
              <a:tabLst/>
              <a:defRPr sz="1979">
                <a:solidFill>
                  <a:schemeClr val="bg1"/>
                </a:solidFill>
              </a:defRPr>
            </a:lvl1pPr>
            <a:lvl2pPr>
              <a:lnSpc>
                <a:spcPct val="100000"/>
              </a:lnSpc>
              <a:defRPr sz="2309"/>
            </a:lvl2pPr>
            <a:lvl3pPr>
              <a:lnSpc>
                <a:spcPct val="100000"/>
              </a:lnSpc>
              <a:defRPr sz="2309"/>
            </a:lvl3pPr>
            <a:lvl4pPr>
              <a:lnSpc>
                <a:spcPct val="100000"/>
              </a:lnSpc>
              <a:defRPr sz="2309"/>
            </a:lvl4pPr>
            <a:lvl5pPr>
              <a:lnSpc>
                <a:spcPct val="100000"/>
              </a:lnSpc>
              <a:defRPr sz="1979"/>
            </a:lvl5pPr>
          </a:lstStyle>
          <a:p>
            <a:pPr marL="0" marR="0" lvl="0" indent="0" algn="l" defTabSz="1507846" rtl="0" eaLnBrk="1" fontAlgn="auto" latinLnBrk="0" hangingPunct="1">
              <a:lnSpc>
                <a:spcPct val="100000"/>
              </a:lnSpc>
              <a:spcBef>
                <a:spcPts val="1649"/>
              </a:spcBef>
              <a:spcAft>
                <a:spcPts val="0"/>
              </a:spcAft>
              <a:buClrTx/>
              <a:buSzTx/>
              <a:buFont typeface="Arial" panose="020B0604020202020204" pitchFamily="34" charset="0"/>
              <a:buNone/>
              <a:tabLst/>
              <a:defRPr/>
            </a:pPr>
            <a:r>
              <a:rPr lang="en-US"/>
              <a:t>Click to insert text</a:t>
            </a:r>
          </a:p>
        </p:txBody>
      </p:sp>
      <p:sp>
        <p:nvSpPr>
          <p:cNvPr id="37" name="Text Placeholder 7">
            <a:extLst>
              <a:ext uri="{FF2B5EF4-FFF2-40B4-BE49-F238E27FC236}">
                <a16:creationId xmlns:a16="http://schemas.microsoft.com/office/drawing/2014/main" id="{4E956B68-B273-4648-AC4B-C9A05A745160}"/>
              </a:ext>
            </a:extLst>
          </p:cNvPr>
          <p:cNvSpPr>
            <a:spLocks noGrp="1"/>
          </p:cNvSpPr>
          <p:nvPr>
            <p:ph type="body" sz="quarter" idx="33" hasCustomPrompt="1"/>
          </p:nvPr>
        </p:nvSpPr>
        <p:spPr>
          <a:xfrm>
            <a:off x="7253887" y="7722853"/>
            <a:ext cx="5562477" cy="2514664"/>
          </a:xfrm>
          <a:prstGeom prst="rect">
            <a:avLst/>
          </a:prstGeom>
        </p:spPr>
        <p:txBody>
          <a:bodyPr anchor="ctr">
            <a:noAutofit/>
          </a:bodyPr>
          <a:lstStyle>
            <a:lvl1pPr marL="0" marR="0" indent="0" algn="l" defTabSz="1507846" rtl="0" eaLnBrk="1" fontAlgn="auto" latinLnBrk="0" hangingPunct="1">
              <a:lnSpc>
                <a:spcPct val="100000"/>
              </a:lnSpc>
              <a:spcBef>
                <a:spcPts val="1649"/>
              </a:spcBef>
              <a:spcAft>
                <a:spcPts val="0"/>
              </a:spcAft>
              <a:buClrTx/>
              <a:buSzTx/>
              <a:buFont typeface="Arial" panose="020B0604020202020204" pitchFamily="34" charset="0"/>
              <a:buNone/>
              <a:tabLst/>
              <a:defRPr sz="1979">
                <a:solidFill>
                  <a:schemeClr val="bg1"/>
                </a:solidFill>
              </a:defRPr>
            </a:lvl1pPr>
            <a:lvl2pPr>
              <a:lnSpc>
                <a:spcPct val="100000"/>
              </a:lnSpc>
              <a:defRPr sz="2309"/>
            </a:lvl2pPr>
            <a:lvl3pPr>
              <a:lnSpc>
                <a:spcPct val="100000"/>
              </a:lnSpc>
              <a:defRPr sz="2309"/>
            </a:lvl3pPr>
            <a:lvl4pPr>
              <a:lnSpc>
                <a:spcPct val="100000"/>
              </a:lnSpc>
              <a:defRPr sz="2309"/>
            </a:lvl4pPr>
            <a:lvl5pPr>
              <a:lnSpc>
                <a:spcPct val="100000"/>
              </a:lnSpc>
              <a:defRPr sz="1979"/>
            </a:lvl5pPr>
          </a:lstStyle>
          <a:p>
            <a:pPr marL="0" marR="0" lvl="0" indent="0" algn="l" defTabSz="1507846" rtl="0" eaLnBrk="1" fontAlgn="auto" latinLnBrk="0" hangingPunct="1">
              <a:lnSpc>
                <a:spcPct val="100000"/>
              </a:lnSpc>
              <a:spcBef>
                <a:spcPts val="1649"/>
              </a:spcBef>
              <a:spcAft>
                <a:spcPts val="0"/>
              </a:spcAft>
              <a:buClrTx/>
              <a:buSzTx/>
              <a:buFont typeface="Arial" panose="020B0604020202020204" pitchFamily="34" charset="0"/>
              <a:buNone/>
              <a:tabLst/>
              <a:defRPr/>
            </a:pPr>
            <a:r>
              <a:rPr lang="en-US"/>
              <a:t>Click to insert text</a:t>
            </a:r>
          </a:p>
        </p:txBody>
      </p:sp>
      <p:sp>
        <p:nvSpPr>
          <p:cNvPr id="38" name="Text Placeholder 7">
            <a:extLst>
              <a:ext uri="{FF2B5EF4-FFF2-40B4-BE49-F238E27FC236}">
                <a16:creationId xmlns:a16="http://schemas.microsoft.com/office/drawing/2014/main" id="{4E956B68-B273-4648-AC4B-C9A05A745160}"/>
              </a:ext>
            </a:extLst>
          </p:cNvPr>
          <p:cNvSpPr>
            <a:spLocks noGrp="1"/>
          </p:cNvSpPr>
          <p:nvPr>
            <p:ph type="body" sz="quarter" idx="34" hasCustomPrompt="1"/>
          </p:nvPr>
        </p:nvSpPr>
        <p:spPr>
          <a:xfrm>
            <a:off x="13620185" y="7722853"/>
            <a:ext cx="5562477" cy="2514664"/>
          </a:xfrm>
          <a:prstGeom prst="rect">
            <a:avLst/>
          </a:prstGeom>
        </p:spPr>
        <p:txBody>
          <a:bodyPr anchor="ctr">
            <a:noAutofit/>
          </a:bodyPr>
          <a:lstStyle>
            <a:lvl1pPr marL="0" marR="0" indent="0" algn="l" defTabSz="1507846" rtl="0" eaLnBrk="1" fontAlgn="auto" latinLnBrk="0" hangingPunct="1">
              <a:lnSpc>
                <a:spcPct val="100000"/>
              </a:lnSpc>
              <a:spcBef>
                <a:spcPts val="1649"/>
              </a:spcBef>
              <a:spcAft>
                <a:spcPts val="0"/>
              </a:spcAft>
              <a:buClrTx/>
              <a:buSzTx/>
              <a:buFont typeface="Arial" panose="020B0604020202020204" pitchFamily="34" charset="0"/>
              <a:buNone/>
              <a:tabLst/>
              <a:defRPr sz="1979">
                <a:solidFill>
                  <a:schemeClr val="bg1"/>
                </a:solidFill>
              </a:defRPr>
            </a:lvl1pPr>
            <a:lvl2pPr>
              <a:lnSpc>
                <a:spcPct val="100000"/>
              </a:lnSpc>
              <a:defRPr sz="2309"/>
            </a:lvl2pPr>
            <a:lvl3pPr>
              <a:lnSpc>
                <a:spcPct val="100000"/>
              </a:lnSpc>
              <a:defRPr sz="2309"/>
            </a:lvl3pPr>
            <a:lvl4pPr>
              <a:lnSpc>
                <a:spcPct val="100000"/>
              </a:lnSpc>
              <a:defRPr sz="2309"/>
            </a:lvl4pPr>
            <a:lvl5pPr>
              <a:lnSpc>
                <a:spcPct val="100000"/>
              </a:lnSpc>
              <a:defRPr sz="1979"/>
            </a:lvl5pPr>
          </a:lstStyle>
          <a:p>
            <a:pPr marL="0" marR="0" lvl="0" indent="0" algn="l" defTabSz="1507846" rtl="0" eaLnBrk="1" fontAlgn="auto" latinLnBrk="0" hangingPunct="1">
              <a:lnSpc>
                <a:spcPct val="100000"/>
              </a:lnSpc>
              <a:spcBef>
                <a:spcPts val="1649"/>
              </a:spcBef>
              <a:spcAft>
                <a:spcPts val="0"/>
              </a:spcAft>
              <a:buClrTx/>
              <a:buSzTx/>
              <a:buFont typeface="Arial" panose="020B0604020202020204" pitchFamily="34" charset="0"/>
              <a:buNone/>
              <a:tabLst/>
              <a:defRPr/>
            </a:pPr>
            <a:r>
              <a:rPr lang="en-US"/>
              <a:t>Click to insert text</a:t>
            </a:r>
          </a:p>
        </p:txBody>
      </p:sp>
      <p:cxnSp>
        <p:nvCxnSpPr>
          <p:cNvPr id="6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362232" y="10882253"/>
            <a:ext cx="0" cy="256989"/>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68" name="Rectangle 27">
            <a:hlinkClick r:id="rId7"/>
            <a:extLst>
              <a:ext uri="{FF2B5EF4-FFF2-40B4-BE49-F238E27FC236}">
                <a16:creationId xmlns:a16="http://schemas.microsoft.com/office/drawing/2014/main" id="{F376ABD1-4930-42EB-9A73-9A9C7C6BF2D3}"/>
              </a:ext>
            </a:extLst>
          </p:cNvPr>
          <p:cNvSpPr/>
          <p:nvPr userDrawn="1"/>
        </p:nvSpPr>
        <p:spPr>
          <a:xfrm>
            <a:off x="658187" y="10829493"/>
            <a:ext cx="4664915" cy="362509"/>
          </a:xfrm>
          <a:prstGeom prst="rect">
            <a:avLst/>
          </a:prstGeom>
        </p:spPr>
        <p:txBody>
          <a:bodyPr wrap="square" lIns="0" tIns="0" rIns="0" bIns="0" anchor="ctr" anchorCtr="0">
            <a:noAutofit/>
          </a:bodyPr>
          <a:lstStyle/>
          <a:p>
            <a:pPr lvl="0" algn="l" defTabSz="1507846">
              <a:lnSpc>
                <a:spcPct val="100000"/>
              </a:lnSpc>
              <a:defRPr/>
            </a:pPr>
            <a:r>
              <a:rPr lang="en-US" sz="1319" kern="0">
                <a:solidFill>
                  <a:schemeClr val="tx2"/>
                </a:solidFill>
                <a:latin typeface="+mj-lt"/>
                <a:cs typeface="Arial" panose="020B0604020202020204" pitchFamily="34" charset="0"/>
              </a:rPr>
              <a:t>Presentation Title</a:t>
            </a:r>
          </a:p>
        </p:txBody>
      </p:sp>
      <p:sp>
        <p:nvSpPr>
          <p:cNvPr id="69" name="Rectangle 27">
            <a:hlinkClick r:id="rId7"/>
            <a:extLst>
              <a:ext uri="{FF2B5EF4-FFF2-40B4-BE49-F238E27FC236}">
                <a16:creationId xmlns:a16="http://schemas.microsoft.com/office/drawing/2014/main" id="{F376ABD1-4930-42EB-9A73-9A9C7C6BF2D3}"/>
              </a:ext>
            </a:extLst>
          </p:cNvPr>
          <p:cNvSpPr/>
          <p:nvPr userDrawn="1"/>
        </p:nvSpPr>
        <p:spPr>
          <a:xfrm>
            <a:off x="2601711" y="10829494"/>
            <a:ext cx="1714607" cy="355530"/>
          </a:xfrm>
          <a:prstGeom prst="rect">
            <a:avLst/>
          </a:prstGeom>
        </p:spPr>
        <p:txBody>
          <a:bodyPr wrap="square" lIns="0" tIns="0" rIns="0" bIns="0" anchor="ctr" anchorCtr="0">
            <a:noAutofit/>
          </a:bodyPr>
          <a:lstStyle/>
          <a:p>
            <a:pPr lvl="0" algn="l" defTabSz="1507846">
              <a:lnSpc>
                <a:spcPct val="100000"/>
              </a:lnSpc>
              <a:defRPr/>
            </a:pPr>
            <a:r>
              <a:rPr lang="en-US" sz="1319" kern="0">
                <a:solidFill>
                  <a:schemeClr val="tx1"/>
                </a:solidFill>
                <a:latin typeface="+mj-lt"/>
                <a:cs typeface="Arial" panose="020B0604020202020204" pitchFamily="34" charset="0"/>
              </a:rPr>
              <a:t>Date</a:t>
            </a:r>
          </a:p>
        </p:txBody>
      </p:sp>
      <p:sp>
        <p:nvSpPr>
          <p:cNvPr id="70" name="Retângulo 43">
            <a:extLst>
              <a:ext uri="{FF2B5EF4-FFF2-40B4-BE49-F238E27FC236}">
                <a16:creationId xmlns:a16="http://schemas.microsoft.com/office/drawing/2014/main" id="{834ADCB4-BFB1-450D-8F6D-64217F4CD92C}"/>
              </a:ext>
            </a:extLst>
          </p:cNvPr>
          <p:cNvSpPr/>
          <p:nvPr userDrawn="1"/>
        </p:nvSpPr>
        <p:spPr>
          <a:xfrm>
            <a:off x="3453436" y="10829141"/>
            <a:ext cx="4274077" cy="362509"/>
          </a:xfrm>
          <a:prstGeom prst="rect">
            <a:avLst/>
          </a:prstGeom>
        </p:spPr>
        <p:txBody>
          <a:bodyPr wrap="none" lIns="0" tIns="0" rIns="0" bIns="0" anchor="ctr">
            <a:noAutofit/>
          </a:bodyPr>
          <a:lstStyle/>
          <a:p>
            <a:pPr>
              <a:lnSpc>
                <a:spcPct val="100000"/>
              </a:lnSpc>
            </a:pPr>
            <a:r>
              <a:rPr lang="en-US" sz="1319">
                <a:solidFill>
                  <a:schemeClr val="bg2">
                    <a:lumMod val="50000"/>
                  </a:schemeClr>
                </a:solidFill>
                <a:cs typeface="Arial" panose="020B0604020202020204" pitchFamily="34" charset="0"/>
              </a:rPr>
              <a:t>© 2018 </a:t>
            </a:r>
            <a:r>
              <a:rPr lang="en-US" sz="1319" err="1">
                <a:solidFill>
                  <a:schemeClr val="bg2">
                    <a:lumMod val="50000"/>
                  </a:schemeClr>
                </a:solidFill>
                <a:cs typeface="Arial" panose="020B0604020202020204" pitchFamily="34" charset="0"/>
              </a:rPr>
              <a:t>Sogeti</a:t>
            </a:r>
            <a:r>
              <a:rPr lang="en-US" sz="1319">
                <a:solidFill>
                  <a:schemeClr val="bg2">
                    <a:lumMod val="50000"/>
                  </a:schemeClr>
                </a:solidFill>
                <a:cs typeface="Arial" panose="020B0604020202020204" pitchFamily="34" charset="0"/>
              </a:rPr>
              <a:t>. All rights reserved.</a:t>
            </a:r>
          </a:p>
        </p:txBody>
      </p:sp>
      <p:cxnSp>
        <p:nvCxnSpPr>
          <p:cNvPr id="7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16656" y="10882253"/>
            <a:ext cx="0" cy="256989"/>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57630928"/>
      </p:ext>
    </p:extLst>
  </p:cSld>
  <p:clrMapOvr>
    <a:overrideClrMapping bg1="lt1" tx1="dk1" bg2="lt2" tx2="dk2" accent1="accent1" accent2="accent2" accent3="accent3" accent4="accent4" accent5="accent5" accent6="accent6" hlink="hlink" folHlink="folHlink"/>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2_Text with Shapes - Layout1">
    <p:bg>
      <p:bgRef idx="1001">
        <a:schemeClr val="bg1"/>
      </p:bgRef>
    </p:bg>
    <p:spTree>
      <p:nvGrpSpPr>
        <p:cNvPr id="1" name=""/>
        <p:cNvGrpSpPr/>
        <p:nvPr/>
      </p:nvGrpSpPr>
      <p:grpSpPr>
        <a:xfrm>
          <a:off x="0" y="0"/>
          <a:ext cx="0" cy="0"/>
          <a:chOff x="0" y="0"/>
          <a:chExt cx="0" cy="0"/>
        </a:xfrm>
      </p:grpSpPr>
      <p:sp>
        <p:nvSpPr>
          <p:cNvPr id="39" name="Freeform 10"/>
          <p:cNvSpPr>
            <a:spLocks/>
          </p:cNvSpPr>
          <p:nvPr userDrawn="1"/>
        </p:nvSpPr>
        <p:spPr bwMode="auto">
          <a:xfrm>
            <a:off x="0" y="0"/>
            <a:ext cx="6910784" cy="11231846"/>
          </a:xfrm>
          <a:custGeom>
            <a:avLst/>
            <a:gdLst>
              <a:gd name="T0" fmla="*/ 0 w 532"/>
              <a:gd name="T1" fmla="*/ 0 h 861"/>
              <a:gd name="T2" fmla="*/ 0 w 532"/>
              <a:gd name="T3" fmla="*/ 727 h 861"/>
              <a:gd name="T4" fmla="*/ 532 w 532"/>
              <a:gd name="T5" fmla="*/ 616 h 861"/>
              <a:gd name="T6" fmla="*/ 532 w 532"/>
              <a:gd name="T7" fmla="*/ 0 h 861"/>
              <a:gd name="T8" fmla="*/ 0 w 532"/>
              <a:gd name="T9" fmla="*/ 0 h 861"/>
            </a:gdLst>
            <a:ahLst/>
            <a:cxnLst>
              <a:cxn ang="0">
                <a:pos x="T0" y="T1"/>
              </a:cxn>
              <a:cxn ang="0">
                <a:pos x="T2" y="T3"/>
              </a:cxn>
              <a:cxn ang="0">
                <a:pos x="T4" y="T5"/>
              </a:cxn>
              <a:cxn ang="0">
                <a:pos x="T6" y="T7"/>
              </a:cxn>
              <a:cxn ang="0">
                <a:pos x="T8" y="T9"/>
              </a:cxn>
            </a:cxnLst>
            <a:rect l="0" t="0" r="r" b="b"/>
            <a:pathLst>
              <a:path w="532" h="861">
                <a:moveTo>
                  <a:pt x="0" y="0"/>
                </a:moveTo>
                <a:cubicBezTo>
                  <a:pt x="0" y="727"/>
                  <a:pt x="0" y="727"/>
                  <a:pt x="0" y="727"/>
                </a:cubicBezTo>
                <a:cubicBezTo>
                  <a:pt x="63" y="743"/>
                  <a:pt x="532" y="861"/>
                  <a:pt x="532" y="616"/>
                </a:cubicBezTo>
                <a:cubicBezTo>
                  <a:pt x="532" y="0"/>
                  <a:pt x="532" y="0"/>
                  <a:pt x="532" y="0"/>
                </a:cubicBez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0781" tIns="75390" rIns="150781" bIns="75390" numCol="1" anchor="t" anchorCtr="0" compatLnSpc="1">
            <a:prstTxWarp prst="textNoShape">
              <a:avLst/>
            </a:prstTxWarp>
          </a:bodyPr>
          <a:lstStyle/>
          <a:p>
            <a:endParaRPr lang="en-US"/>
          </a:p>
        </p:txBody>
      </p:sp>
      <p:pic>
        <p:nvPicPr>
          <p:cNvPr id="50" name="Picture 4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72121" y="2381660"/>
            <a:ext cx="4900374" cy="8277796"/>
          </a:xfrm>
          <a:prstGeom prst="rect">
            <a:avLst/>
          </a:prstGeom>
        </p:spPr>
      </p:pic>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672755" y="668691"/>
            <a:ext cx="16266110" cy="1426539"/>
          </a:xfrm>
          <a:prstGeom prst="rect">
            <a:avLst/>
          </a:prstGeom>
        </p:spPr>
        <p:txBody>
          <a:bodyPr vert="horz" lIns="0" tIns="0" rIns="0" bIns="0" rtlCol="0" anchor="t">
            <a:normAutofit/>
          </a:bodyPr>
          <a:lstStyle>
            <a:lvl1pPr>
              <a:defRPr lang="pt-PT" dirty="0">
                <a:solidFill>
                  <a:schemeClr val="bg1"/>
                </a:solidFill>
              </a:defRPr>
            </a:lvl1pPr>
          </a:lstStyle>
          <a:p>
            <a:pPr lvl="0">
              <a:lnSpc>
                <a:spcPts val="4947"/>
              </a:lnSpc>
            </a:pPr>
            <a:r>
              <a:rPr lang="en-US"/>
              <a:t>Click to add title</a:t>
            </a:r>
            <a:endParaRPr lang="pt-PT"/>
          </a:p>
        </p:txBody>
      </p:sp>
      <p:sp>
        <p:nvSpPr>
          <p:cNvPr id="10" name="Retângulo 43">
            <a:extLst>
              <a:ext uri="{FF2B5EF4-FFF2-40B4-BE49-F238E27FC236}">
                <a16:creationId xmlns:a16="http://schemas.microsoft.com/office/drawing/2014/main" id="{25FC8637-25BD-4C09-AF25-56B4243DAB3D}"/>
              </a:ext>
            </a:extLst>
          </p:cNvPr>
          <p:cNvSpPr/>
          <p:nvPr userDrawn="1"/>
        </p:nvSpPr>
        <p:spPr>
          <a:xfrm>
            <a:off x="19349792" y="10829142"/>
            <a:ext cx="481221" cy="295337"/>
          </a:xfrm>
          <a:prstGeom prst="rect">
            <a:avLst/>
          </a:prstGeom>
        </p:spPr>
        <p:txBody>
          <a:bodyPr wrap="none">
            <a:spAutoFit/>
          </a:bodyPr>
          <a:lstStyle/>
          <a:p>
            <a:pPr algn="r"/>
            <a:fld id="{0502E5A9-B53C-401E-A0E0-4A359BB0A9E5}" type="slidenum">
              <a:rPr lang="en-US" sz="1319" smtClean="0">
                <a:solidFill>
                  <a:prstClr val="black">
                    <a:lumMod val="50000"/>
                    <a:lumOff val="50000"/>
                  </a:prstClr>
                </a:solidFill>
                <a:cs typeface="Arial" panose="020B0604020202020204" pitchFamily="34" charset="0"/>
              </a:rPr>
              <a:t>‹#›</a:t>
            </a:fld>
            <a:endParaRPr lang="en-US" sz="1319">
              <a:solidFill>
                <a:prstClr val="black">
                  <a:lumMod val="50000"/>
                  <a:lumOff val="50000"/>
                </a:prstClr>
              </a:solidFill>
              <a:cs typeface="Arial" panose="020B0604020202020204" pitchFamily="34" charset="0"/>
            </a:endParaRPr>
          </a:p>
        </p:txBody>
      </p:sp>
      <p:sp>
        <p:nvSpPr>
          <p:cNvPr id="14"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674154" y="2283076"/>
            <a:ext cx="5562477" cy="498278"/>
          </a:xfrm>
          <a:prstGeom prst="rect">
            <a:avLst/>
          </a:prstGeom>
        </p:spPr>
        <p:txBody>
          <a:bodyPr anchor="t" anchorCtr="0">
            <a:spAutoFit/>
          </a:bodyPr>
          <a:lstStyle>
            <a:lvl1pPr marL="0" marR="0" indent="0" algn="l" defTabSz="1507846" rtl="0" eaLnBrk="1" fontAlgn="auto" latinLnBrk="0" hangingPunct="1">
              <a:lnSpc>
                <a:spcPct val="100000"/>
              </a:lnSpc>
              <a:spcBef>
                <a:spcPts val="1649"/>
              </a:spcBef>
              <a:spcAft>
                <a:spcPts val="0"/>
              </a:spcAft>
              <a:buClrTx/>
              <a:buSzTx/>
              <a:buFont typeface="Arial" panose="020B0604020202020204" pitchFamily="34" charset="0"/>
              <a:buNone/>
              <a:tabLst/>
              <a:defRPr sz="2638" b="1">
                <a:solidFill>
                  <a:schemeClr val="bg1"/>
                </a:solidFill>
              </a:defRPr>
            </a:lvl1pPr>
            <a:lvl2pPr>
              <a:lnSpc>
                <a:spcPct val="100000"/>
              </a:lnSpc>
              <a:defRPr sz="2309"/>
            </a:lvl2pPr>
            <a:lvl3pPr>
              <a:lnSpc>
                <a:spcPct val="100000"/>
              </a:lnSpc>
              <a:defRPr sz="2309"/>
            </a:lvl3pPr>
            <a:lvl4pPr>
              <a:lnSpc>
                <a:spcPct val="100000"/>
              </a:lnSpc>
              <a:defRPr sz="2309"/>
            </a:lvl4pPr>
            <a:lvl5pPr>
              <a:lnSpc>
                <a:spcPct val="100000"/>
              </a:lnSpc>
              <a:defRPr sz="1979"/>
            </a:lvl5pPr>
          </a:lstStyle>
          <a:p>
            <a:pPr marL="0" marR="0" lvl="0" indent="0" algn="l" defTabSz="1507846" rtl="0" eaLnBrk="1" fontAlgn="auto" latinLnBrk="0" hangingPunct="1">
              <a:lnSpc>
                <a:spcPct val="100000"/>
              </a:lnSpc>
              <a:spcBef>
                <a:spcPts val="1649"/>
              </a:spcBef>
              <a:spcAft>
                <a:spcPts val="0"/>
              </a:spcAft>
              <a:buClrTx/>
              <a:buSzTx/>
              <a:buFont typeface="Arial" panose="020B0604020202020204" pitchFamily="34" charset="0"/>
              <a:buNone/>
              <a:tabLst/>
              <a:defRPr/>
            </a:pPr>
            <a:r>
              <a:rPr lang="en-US"/>
              <a:t>Click to insert text</a:t>
            </a:r>
          </a:p>
        </p:txBody>
      </p:sp>
      <p:sp>
        <p:nvSpPr>
          <p:cNvPr id="15" name="Text Placeholder 7">
            <a:extLst>
              <a:ext uri="{FF2B5EF4-FFF2-40B4-BE49-F238E27FC236}">
                <a16:creationId xmlns:a16="http://schemas.microsoft.com/office/drawing/2014/main" id="{4E956B68-B273-4648-AC4B-C9A05A745160}"/>
              </a:ext>
            </a:extLst>
          </p:cNvPr>
          <p:cNvSpPr>
            <a:spLocks noGrp="1"/>
          </p:cNvSpPr>
          <p:nvPr>
            <p:ph type="body" sz="quarter" idx="33" hasCustomPrompt="1"/>
          </p:nvPr>
        </p:nvSpPr>
        <p:spPr>
          <a:xfrm>
            <a:off x="674154" y="3122216"/>
            <a:ext cx="3429373" cy="447687"/>
          </a:xfrm>
          <a:prstGeom prst="rect">
            <a:avLst/>
          </a:prstGeom>
        </p:spPr>
        <p:txBody>
          <a:bodyPr wrap="square" anchor="t" anchorCtr="0">
            <a:spAutoFit/>
          </a:bodyPr>
          <a:lstStyle>
            <a:lvl1pPr marL="0" marR="0" indent="0" algn="l" defTabSz="1507846" rtl="0" eaLnBrk="1" fontAlgn="auto" latinLnBrk="0" hangingPunct="1">
              <a:lnSpc>
                <a:spcPct val="100000"/>
              </a:lnSpc>
              <a:spcBef>
                <a:spcPts val="1649"/>
              </a:spcBef>
              <a:spcAft>
                <a:spcPts val="0"/>
              </a:spcAft>
              <a:buClrTx/>
              <a:buSzTx/>
              <a:buFont typeface="Arial" panose="020B0604020202020204" pitchFamily="34" charset="0"/>
              <a:buNone/>
              <a:tabLst/>
              <a:defRPr sz="2309" b="0">
                <a:solidFill>
                  <a:schemeClr val="bg1"/>
                </a:solidFill>
              </a:defRPr>
            </a:lvl1pPr>
            <a:lvl2pPr>
              <a:lnSpc>
                <a:spcPct val="100000"/>
              </a:lnSpc>
              <a:defRPr sz="2309"/>
            </a:lvl2pPr>
            <a:lvl3pPr>
              <a:lnSpc>
                <a:spcPct val="100000"/>
              </a:lnSpc>
              <a:defRPr sz="2309"/>
            </a:lvl3pPr>
            <a:lvl4pPr>
              <a:lnSpc>
                <a:spcPct val="100000"/>
              </a:lnSpc>
              <a:defRPr sz="2309"/>
            </a:lvl4pPr>
            <a:lvl5pPr>
              <a:lnSpc>
                <a:spcPct val="100000"/>
              </a:lnSpc>
              <a:defRPr sz="1979"/>
            </a:lvl5pPr>
          </a:lstStyle>
          <a:p>
            <a:pPr marL="0" marR="0" lvl="0" indent="0" algn="l" defTabSz="1507846" rtl="0" eaLnBrk="1" fontAlgn="auto" latinLnBrk="0" hangingPunct="1">
              <a:lnSpc>
                <a:spcPct val="100000"/>
              </a:lnSpc>
              <a:spcBef>
                <a:spcPts val="1649"/>
              </a:spcBef>
              <a:spcAft>
                <a:spcPts val="0"/>
              </a:spcAft>
              <a:buClrTx/>
              <a:buSzTx/>
              <a:buFont typeface="Arial" panose="020B0604020202020204" pitchFamily="34" charset="0"/>
              <a:buNone/>
              <a:tabLst/>
              <a:defRPr/>
            </a:pPr>
            <a:r>
              <a:rPr lang="en-US"/>
              <a:t>Click to insert text</a:t>
            </a:r>
          </a:p>
        </p:txBody>
      </p:sp>
      <p:sp>
        <p:nvSpPr>
          <p:cNvPr id="16" name="Text Placeholder 7">
            <a:extLst>
              <a:ext uri="{FF2B5EF4-FFF2-40B4-BE49-F238E27FC236}">
                <a16:creationId xmlns:a16="http://schemas.microsoft.com/office/drawing/2014/main" id="{4E956B68-B273-4648-AC4B-C9A05A745160}"/>
              </a:ext>
            </a:extLst>
          </p:cNvPr>
          <p:cNvSpPr>
            <a:spLocks noGrp="1"/>
          </p:cNvSpPr>
          <p:nvPr>
            <p:ph type="body" sz="quarter" idx="34" hasCustomPrompt="1"/>
          </p:nvPr>
        </p:nvSpPr>
        <p:spPr>
          <a:xfrm>
            <a:off x="10290264" y="2333858"/>
            <a:ext cx="9141081" cy="8325598"/>
          </a:xfrm>
          <a:prstGeom prst="rect">
            <a:avLst/>
          </a:prstGeom>
        </p:spPr>
        <p:txBody>
          <a:bodyPr wrap="square" anchor="t" anchorCtr="0">
            <a:noAutofit/>
          </a:bodyPr>
          <a:lstStyle>
            <a:lvl1pPr marL="0" marR="0" indent="0" algn="l" defTabSz="1507846" rtl="0" eaLnBrk="1" fontAlgn="auto" latinLnBrk="0" hangingPunct="1">
              <a:lnSpc>
                <a:spcPct val="100000"/>
              </a:lnSpc>
              <a:spcBef>
                <a:spcPts val="1649"/>
              </a:spcBef>
              <a:spcAft>
                <a:spcPts val="0"/>
              </a:spcAft>
              <a:buClrTx/>
              <a:buSzTx/>
              <a:buFont typeface="Arial" panose="020B0604020202020204" pitchFamily="34" charset="0"/>
              <a:buNone/>
              <a:tabLst/>
              <a:defRPr sz="2309" b="0">
                <a:solidFill>
                  <a:schemeClr val="tx1"/>
                </a:solidFill>
              </a:defRPr>
            </a:lvl1pPr>
            <a:lvl2pPr>
              <a:lnSpc>
                <a:spcPct val="100000"/>
              </a:lnSpc>
              <a:defRPr sz="2309"/>
            </a:lvl2pPr>
            <a:lvl3pPr>
              <a:lnSpc>
                <a:spcPct val="100000"/>
              </a:lnSpc>
              <a:defRPr sz="2309"/>
            </a:lvl3pPr>
            <a:lvl4pPr>
              <a:lnSpc>
                <a:spcPct val="100000"/>
              </a:lnSpc>
              <a:defRPr sz="2309"/>
            </a:lvl4pPr>
            <a:lvl5pPr>
              <a:lnSpc>
                <a:spcPct val="100000"/>
              </a:lnSpc>
              <a:defRPr sz="1979"/>
            </a:lvl5pPr>
          </a:lstStyle>
          <a:p>
            <a:pPr marL="0" marR="0" lvl="0" indent="0" algn="l" defTabSz="1507846" rtl="0" eaLnBrk="1" fontAlgn="auto" latinLnBrk="0" hangingPunct="1">
              <a:lnSpc>
                <a:spcPct val="100000"/>
              </a:lnSpc>
              <a:spcBef>
                <a:spcPts val="1649"/>
              </a:spcBef>
              <a:spcAft>
                <a:spcPts val="0"/>
              </a:spcAft>
              <a:buClrTx/>
              <a:buSzTx/>
              <a:buFont typeface="Arial" panose="020B0604020202020204" pitchFamily="34" charset="0"/>
              <a:buNone/>
              <a:tabLst/>
              <a:defRPr/>
            </a:pPr>
            <a:r>
              <a:rPr lang="en-US"/>
              <a:t>Click to insert text</a:t>
            </a:r>
          </a:p>
        </p:txBody>
      </p:sp>
      <p:cxnSp>
        <p:nvCxnSpPr>
          <p:cNvPr id="22"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362232" y="10882253"/>
            <a:ext cx="0" cy="256989"/>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23" name="Rectangle 27">
            <a:hlinkClick r:id="rId3"/>
            <a:extLst>
              <a:ext uri="{FF2B5EF4-FFF2-40B4-BE49-F238E27FC236}">
                <a16:creationId xmlns:a16="http://schemas.microsoft.com/office/drawing/2014/main" id="{F376ABD1-4930-42EB-9A73-9A9C7C6BF2D3}"/>
              </a:ext>
            </a:extLst>
          </p:cNvPr>
          <p:cNvSpPr/>
          <p:nvPr userDrawn="1"/>
        </p:nvSpPr>
        <p:spPr>
          <a:xfrm>
            <a:off x="658187" y="10829493"/>
            <a:ext cx="4664915" cy="362509"/>
          </a:xfrm>
          <a:prstGeom prst="rect">
            <a:avLst/>
          </a:prstGeom>
        </p:spPr>
        <p:txBody>
          <a:bodyPr wrap="square" lIns="0" tIns="0" rIns="0" bIns="0" anchor="ctr" anchorCtr="0">
            <a:noAutofit/>
          </a:bodyPr>
          <a:lstStyle/>
          <a:p>
            <a:pPr lvl="0" algn="l" defTabSz="1507846">
              <a:lnSpc>
                <a:spcPct val="100000"/>
              </a:lnSpc>
              <a:defRPr/>
            </a:pPr>
            <a:r>
              <a:rPr lang="en-US" sz="1319" kern="0">
                <a:solidFill>
                  <a:schemeClr val="tx2"/>
                </a:solidFill>
                <a:latin typeface="+mj-lt"/>
                <a:cs typeface="Arial" panose="020B0604020202020204" pitchFamily="34" charset="0"/>
              </a:rPr>
              <a:t>Presentation Title</a:t>
            </a:r>
          </a:p>
        </p:txBody>
      </p:sp>
      <p:sp>
        <p:nvSpPr>
          <p:cNvPr id="24" name="Rectangle 27">
            <a:hlinkClick r:id="rId3"/>
            <a:extLst>
              <a:ext uri="{FF2B5EF4-FFF2-40B4-BE49-F238E27FC236}">
                <a16:creationId xmlns:a16="http://schemas.microsoft.com/office/drawing/2014/main" id="{F376ABD1-4930-42EB-9A73-9A9C7C6BF2D3}"/>
              </a:ext>
            </a:extLst>
          </p:cNvPr>
          <p:cNvSpPr/>
          <p:nvPr userDrawn="1"/>
        </p:nvSpPr>
        <p:spPr>
          <a:xfrm>
            <a:off x="2601711" y="10829494"/>
            <a:ext cx="1714607" cy="355530"/>
          </a:xfrm>
          <a:prstGeom prst="rect">
            <a:avLst/>
          </a:prstGeom>
        </p:spPr>
        <p:txBody>
          <a:bodyPr wrap="square" lIns="0" tIns="0" rIns="0" bIns="0" anchor="ctr" anchorCtr="0">
            <a:noAutofit/>
          </a:bodyPr>
          <a:lstStyle/>
          <a:p>
            <a:pPr lvl="0" algn="l" defTabSz="1507846">
              <a:lnSpc>
                <a:spcPct val="100000"/>
              </a:lnSpc>
              <a:defRPr/>
            </a:pPr>
            <a:r>
              <a:rPr lang="en-US" sz="1319" kern="0">
                <a:solidFill>
                  <a:schemeClr val="tx1"/>
                </a:solidFill>
                <a:latin typeface="+mj-lt"/>
                <a:cs typeface="Arial" panose="020B0604020202020204" pitchFamily="34" charset="0"/>
              </a:rPr>
              <a:t>Date</a:t>
            </a:r>
          </a:p>
        </p:txBody>
      </p:sp>
      <p:sp>
        <p:nvSpPr>
          <p:cNvPr id="25" name="Retângulo 43">
            <a:extLst>
              <a:ext uri="{FF2B5EF4-FFF2-40B4-BE49-F238E27FC236}">
                <a16:creationId xmlns:a16="http://schemas.microsoft.com/office/drawing/2014/main" id="{834ADCB4-BFB1-450D-8F6D-64217F4CD92C}"/>
              </a:ext>
            </a:extLst>
          </p:cNvPr>
          <p:cNvSpPr/>
          <p:nvPr userDrawn="1"/>
        </p:nvSpPr>
        <p:spPr>
          <a:xfrm>
            <a:off x="3453436" y="10829141"/>
            <a:ext cx="4274077" cy="362509"/>
          </a:xfrm>
          <a:prstGeom prst="rect">
            <a:avLst/>
          </a:prstGeom>
        </p:spPr>
        <p:txBody>
          <a:bodyPr wrap="none" lIns="0" tIns="0" rIns="0" bIns="0" anchor="ctr">
            <a:noAutofit/>
          </a:bodyPr>
          <a:lstStyle/>
          <a:p>
            <a:pPr>
              <a:lnSpc>
                <a:spcPct val="100000"/>
              </a:lnSpc>
            </a:pPr>
            <a:r>
              <a:rPr lang="en-US" sz="1319">
                <a:solidFill>
                  <a:schemeClr val="bg2">
                    <a:lumMod val="50000"/>
                  </a:schemeClr>
                </a:solidFill>
                <a:cs typeface="Arial" panose="020B0604020202020204" pitchFamily="34" charset="0"/>
              </a:rPr>
              <a:t>© 2018 </a:t>
            </a:r>
            <a:r>
              <a:rPr lang="en-US" sz="1319" err="1">
                <a:solidFill>
                  <a:schemeClr val="bg2">
                    <a:lumMod val="50000"/>
                  </a:schemeClr>
                </a:solidFill>
                <a:cs typeface="Arial" panose="020B0604020202020204" pitchFamily="34" charset="0"/>
              </a:rPr>
              <a:t>Sogeti</a:t>
            </a:r>
            <a:r>
              <a:rPr lang="en-US" sz="1319">
                <a:solidFill>
                  <a:schemeClr val="bg2">
                    <a:lumMod val="50000"/>
                  </a:schemeClr>
                </a:solidFill>
                <a:cs typeface="Arial" panose="020B0604020202020204" pitchFamily="34" charset="0"/>
              </a:rPr>
              <a:t>. All rights reserved.</a:t>
            </a:r>
          </a:p>
        </p:txBody>
      </p:sp>
      <p:cxnSp>
        <p:nvCxnSpPr>
          <p:cNvPr id="26"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16656" y="10882253"/>
            <a:ext cx="0" cy="256989"/>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03422493"/>
      </p:ext>
    </p:extLst>
  </p:cSld>
  <p:clrMapOvr>
    <a:overrideClrMapping bg1="lt1" tx1="dk1" bg2="lt2" tx2="dk2" accent1="accent1" accent2="accent2" accent3="accent3" accent4="accent4" accent5="accent5" accent6="accent6" hlink="hlink" folHlink="folHlink"/>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3_Text with Shapes - Layout1">
    <p:bg>
      <p:bgRef idx="1001">
        <a:schemeClr val="bg1"/>
      </p:bgRef>
    </p:bg>
    <p:spTree>
      <p:nvGrpSpPr>
        <p:cNvPr id="1" name=""/>
        <p:cNvGrpSpPr/>
        <p:nvPr/>
      </p:nvGrpSpPr>
      <p:grpSpPr>
        <a:xfrm>
          <a:off x="0" y="0"/>
          <a:ext cx="0" cy="0"/>
          <a:chOff x="0" y="0"/>
          <a:chExt cx="0" cy="0"/>
        </a:xfrm>
      </p:grpSpPr>
      <p:sp>
        <p:nvSpPr>
          <p:cNvPr id="8" name="Rectangle 7"/>
          <p:cNvSpPr/>
          <p:nvPr userDrawn="1"/>
        </p:nvSpPr>
        <p:spPr>
          <a:xfrm>
            <a:off x="0" y="6419427"/>
            <a:ext cx="15367071" cy="425548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09">
              <a:solidFill>
                <a:schemeClr val="tx1"/>
              </a:solidFill>
            </a:endParaRPr>
          </a:p>
        </p:txBody>
      </p:sp>
      <p:sp>
        <p:nvSpPr>
          <p:cNvPr id="25" name="Freeform 24"/>
          <p:cNvSpPr/>
          <p:nvPr userDrawn="1"/>
        </p:nvSpPr>
        <p:spPr>
          <a:xfrm>
            <a:off x="8442690" y="2775967"/>
            <a:ext cx="11661410" cy="8552433"/>
          </a:xfrm>
          <a:custGeom>
            <a:avLst/>
            <a:gdLst>
              <a:gd name="connsiteX0" fmla="*/ 7071986 w 7071986"/>
              <a:gd name="connsiteY0" fmla="*/ 0 h 5177482"/>
              <a:gd name="connsiteX1" fmla="*/ 7071986 w 7071986"/>
              <a:gd name="connsiteY1" fmla="*/ 5177482 h 5177482"/>
              <a:gd name="connsiteX2" fmla="*/ 418101 w 7071986"/>
              <a:gd name="connsiteY2" fmla="*/ 5177482 h 5177482"/>
              <a:gd name="connsiteX3" fmla="*/ 364654 w 7071986"/>
              <a:gd name="connsiteY3" fmla="*/ 4968325 h 5177482"/>
              <a:gd name="connsiteX4" fmla="*/ 0 w 7071986"/>
              <a:gd name="connsiteY4" fmla="*/ 3541321 h 5177482"/>
              <a:gd name="connsiteX5" fmla="*/ 3728314 w 7071986"/>
              <a:gd name="connsiteY5" fmla="*/ 1575222 h 5177482"/>
              <a:gd name="connsiteX6" fmla="*/ 7065199 w 7071986"/>
              <a:gd name="connsiteY6" fmla="*/ 3119 h 5177482"/>
              <a:gd name="connsiteX7" fmla="*/ 7071986 w 7071986"/>
              <a:gd name="connsiteY7" fmla="*/ 0 h 5177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71986" h="5177482">
                <a:moveTo>
                  <a:pt x="7071986" y="0"/>
                </a:moveTo>
                <a:lnTo>
                  <a:pt x="7071986" y="5177482"/>
                </a:lnTo>
                <a:lnTo>
                  <a:pt x="418101" y="5177482"/>
                </a:lnTo>
                <a:lnTo>
                  <a:pt x="364654" y="4968325"/>
                </a:lnTo>
                <a:cubicBezTo>
                  <a:pt x="0" y="3541321"/>
                  <a:pt x="0" y="3541321"/>
                  <a:pt x="0" y="3541321"/>
                </a:cubicBezTo>
                <a:cubicBezTo>
                  <a:pt x="1109586" y="2904634"/>
                  <a:pt x="2352357" y="2249268"/>
                  <a:pt x="3728314" y="1575222"/>
                </a:cubicBezTo>
                <a:cubicBezTo>
                  <a:pt x="4522805" y="1180753"/>
                  <a:pt x="6066379" y="462615"/>
                  <a:pt x="7065199" y="3119"/>
                </a:cubicBezTo>
                <a:lnTo>
                  <a:pt x="7071986"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09">
              <a:solidFill>
                <a:schemeClr val="tx1"/>
              </a:solidFill>
            </a:endParaRP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672755" y="668691"/>
            <a:ext cx="16266110" cy="1426539"/>
          </a:xfrm>
          <a:prstGeom prst="rect">
            <a:avLst/>
          </a:prstGeom>
        </p:spPr>
        <p:txBody>
          <a:bodyPr vert="horz" lIns="0" tIns="0" rIns="0" bIns="0" rtlCol="0" anchor="t">
            <a:normAutofit/>
          </a:bodyPr>
          <a:lstStyle>
            <a:lvl1pPr>
              <a:defRPr lang="pt-PT" dirty="0"/>
            </a:lvl1pPr>
          </a:lstStyle>
          <a:p>
            <a:pPr lvl="0">
              <a:lnSpc>
                <a:spcPts val="4947"/>
              </a:lnSpc>
            </a:pPr>
            <a:r>
              <a:rPr lang="en-US"/>
              <a:t>Click to add title</a:t>
            </a:r>
            <a:endParaRPr lang="pt-PT"/>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9349792" y="10829142"/>
            <a:ext cx="481221" cy="295337"/>
          </a:xfrm>
          <a:prstGeom prst="rect">
            <a:avLst/>
          </a:prstGeom>
        </p:spPr>
        <p:txBody>
          <a:bodyPr wrap="none">
            <a:spAutoFit/>
          </a:bodyPr>
          <a:lstStyle/>
          <a:p>
            <a:pPr algn="r"/>
            <a:fld id="{0502E5A9-B53C-401E-A0E0-4A359BB0A9E5}" type="slidenum">
              <a:rPr lang="en-US" sz="1319" smtClean="0">
                <a:solidFill>
                  <a:schemeClr val="bg1"/>
                </a:solidFill>
                <a:cs typeface="Arial" panose="020B0604020202020204" pitchFamily="34" charset="0"/>
              </a:rPr>
              <a:t>‹#›</a:t>
            </a:fld>
            <a:endParaRPr lang="en-US" sz="1319">
              <a:solidFill>
                <a:schemeClr val="bg1"/>
              </a:solidFill>
              <a:cs typeface="Arial" panose="020B0604020202020204" pitchFamily="34" charset="0"/>
            </a:endParaRPr>
          </a:p>
        </p:txBody>
      </p:sp>
      <p:sp>
        <p:nvSpPr>
          <p:cNvPr id="19"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672755" y="2335703"/>
            <a:ext cx="18758591" cy="3670803"/>
          </a:xfrm>
          <a:prstGeom prst="rect">
            <a:avLst/>
          </a:prstGeom>
        </p:spPr>
        <p:txBody>
          <a:bodyPr>
            <a:noAutofit/>
          </a:bodyPr>
          <a:lstStyle>
            <a:lvl1pPr marL="371726" indent="-371726">
              <a:lnSpc>
                <a:spcPts val="3628"/>
              </a:lnSpc>
              <a:buClr>
                <a:schemeClr val="tx2"/>
              </a:buClr>
              <a:buFont typeface="Wingdings" panose="05000000000000000000" pitchFamily="2" charset="2"/>
              <a:buChar char="§"/>
              <a:defRPr sz="2968">
                <a:solidFill>
                  <a:schemeClr val="tx1"/>
                </a:solidFill>
              </a:defRPr>
            </a:lvl1pPr>
            <a:lvl2pPr>
              <a:lnSpc>
                <a:spcPct val="100000"/>
              </a:lnSpc>
              <a:defRPr sz="2309"/>
            </a:lvl2pPr>
            <a:lvl3pPr>
              <a:lnSpc>
                <a:spcPct val="100000"/>
              </a:lnSpc>
              <a:defRPr sz="2309"/>
            </a:lvl3pPr>
            <a:lvl4pPr>
              <a:lnSpc>
                <a:spcPct val="100000"/>
              </a:lnSpc>
              <a:defRPr sz="2309"/>
            </a:lvl4pPr>
            <a:lvl5pPr>
              <a:lnSpc>
                <a:spcPct val="100000"/>
              </a:lnSpc>
              <a:defRPr sz="2309"/>
            </a:lvl5pPr>
          </a:lstStyle>
          <a:p>
            <a:pPr marL="225425" indent="-225425">
              <a:buClr>
                <a:schemeClr val="tx2"/>
              </a:buClr>
              <a:buFont typeface="Wingdings" panose="05000000000000000000" pitchFamily="2" charset="2"/>
              <a:buChar char="§"/>
            </a:pPr>
            <a:r>
              <a:rPr lang="en-US"/>
              <a:t>Click to insert text</a:t>
            </a:r>
          </a:p>
          <a:p>
            <a:pPr marL="761777" lvl="1" indent="-390051">
              <a:buClr>
                <a:schemeClr val="accent4"/>
              </a:buClr>
              <a:buFont typeface="Arial" panose="020B0604020202020204" pitchFamily="34" charset="0"/>
              <a:buChar char="•"/>
            </a:pPr>
            <a:r>
              <a:rPr lang="en-US" sz="2638"/>
              <a:t>Click to insert text</a:t>
            </a:r>
            <a:endParaRPr lang="pt-PT" sz="2638"/>
          </a:p>
          <a:p>
            <a:pPr marL="1136120" lvl="2" indent="-397904">
              <a:buClr>
                <a:schemeClr val="accent2"/>
              </a:buClr>
              <a:buFont typeface="Verdana" panose="020B0604030504040204" pitchFamily="34" charset="0"/>
              <a:buChar char="–"/>
            </a:pPr>
            <a:r>
              <a:rPr lang="en-US"/>
              <a:t>Click to insert text</a:t>
            </a:r>
            <a:endParaRPr lang="pt-PT"/>
          </a:p>
          <a:p>
            <a:pPr marL="1507846" lvl="3" indent="-371726">
              <a:buClr>
                <a:schemeClr val="accent3"/>
              </a:buClr>
              <a:buFont typeface="Wingdings" panose="05000000000000000000" pitchFamily="2" charset="2"/>
              <a:buChar char="§"/>
            </a:pPr>
            <a:r>
              <a:rPr lang="en-US"/>
              <a:t>Click to insert text</a:t>
            </a:r>
            <a:endParaRPr lang="pt-PT"/>
          </a:p>
        </p:txBody>
      </p:sp>
      <p:sp>
        <p:nvSpPr>
          <p:cNvPr id="20" name="Text Placeholder 7">
            <a:extLst>
              <a:ext uri="{FF2B5EF4-FFF2-40B4-BE49-F238E27FC236}">
                <a16:creationId xmlns:a16="http://schemas.microsoft.com/office/drawing/2014/main" id="{4E956B68-B273-4648-AC4B-C9A05A745160}"/>
              </a:ext>
            </a:extLst>
          </p:cNvPr>
          <p:cNvSpPr>
            <a:spLocks noGrp="1"/>
          </p:cNvSpPr>
          <p:nvPr>
            <p:ph type="body" sz="quarter" idx="32" hasCustomPrompt="1"/>
          </p:nvPr>
        </p:nvSpPr>
        <p:spPr>
          <a:xfrm>
            <a:off x="672755" y="6745505"/>
            <a:ext cx="7570470" cy="3585196"/>
          </a:xfrm>
          <a:prstGeom prst="rect">
            <a:avLst/>
          </a:prstGeom>
        </p:spPr>
        <p:txBody>
          <a:bodyPr anchor="t" anchorCtr="0">
            <a:noAutofit/>
          </a:bodyPr>
          <a:lstStyle>
            <a:lvl1pPr marL="0" marR="0" indent="0" algn="r" defTabSz="1507846" rtl="0" eaLnBrk="1" fontAlgn="auto" latinLnBrk="0" hangingPunct="1">
              <a:lnSpc>
                <a:spcPct val="100000"/>
              </a:lnSpc>
              <a:spcBef>
                <a:spcPts val="1649"/>
              </a:spcBef>
              <a:spcAft>
                <a:spcPts val="0"/>
              </a:spcAft>
              <a:buClrTx/>
              <a:buSzTx/>
              <a:buFont typeface="Arial" panose="020B0604020202020204" pitchFamily="34" charset="0"/>
              <a:buNone/>
              <a:tabLst/>
              <a:defRPr sz="2309">
                <a:solidFill>
                  <a:schemeClr val="tx2"/>
                </a:solidFill>
              </a:defRPr>
            </a:lvl1pPr>
            <a:lvl2pPr>
              <a:lnSpc>
                <a:spcPct val="100000"/>
              </a:lnSpc>
              <a:defRPr sz="2309"/>
            </a:lvl2pPr>
            <a:lvl3pPr>
              <a:lnSpc>
                <a:spcPct val="100000"/>
              </a:lnSpc>
              <a:defRPr sz="2309"/>
            </a:lvl3pPr>
            <a:lvl4pPr>
              <a:lnSpc>
                <a:spcPct val="100000"/>
              </a:lnSpc>
              <a:defRPr sz="2309"/>
            </a:lvl4pPr>
            <a:lvl5pPr>
              <a:lnSpc>
                <a:spcPct val="100000"/>
              </a:lnSpc>
              <a:defRPr sz="1979"/>
            </a:lvl5pPr>
          </a:lstStyle>
          <a:p>
            <a:pPr marL="0" marR="0" lvl="0" indent="0" algn="l" defTabSz="1507846" rtl="0" eaLnBrk="1" fontAlgn="auto" latinLnBrk="0" hangingPunct="1">
              <a:lnSpc>
                <a:spcPct val="100000"/>
              </a:lnSpc>
              <a:spcBef>
                <a:spcPts val="1649"/>
              </a:spcBef>
              <a:spcAft>
                <a:spcPts val="0"/>
              </a:spcAft>
              <a:buClrTx/>
              <a:buSzTx/>
              <a:buFont typeface="Arial" panose="020B0604020202020204" pitchFamily="34" charset="0"/>
              <a:buNone/>
              <a:tabLst/>
              <a:defRPr/>
            </a:pPr>
            <a:r>
              <a:rPr lang="en-US"/>
              <a:t>Click to insert text</a:t>
            </a:r>
          </a:p>
        </p:txBody>
      </p:sp>
    </p:spTree>
    <p:extLst>
      <p:ext uri="{BB962C8B-B14F-4D97-AF65-F5344CB8AC3E}">
        <p14:creationId xmlns:p14="http://schemas.microsoft.com/office/powerpoint/2010/main" val="573896927"/>
      </p:ext>
    </p:extLst>
  </p:cSld>
  <p:clrMapOvr>
    <a:overrideClrMapping bg1="lt1" tx1="dk1" bg2="lt2" tx2="dk2" accent1="accent1" accent2="accent2" accent3="accent3" accent4="accent4" accent5="accent5" accent6="accent6" hlink="hlink" folHlink="folHlink"/>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4_Text with Shapes - Layout1">
    <p:bg>
      <p:bgRef idx="1001">
        <a:schemeClr val="bg1"/>
      </p:bgRef>
    </p:bg>
    <p:spTree>
      <p:nvGrpSpPr>
        <p:cNvPr id="1" name=""/>
        <p:cNvGrpSpPr/>
        <p:nvPr/>
      </p:nvGrpSpPr>
      <p:grpSpPr>
        <a:xfrm>
          <a:off x="0" y="0"/>
          <a:ext cx="0" cy="0"/>
          <a:chOff x="0" y="0"/>
          <a:chExt cx="0" cy="0"/>
        </a:xfrm>
      </p:grpSpPr>
      <p:sp>
        <p:nvSpPr>
          <p:cNvPr id="21" name="Freeform 20"/>
          <p:cNvSpPr/>
          <p:nvPr userDrawn="1"/>
        </p:nvSpPr>
        <p:spPr>
          <a:xfrm>
            <a:off x="-32049" y="0"/>
            <a:ext cx="13969733" cy="11328400"/>
          </a:xfrm>
          <a:custGeom>
            <a:avLst/>
            <a:gdLst>
              <a:gd name="connsiteX0" fmla="*/ 0 w 8471853"/>
              <a:gd name="connsiteY0" fmla="*/ 0 h 6858000"/>
              <a:gd name="connsiteX1" fmla="*/ 4495269 w 8471853"/>
              <a:gd name="connsiteY1" fmla="*/ 851475 h 6858000"/>
              <a:gd name="connsiteX2" fmla="*/ 8471853 w 8471853"/>
              <a:gd name="connsiteY2" fmla="*/ 1803973 h 6858000"/>
              <a:gd name="connsiteX3" fmla="*/ 8471853 w 8471853"/>
              <a:gd name="connsiteY3" fmla="*/ 6626401 h 6858000"/>
              <a:gd name="connsiteX4" fmla="*/ 8471853 w 8471853"/>
              <a:gd name="connsiteY4" fmla="*/ 6858000 h 6858000"/>
              <a:gd name="connsiteX5" fmla="*/ 0 w 8471853"/>
              <a:gd name="connsiteY5" fmla="*/ 6858000 h 6858000"/>
              <a:gd name="connsiteX6" fmla="*/ 0 w 8471853"/>
              <a:gd name="connsiteY6" fmla="*/ 6823731 h 6858000"/>
              <a:gd name="connsiteX7" fmla="*/ 0 w 8471853"/>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71853" h="6858000">
                <a:moveTo>
                  <a:pt x="0" y="0"/>
                </a:moveTo>
                <a:cubicBezTo>
                  <a:pt x="115264" y="14432"/>
                  <a:pt x="3212965" y="577272"/>
                  <a:pt x="4495269" y="851475"/>
                </a:cubicBezTo>
                <a:cubicBezTo>
                  <a:pt x="5950468" y="1154543"/>
                  <a:pt x="7275996" y="1472042"/>
                  <a:pt x="8471853" y="1803973"/>
                </a:cubicBezTo>
                <a:cubicBezTo>
                  <a:pt x="8471853" y="1803973"/>
                  <a:pt x="8471853" y="1803973"/>
                  <a:pt x="8471853" y="6626401"/>
                </a:cubicBezTo>
                <a:lnTo>
                  <a:pt x="8471853" y="6858000"/>
                </a:lnTo>
                <a:lnTo>
                  <a:pt x="0" y="6858000"/>
                </a:lnTo>
                <a:lnTo>
                  <a:pt x="0" y="6823731"/>
                </a:lnTo>
                <a:cubicBezTo>
                  <a:pt x="0" y="5587721"/>
                  <a:pt x="0" y="3506021"/>
                  <a:pt x="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09">
              <a:solidFill>
                <a:schemeClr val="tx1"/>
              </a:solidFill>
            </a:endParaRPr>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75535" y="4867016"/>
            <a:ext cx="5791600" cy="5209875"/>
          </a:xfrm>
          <a:prstGeom prst="rect">
            <a:avLst/>
          </a:prstGeom>
        </p:spPr>
      </p:pic>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672755" y="1542447"/>
            <a:ext cx="16266110" cy="791414"/>
          </a:xfrm>
          <a:prstGeom prst="rect">
            <a:avLst/>
          </a:prstGeom>
        </p:spPr>
        <p:txBody>
          <a:bodyPr vert="horz" lIns="0" tIns="0" rIns="0" bIns="0" rtlCol="0" anchor="t">
            <a:normAutofit/>
          </a:bodyPr>
          <a:lstStyle>
            <a:lvl1pPr>
              <a:defRPr lang="pt-PT" dirty="0">
                <a:solidFill>
                  <a:schemeClr val="bg1"/>
                </a:solidFill>
              </a:defRPr>
            </a:lvl1pPr>
          </a:lstStyle>
          <a:p>
            <a:pPr lvl="0">
              <a:lnSpc>
                <a:spcPts val="4947"/>
              </a:lnSpc>
            </a:pPr>
            <a:r>
              <a:rPr lang="en-US"/>
              <a:t>Click to add title</a:t>
            </a:r>
            <a:endParaRPr lang="pt-PT"/>
          </a:p>
        </p:txBody>
      </p:sp>
      <p:sp>
        <p:nvSpPr>
          <p:cNvPr id="18" name="Retângulo 43">
            <a:extLst>
              <a:ext uri="{FF2B5EF4-FFF2-40B4-BE49-F238E27FC236}">
                <a16:creationId xmlns:a16="http://schemas.microsoft.com/office/drawing/2014/main" id="{25FC8637-25BD-4C09-AF25-56B4243DAB3D}"/>
              </a:ext>
            </a:extLst>
          </p:cNvPr>
          <p:cNvSpPr/>
          <p:nvPr userDrawn="1"/>
        </p:nvSpPr>
        <p:spPr>
          <a:xfrm>
            <a:off x="19349792" y="10829142"/>
            <a:ext cx="481221" cy="295337"/>
          </a:xfrm>
          <a:prstGeom prst="rect">
            <a:avLst/>
          </a:prstGeom>
        </p:spPr>
        <p:txBody>
          <a:bodyPr wrap="none">
            <a:spAutoFit/>
          </a:bodyPr>
          <a:lstStyle/>
          <a:p>
            <a:pPr algn="r"/>
            <a:fld id="{0502E5A9-B53C-401E-A0E0-4A359BB0A9E5}" type="slidenum">
              <a:rPr lang="en-US" sz="1319" smtClean="0">
                <a:solidFill>
                  <a:prstClr val="black">
                    <a:lumMod val="50000"/>
                    <a:lumOff val="50000"/>
                  </a:prstClr>
                </a:solidFill>
                <a:cs typeface="Arial" panose="020B0604020202020204" pitchFamily="34" charset="0"/>
              </a:rPr>
              <a:t>‹#›</a:t>
            </a:fld>
            <a:endParaRPr lang="en-US" sz="1319">
              <a:solidFill>
                <a:prstClr val="black">
                  <a:lumMod val="50000"/>
                  <a:lumOff val="50000"/>
                </a:prstClr>
              </a:solidFill>
              <a:cs typeface="Arial" panose="020B0604020202020204" pitchFamily="34" charset="0"/>
            </a:endParaRPr>
          </a:p>
        </p:txBody>
      </p:sp>
      <p:sp>
        <p:nvSpPr>
          <p:cNvPr id="13" name="Text Placeholder 7">
            <a:extLst>
              <a:ext uri="{FF2B5EF4-FFF2-40B4-BE49-F238E27FC236}">
                <a16:creationId xmlns:a16="http://schemas.microsoft.com/office/drawing/2014/main" id="{4E956B68-B273-4648-AC4B-C9A05A745160}"/>
              </a:ext>
            </a:extLst>
          </p:cNvPr>
          <p:cNvSpPr>
            <a:spLocks noGrp="1"/>
          </p:cNvSpPr>
          <p:nvPr>
            <p:ph type="body" sz="quarter" idx="33" hasCustomPrompt="1"/>
          </p:nvPr>
        </p:nvSpPr>
        <p:spPr>
          <a:xfrm>
            <a:off x="674153" y="2517422"/>
            <a:ext cx="9401381" cy="396904"/>
          </a:xfrm>
          <a:prstGeom prst="rect">
            <a:avLst/>
          </a:prstGeom>
        </p:spPr>
        <p:txBody>
          <a:bodyPr wrap="square" anchor="t" anchorCtr="0">
            <a:spAutoFit/>
          </a:bodyPr>
          <a:lstStyle>
            <a:lvl1pPr marL="0" marR="0" indent="0" algn="l" defTabSz="1507846" rtl="0" eaLnBrk="1" fontAlgn="auto" latinLnBrk="0" hangingPunct="1">
              <a:lnSpc>
                <a:spcPct val="100000"/>
              </a:lnSpc>
              <a:spcBef>
                <a:spcPts val="1649"/>
              </a:spcBef>
              <a:spcAft>
                <a:spcPts val="0"/>
              </a:spcAft>
              <a:buClrTx/>
              <a:buSzTx/>
              <a:buFont typeface="Arial" panose="020B0604020202020204" pitchFamily="34" charset="0"/>
              <a:buNone/>
              <a:tabLst/>
              <a:defRPr sz="1979" b="0">
                <a:solidFill>
                  <a:schemeClr val="bg1"/>
                </a:solidFill>
              </a:defRPr>
            </a:lvl1pPr>
            <a:lvl2pPr>
              <a:lnSpc>
                <a:spcPct val="100000"/>
              </a:lnSpc>
              <a:defRPr sz="2309"/>
            </a:lvl2pPr>
            <a:lvl3pPr>
              <a:lnSpc>
                <a:spcPct val="100000"/>
              </a:lnSpc>
              <a:defRPr sz="2309"/>
            </a:lvl3pPr>
            <a:lvl4pPr>
              <a:lnSpc>
                <a:spcPct val="100000"/>
              </a:lnSpc>
              <a:defRPr sz="2309"/>
            </a:lvl4pPr>
            <a:lvl5pPr>
              <a:lnSpc>
                <a:spcPct val="100000"/>
              </a:lnSpc>
              <a:defRPr sz="1979"/>
            </a:lvl5pPr>
          </a:lstStyle>
          <a:p>
            <a:pPr marL="0" marR="0" lvl="0" indent="0" algn="l" defTabSz="1507846" rtl="0" eaLnBrk="1" fontAlgn="auto" latinLnBrk="0" hangingPunct="1">
              <a:lnSpc>
                <a:spcPct val="100000"/>
              </a:lnSpc>
              <a:spcBef>
                <a:spcPts val="1649"/>
              </a:spcBef>
              <a:spcAft>
                <a:spcPts val="0"/>
              </a:spcAft>
              <a:buClrTx/>
              <a:buSzTx/>
              <a:buFont typeface="Arial" panose="020B0604020202020204" pitchFamily="34" charset="0"/>
              <a:buNone/>
              <a:tabLst/>
              <a:defRPr/>
            </a:pPr>
            <a:r>
              <a:rPr lang="en-US"/>
              <a:t>Click to insert text</a:t>
            </a:r>
          </a:p>
        </p:txBody>
      </p:sp>
      <p:sp>
        <p:nvSpPr>
          <p:cNvPr id="16" name="Text Placeholder 7">
            <a:extLst>
              <a:ext uri="{FF2B5EF4-FFF2-40B4-BE49-F238E27FC236}">
                <a16:creationId xmlns:a16="http://schemas.microsoft.com/office/drawing/2014/main" id="{4E956B68-B273-4648-AC4B-C9A05A745160}"/>
              </a:ext>
            </a:extLst>
          </p:cNvPr>
          <p:cNvSpPr>
            <a:spLocks noGrp="1"/>
          </p:cNvSpPr>
          <p:nvPr>
            <p:ph type="body" sz="quarter" idx="34" hasCustomPrompt="1"/>
          </p:nvPr>
        </p:nvSpPr>
        <p:spPr>
          <a:xfrm>
            <a:off x="16208931" y="3023903"/>
            <a:ext cx="3222414" cy="4024879"/>
          </a:xfrm>
          <a:prstGeom prst="rect">
            <a:avLst/>
          </a:prstGeom>
        </p:spPr>
        <p:txBody>
          <a:bodyPr wrap="square" anchor="t" anchorCtr="0">
            <a:noAutofit/>
          </a:bodyPr>
          <a:lstStyle>
            <a:lvl1pPr marL="0" marR="0" indent="0" algn="l" defTabSz="1507846" rtl="0" eaLnBrk="1" fontAlgn="auto" latinLnBrk="0" hangingPunct="1">
              <a:lnSpc>
                <a:spcPct val="100000"/>
              </a:lnSpc>
              <a:spcBef>
                <a:spcPts val="1649"/>
              </a:spcBef>
              <a:spcAft>
                <a:spcPts val="0"/>
              </a:spcAft>
              <a:buClrTx/>
              <a:buSzTx/>
              <a:buFont typeface="Arial" panose="020B0604020202020204" pitchFamily="34" charset="0"/>
              <a:buNone/>
              <a:tabLst/>
              <a:defRPr sz="1484" b="0">
                <a:solidFill>
                  <a:schemeClr val="tx1"/>
                </a:solidFill>
              </a:defRPr>
            </a:lvl1pPr>
            <a:lvl2pPr>
              <a:lnSpc>
                <a:spcPct val="100000"/>
              </a:lnSpc>
              <a:defRPr sz="2309"/>
            </a:lvl2pPr>
            <a:lvl3pPr>
              <a:lnSpc>
                <a:spcPct val="100000"/>
              </a:lnSpc>
              <a:defRPr sz="2309"/>
            </a:lvl3pPr>
            <a:lvl4pPr>
              <a:lnSpc>
                <a:spcPct val="100000"/>
              </a:lnSpc>
              <a:defRPr sz="2309"/>
            </a:lvl4pPr>
            <a:lvl5pPr>
              <a:lnSpc>
                <a:spcPct val="100000"/>
              </a:lnSpc>
              <a:defRPr sz="1979"/>
            </a:lvl5pPr>
          </a:lstStyle>
          <a:p>
            <a:pPr marL="0" marR="0" lvl="0" indent="0" algn="l" defTabSz="1507846" rtl="0" eaLnBrk="1" fontAlgn="auto" latinLnBrk="0" hangingPunct="1">
              <a:lnSpc>
                <a:spcPct val="100000"/>
              </a:lnSpc>
              <a:spcBef>
                <a:spcPts val="1649"/>
              </a:spcBef>
              <a:spcAft>
                <a:spcPts val="0"/>
              </a:spcAft>
              <a:buClrTx/>
              <a:buSzTx/>
              <a:buFont typeface="Arial" panose="020B0604020202020204" pitchFamily="34" charset="0"/>
              <a:buNone/>
              <a:tabLst/>
              <a:defRPr/>
            </a:pPr>
            <a:r>
              <a:rPr lang="en-US"/>
              <a:t>Click to insert text</a:t>
            </a:r>
          </a:p>
        </p:txBody>
      </p:sp>
      <p:sp>
        <p:nvSpPr>
          <p:cNvPr id="17" name="Text Placeholder 7">
            <a:extLst>
              <a:ext uri="{FF2B5EF4-FFF2-40B4-BE49-F238E27FC236}">
                <a16:creationId xmlns:a16="http://schemas.microsoft.com/office/drawing/2014/main" id="{4E956B68-B273-4648-AC4B-C9A05A745160}"/>
              </a:ext>
            </a:extLst>
          </p:cNvPr>
          <p:cNvSpPr>
            <a:spLocks noGrp="1"/>
          </p:cNvSpPr>
          <p:nvPr>
            <p:ph type="body" sz="quarter" idx="35" hasCustomPrompt="1"/>
          </p:nvPr>
        </p:nvSpPr>
        <p:spPr>
          <a:xfrm>
            <a:off x="16208931" y="9744588"/>
            <a:ext cx="3222414" cy="915123"/>
          </a:xfrm>
          <a:prstGeom prst="rect">
            <a:avLst/>
          </a:prstGeom>
        </p:spPr>
        <p:txBody>
          <a:bodyPr wrap="square" anchor="t" anchorCtr="0">
            <a:noAutofit/>
          </a:bodyPr>
          <a:lstStyle>
            <a:lvl1pPr marL="0" marR="0" indent="0" algn="l" defTabSz="1507846" rtl="0" eaLnBrk="1" fontAlgn="auto" latinLnBrk="0" hangingPunct="1">
              <a:lnSpc>
                <a:spcPct val="100000"/>
              </a:lnSpc>
              <a:spcBef>
                <a:spcPts val="1649"/>
              </a:spcBef>
              <a:spcAft>
                <a:spcPts val="0"/>
              </a:spcAft>
              <a:buClrTx/>
              <a:buSzTx/>
              <a:buFont typeface="Arial" panose="020B0604020202020204" pitchFamily="34" charset="0"/>
              <a:buNone/>
              <a:tabLst/>
              <a:defRPr sz="1814" b="1">
                <a:solidFill>
                  <a:schemeClr val="accent4"/>
                </a:solidFill>
              </a:defRPr>
            </a:lvl1pPr>
            <a:lvl2pPr>
              <a:lnSpc>
                <a:spcPct val="100000"/>
              </a:lnSpc>
              <a:defRPr sz="2309"/>
            </a:lvl2pPr>
            <a:lvl3pPr>
              <a:lnSpc>
                <a:spcPct val="100000"/>
              </a:lnSpc>
              <a:defRPr sz="2309"/>
            </a:lvl3pPr>
            <a:lvl4pPr>
              <a:lnSpc>
                <a:spcPct val="100000"/>
              </a:lnSpc>
              <a:defRPr sz="2309"/>
            </a:lvl4pPr>
            <a:lvl5pPr>
              <a:lnSpc>
                <a:spcPct val="100000"/>
              </a:lnSpc>
              <a:defRPr sz="1979"/>
            </a:lvl5pPr>
          </a:lstStyle>
          <a:p>
            <a:pPr marL="0" marR="0" lvl="0" indent="0" algn="l" defTabSz="1507846" rtl="0" eaLnBrk="1" fontAlgn="auto" latinLnBrk="0" hangingPunct="1">
              <a:lnSpc>
                <a:spcPct val="100000"/>
              </a:lnSpc>
              <a:spcBef>
                <a:spcPts val="1649"/>
              </a:spcBef>
              <a:spcAft>
                <a:spcPts val="0"/>
              </a:spcAft>
              <a:buClrTx/>
              <a:buSzTx/>
              <a:buFont typeface="Arial" panose="020B0604020202020204" pitchFamily="34" charset="0"/>
              <a:buNone/>
              <a:tabLst/>
              <a:defRPr/>
            </a:pPr>
            <a:r>
              <a:rPr lang="en-US"/>
              <a:t>Click to insert text</a:t>
            </a:r>
          </a:p>
        </p:txBody>
      </p:sp>
      <p:cxnSp>
        <p:nvCxnSpPr>
          <p:cNvPr id="2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362232" y="10882253"/>
            <a:ext cx="0" cy="256989"/>
          </a:xfrm>
          <a:prstGeom prst="line">
            <a:avLst/>
          </a:prstGeom>
          <a:solidFill>
            <a:schemeClr val="tx1"/>
          </a:solidFill>
          <a:ln w="635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25" name="Rectangle 27">
            <a:hlinkClick r:id="rId3"/>
            <a:extLst>
              <a:ext uri="{FF2B5EF4-FFF2-40B4-BE49-F238E27FC236}">
                <a16:creationId xmlns:a16="http://schemas.microsoft.com/office/drawing/2014/main" id="{F376ABD1-4930-42EB-9A73-9A9C7C6BF2D3}"/>
              </a:ext>
            </a:extLst>
          </p:cNvPr>
          <p:cNvSpPr/>
          <p:nvPr userDrawn="1"/>
        </p:nvSpPr>
        <p:spPr>
          <a:xfrm>
            <a:off x="658187" y="10829493"/>
            <a:ext cx="4664915" cy="362509"/>
          </a:xfrm>
          <a:prstGeom prst="rect">
            <a:avLst/>
          </a:prstGeom>
        </p:spPr>
        <p:txBody>
          <a:bodyPr wrap="square" lIns="0" tIns="0" rIns="0" bIns="0" anchor="ctr" anchorCtr="0">
            <a:noAutofit/>
          </a:bodyPr>
          <a:lstStyle/>
          <a:p>
            <a:pPr lvl="0" algn="l" defTabSz="1507846">
              <a:lnSpc>
                <a:spcPct val="100000"/>
              </a:lnSpc>
              <a:defRPr/>
            </a:pPr>
            <a:r>
              <a:rPr lang="en-US" sz="1319" kern="0">
                <a:solidFill>
                  <a:schemeClr val="bg1"/>
                </a:solidFill>
                <a:latin typeface="+mj-lt"/>
                <a:cs typeface="Arial" panose="020B0604020202020204" pitchFamily="34" charset="0"/>
              </a:rPr>
              <a:t>Presentation Title</a:t>
            </a:r>
          </a:p>
        </p:txBody>
      </p:sp>
      <p:sp>
        <p:nvSpPr>
          <p:cNvPr id="26" name="Rectangle 27">
            <a:hlinkClick r:id="rId3"/>
            <a:extLst>
              <a:ext uri="{FF2B5EF4-FFF2-40B4-BE49-F238E27FC236}">
                <a16:creationId xmlns:a16="http://schemas.microsoft.com/office/drawing/2014/main" id="{F376ABD1-4930-42EB-9A73-9A9C7C6BF2D3}"/>
              </a:ext>
            </a:extLst>
          </p:cNvPr>
          <p:cNvSpPr/>
          <p:nvPr userDrawn="1"/>
        </p:nvSpPr>
        <p:spPr>
          <a:xfrm>
            <a:off x="2601711" y="10829494"/>
            <a:ext cx="1714607" cy="355530"/>
          </a:xfrm>
          <a:prstGeom prst="rect">
            <a:avLst/>
          </a:prstGeom>
        </p:spPr>
        <p:txBody>
          <a:bodyPr wrap="square" lIns="0" tIns="0" rIns="0" bIns="0" anchor="ctr" anchorCtr="0">
            <a:noAutofit/>
          </a:bodyPr>
          <a:lstStyle/>
          <a:p>
            <a:pPr lvl="0" algn="l" defTabSz="1507846">
              <a:lnSpc>
                <a:spcPct val="100000"/>
              </a:lnSpc>
              <a:defRPr/>
            </a:pPr>
            <a:r>
              <a:rPr lang="en-US" sz="1319" kern="0">
                <a:solidFill>
                  <a:schemeClr val="bg1"/>
                </a:solidFill>
                <a:latin typeface="+mj-lt"/>
                <a:cs typeface="Arial" panose="020B0604020202020204" pitchFamily="34" charset="0"/>
              </a:rPr>
              <a:t>Date</a:t>
            </a:r>
          </a:p>
        </p:txBody>
      </p:sp>
      <p:sp>
        <p:nvSpPr>
          <p:cNvPr id="27" name="Retângulo 43">
            <a:extLst>
              <a:ext uri="{FF2B5EF4-FFF2-40B4-BE49-F238E27FC236}">
                <a16:creationId xmlns:a16="http://schemas.microsoft.com/office/drawing/2014/main" id="{834ADCB4-BFB1-450D-8F6D-64217F4CD92C}"/>
              </a:ext>
            </a:extLst>
          </p:cNvPr>
          <p:cNvSpPr/>
          <p:nvPr userDrawn="1"/>
        </p:nvSpPr>
        <p:spPr>
          <a:xfrm>
            <a:off x="3453436" y="10829141"/>
            <a:ext cx="4274077" cy="362509"/>
          </a:xfrm>
          <a:prstGeom prst="rect">
            <a:avLst/>
          </a:prstGeom>
        </p:spPr>
        <p:txBody>
          <a:bodyPr wrap="none" lIns="0" tIns="0" rIns="0" bIns="0" anchor="ctr">
            <a:noAutofit/>
          </a:bodyPr>
          <a:lstStyle/>
          <a:p>
            <a:pPr>
              <a:lnSpc>
                <a:spcPct val="100000"/>
              </a:lnSpc>
            </a:pPr>
            <a:r>
              <a:rPr lang="en-US" sz="1319">
                <a:solidFill>
                  <a:schemeClr val="bg1"/>
                </a:solidFill>
                <a:cs typeface="Arial" panose="020B0604020202020204" pitchFamily="34" charset="0"/>
              </a:rPr>
              <a:t>© 2018 </a:t>
            </a:r>
            <a:r>
              <a:rPr lang="en-US" sz="1319" err="1">
                <a:solidFill>
                  <a:schemeClr val="bg1"/>
                </a:solidFill>
                <a:cs typeface="Arial" panose="020B0604020202020204" pitchFamily="34" charset="0"/>
              </a:rPr>
              <a:t>Sogeti</a:t>
            </a:r>
            <a:r>
              <a:rPr lang="en-US" sz="1319">
                <a:solidFill>
                  <a:schemeClr val="bg1"/>
                </a:solidFill>
                <a:cs typeface="Arial" panose="020B0604020202020204" pitchFamily="34" charset="0"/>
              </a:rPr>
              <a:t>. All rights reserved.</a:t>
            </a:r>
          </a:p>
        </p:txBody>
      </p:sp>
      <p:cxnSp>
        <p:nvCxnSpPr>
          <p:cNvPr id="28"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16656" y="10882253"/>
            <a:ext cx="0" cy="256989"/>
          </a:xfrm>
          <a:prstGeom prst="line">
            <a:avLst/>
          </a:prstGeom>
          <a:solidFill>
            <a:schemeClr val="tx1"/>
          </a:solidFill>
          <a:ln w="6350" cap="rnd">
            <a:solidFill>
              <a:schemeClr val="bg1"/>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094360"/>
      </p:ext>
    </p:extLst>
  </p:cSld>
  <p:clrMapOvr>
    <a:overrideClrMapping bg1="lt1" tx1="dk1" bg2="lt2" tx2="dk2" accent1="accent1" accent2="accent2" accent3="accent3" accent4="accent4" accent5="accent5" accent6="accent6" hlink="hlink" folHlink="folHlink"/>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5_Text with Shapes - Layout1">
    <p:bg>
      <p:bgRef idx="1001">
        <a:schemeClr val="bg1"/>
      </p:bgRef>
    </p:bg>
    <p:spTree>
      <p:nvGrpSpPr>
        <p:cNvPr id="1" name=""/>
        <p:cNvGrpSpPr/>
        <p:nvPr/>
      </p:nvGrpSpPr>
      <p:grpSpPr>
        <a:xfrm>
          <a:off x="0" y="0"/>
          <a:ext cx="0" cy="0"/>
          <a:chOff x="0" y="0"/>
          <a:chExt cx="0" cy="0"/>
        </a:xfrm>
      </p:grpSpPr>
      <p:sp>
        <p:nvSpPr>
          <p:cNvPr id="33" name="Freeform 32"/>
          <p:cNvSpPr/>
          <p:nvPr userDrawn="1"/>
        </p:nvSpPr>
        <p:spPr>
          <a:xfrm>
            <a:off x="3993157" y="6777922"/>
            <a:ext cx="16110943" cy="4550480"/>
          </a:xfrm>
          <a:custGeom>
            <a:avLst/>
            <a:gdLst>
              <a:gd name="connsiteX0" fmla="*/ 3514064 w 9770376"/>
              <a:gd name="connsiteY0" fmla="*/ 0 h 2754775"/>
              <a:gd name="connsiteX1" fmla="*/ 9770376 w 9770376"/>
              <a:gd name="connsiteY1" fmla="*/ 0 h 2754775"/>
              <a:gd name="connsiteX2" fmla="*/ 9770376 w 9770376"/>
              <a:gd name="connsiteY2" fmla="*/ 2754775 h 2754775"/>
              <a:gd name="connsiteX3" fmla="*/ 0 w 9770376"/>
              <a:gd name="connsiteY3" fmla="*/ 2754775 h 2754775"/>
              <a:gd name="connsiteX4" fmla="*/ 12200 w 9770376"/>
              <a:gd name="connsiteY4" fmla="*/ 2696642 h 2754775"/>
              <a:gd name="connsiteX5" fmla="*/ 3514064 w 9770376"/>
              <a:gd name="connsiteY5" fmla="*/ 0 h 275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770376" h="2754775">
                <a:moveTo>
                  <a:pt x="3514064" y="0"/>
                </a:moveTo>
                <a:cubicBezTo>
                  <a:pt x="3514064" y="0"/>
                  <a:pt x="3514064" y="0"/>
                  <a:pt x="9770376" y="0"/>
                </a:cubicBezTo>
                <a:lnTo>
                  <a:pt x="9770376" y="2754775"/>
                </a:lnTo>
                <a:lnTo>
                  <a:pt x="0" y="2754775"/>
                </a:lnTo>
                <a:lnTo>
                  <a:pt x="12200" y="2696642"/>
                </a:lnTo>
                <a:cubicBezTo>
                  <a:pt x="419422" y="1115950"/>
                  <a:pt x="1846958" y="0"/>
                  <a:pt x="3514064"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09">
              <a:solidFill>
                <a:schemeClr val="tx1"/>
              </a:solidFill>
            </a:endParaRP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672755" y="668691"/>
            <a:ext cx="16266110" cy="1426539"/>
          </a:xfrm>
          <a:prstGeom prst="rect">
            <a:avLst/>
          </a:prstGeom>
        </p:spPr>
        <p:txBody>
          <a:bodyPr vert="horz" lIns="0" tIns="0" rIns="0" bIns="0" rtlCol="0" anchor="t">
            <a:normAutofit/>
          </a:bodyPr>
          <a:lstStyle>
            <a:lvl1pPr>
              <a:defRPr lang="pt-PT" dirty="0"/>
            </a:lvl1pPr>
          </a:lstStyle>
          <a:p>
            <a:pPr lvl="0">
              <a:lnSpc>
                <a:spcPts val="4947"/>
              </a:lnSpc>
            </a:pPr>
            <a:r>
              <a:rPr lang="en-US"/>
              <a:t>Click to add title</a:t>
            </a:r>
            <a:endParaRPr lang="pt-PT"/>
          </a:p>
        </p:txBody>
      </p:sp>
      <p:sp>
        <p:nvSpPr>
          <p:cNvPr id="18" name="Retângulo 43">
            <a:extLst>
              <a:ext uri="{FF2B5EF4-FFF2-40B4-BE49-F238E27FC236}">
                <a16:creationId xmlns:a16="http://schemas.microsoft.com/office/drawing/2014/main" id="{25FC8637-25BD-4C09-AF25-56B4243DAB3D}"/>
              </a:ext>
            </a:extLst>
          </p:cNvPr>
          <p:cNvSpPr/>
          <p:nvPr userDrawn="1"/>
        </p:nvSpPr>
        <p:spPr>
          <a:xfrm>
            <a:off x="19349792" y="10829142"/>
            <a:ext cx="481221" cy="295337"/>
          </a:xfrm>
          <a:prstGeom prst="rect">
            <a:avLst/>
          </a:prstGeom>
        </p:spPr>
        <p:txBody>
          <a:bodyPr wrap="none">
            <a:spAutoFit/>
          </a:bodyPr>
          <a:lstStyle/>
          <a:p>
            <a:pPr algn="r"/>
            <a:fld id="{0502E5A9-B53C-401E-A0E0-4A359BB0A9E5}" type="slidenum">
              <a:rPr lang="en-US" sz="1319" smtClean="0">
                <a:solidFill>
                  <a:schemeClr val="bg1"/>
                </a:solidFill>
                <a:cs typeface="Arial" panose="020B0604020202020204" pitchFamily="34" charset="0"/>
              </a:rPr>
              <a:t>‹#›</a:t>
            </a:fld>
            <a:endParaRPr lang="en-US" sz="1319">
              <a:solidFill>
                <a:schemeClr val="bg1"/>
              </a:solidFill>
              <a:cs typeface="Arial" panose="020B0604020202020204" pitchFamily="34" charset="0"/>
            </a:endParaRPr>
          </a:p>
        </p:txBody>
      </p:sp>
      <p:sp>
        <p:nvSpPr>
          <p:cNvPr id="10"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672755" y="2335703"/>
            <a:ext cx="18758591" cy="3670803"/>
          </a:xfrm>
          <a:prstGeom prst="rect">
            <a:avLst/>
          </a:prstGeom>
        </p:spPr>
        <p:txBody>
          <a:bodyPr>
            <a:noAutofit/>
          </a:bodyPr>
          <a:lstStyle>
            <a:lvl1pPr marL="371726" indent="-371726">
              <a:lnSpc>
                <a:spcPts val="3628"/>
              </a:lnSpc>
              <a:buClr>
                <a:schemeClr val="tx2"/>
              </a:buClr>
              <a:buFont typeface="Wingdings" panose="05000000000000000000" pitchFamily="2" charset="2"/>
              <a:buChar char="§"/>
              <a:defRPr sz="2968">
                <a:solidFill>
                  <a:schemeClr val="tx1"/>
                </a:solidFill>
              </a:defRPr>
            </a:lvl1pPr>
            <a:lvl2pPr>
              <a:lnSpc>
                <a:spcPct val="100000"/>
              </a:lnSpc>
              <a:defRPr sz="2309"/>
            </a:lvl2pPr>
            <a:lvl3pPr>
              <a:lnSpc>
                <a:spcPct val="100000"/>
              </a:lnSpc>
              <a:defRPr sz="2309"/>
            </a:lvl3pPr>
            <a:lvl4pPr>
              <a:lnSpc>
                <a:spcPct val="100000"/>
              </a:lnSpc>
              <a:defRPr sz="2309"/>
            </a:lvl4pPr>
            <a:lvl5pPr>
              <a:lnSpc>
                <a:spcPct val="100000"/>
              </a:lnSpc>
              <a:defRPr sz="2309"/>
            </a:lvl5pPr>
          </a:lstStyle>
          <a:p>
            <a:pPr marL="225425" indent="-225425">
              <a:buClr>
                <a:schemeClr val="tx2"/>
              </a:buClr>
              <a:buFont typeface="Wingdings" panose="05000000000000000000" pitchFamily="2" charset="2"/>
              <a:buChar char="§"/>
            </a:pPr>
            <a:r>
              <a:rPr lang="en-US"/>
              <a:t>Click to insert text</a:t>
            </a:r>
          </a:p>
          <a:p>
            <a:pPr marL="761777" lvl="1" indent="-390051">
              <a:buClr>
                <a:schemeClr val="accent4"/>
              </a:buClr>
              <a:buFont typeface="Arial" panose="020B0604020202020204" pitchFamily="34" charset="0"/>
              <a:buChar char="•"/>
            </a:pPr>
            <a:r>
              <a:rPr lang="en-US" sz="2638"/>
              <a:t>Click to insert text</a:t>
            </a:r>
            <a:endParaRPr lang="pt-PT" sz="2638"/>
          </a:p>
          <a:p>
            <a:pPr marL="1136120" lvl="2" indent="-397904">
              <a:buClr>
                <a:schemeClr val="accent2"/>
              </a:buClr>
              <a:buFont typeface="Verdana" panose="020B0604030504040204" pitchFamily="34" charset="0"/>
              <a:buChar char="–"/>
            </a:pPr>
            <a:r>
              <a:rPr lang="en-US"/>
              <a:t>Click to insert text</a:t>
            </a:r>
            <a:endParaRPr lang="pt-PT"/>
          </a:p>
          <a:p>
            <a:pPr marL="1507846" lvl="3" indent="-371726">
              <a:buClr>
                <a:schemeClr val="accent3"/>
              </a:buClr>
              <a:buFont typeface="Wingdings" panose="05000000000000000000" pitchFamily="2" charset="2"/>
              <a:buChar char="§"/>
            </a:pPr>
            <a:r>
              <a:rPr lang="en-US"/>
              <a:t>Click to insert text</a:t>
            </a:r>
            <a:endParaRPr lang="pt-PT"/>
          </a:p>
        </p:txBody>
      </p:sp>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1371382" y="3960061"/>
            <a:ext cx="2387362" cy="2357769"/>
          </a:xfrm>
          <a:prstGeom prst="rect">
            <a:avLst/>
          </a:prstGeom>
        </p:spPr>
      </p:pic>
      <p:pic>
        <p:nvPicPr>
          <p:cNvPr id="12" name="Picture 11"/>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4286476" y="3960061"/>
            <a:ext cx="2010410" cy="2357769"/>
          </a:xfrm>
          <a:prstGeom prst="rect">
            <a:avLst/>
          </a:prstGeom>
        </p:spPr>
      </p:pic>
      <p:pic>
        <p:nvPicPr>
          <p:cNvPr id="16" name="Picture 15"/>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7243799" y="4084278"/>
            <a:ext cx="1872831" cy="2033740"/>
          </a:xfrm>
          <a:prstGeom prst="rect">
            <a:avLst/>
          </a:prstGeom>
        </p:spPr>
      </p:pic>
      <p:pic>
        <p:nvPicPr>
          <p:cNvPr id="17" name="Picture 16"/>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8715127" y="3960061"/>
            <a:ext cx="1801830" cy="2357769"/>
          </a:xfrm>
          <a:prstGeom prst="rect">
            <a:avLst/>
          </a:prstGeom>
        </p:spPr>
      </p:pic>
      <p:grpSp>
        <p:nvGrpSpPr>
          <p:cNvPr id="19" name="Group 18"/>
          <p:cNvGrpSpPr/>
          <p:nvPr userDrawn="1"/>
        </p:nvGrpSpPr>
        <p:grpSpPr>
          <a:xfrm>
            <a:off x="8911825" y="6369071"/>
            <a:ext cx="1215764" cy="855585"/>
            <a:chOff x="4724400" y="3918586"/>
            <a:chExt cx="861243" cy="605034"/>
          </a:xfrm>
        </p:grpSpPr>
        <p:pic>
          <p:nvPicPr>
            <p:cNvPr id="20" name="Picture 19"/>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21" name="TextBox 20"/>
            <p:cNvSpPr txBox="1"/>
            <p:nvPr/>
          </p:nvSpPr>
          <p:spPr>
            <a:xfrm>
              <a:off x="4876217" y="3953867"/>
              <a:ext cx="396538" cy="352361"/>
            </a:xfrm>
            <a:prstGeom prst="rect">
              <a:avLst/>
            </a:prstGeom>
            <a:noFill/>
          </p:spPr>
          <p:txBody>
            <a:bodyPr wrap="none" rtlCol="0">
              <a:spAutoFit/>
            </a:bodyPr>
            <a:lstStyle/>
            <a:p>
              <a:r>
                <a:rPr lang="en-US" sz="2638" b="1">
                  <a:solidFill>
                    <a:schemeClr val="bg1"/>
                  </a:solidFill>
                </a:rPr>
                <a:t>01</a:t>
              </a:r>
            </a:p>
          </p:txBody>
        </p:sp>
      </p:grpSp>
      <p:grpSp>
        <p:nvGrpSpPr>
          <p:cNvPr id="22" name="Group 21"/>
          <p:cNvGrpSpPr/>
          <p:nvPr userDrawn="1"/>
        </p:nvGrpSpPr>
        <p:grpSpPr>
          <a:xfrm>
            <a:off x="11860426" y="6369071"/>
            <a:ext cx="1215764" cy="855585"/>
            <a:chOff x="4724400" y="3918586"/>
            <a:chExt cx="861243" cy="605034"/>
          </a:xfrm>
        </p:grpSpPr>
        <p:pic>
          <p:nvPicPr>
            <p:cNvPr id="23" name="Picture 22"/>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24" name="TextBox 23"/>
            <p:cNvSpPr txBox="1"/>
            <p:nvPr/>
          </p:nvSpPr>
          <p:spPr>
            <a:xfrm>
              <a:off x="4876217" y="3953867"/>
              <a:ext cx="396538" cy="352361"/>
            </a:xfrm>
            <a:prstGeom prst="rect">
              <a:avLst/>
            </a:prstGeom>
            <a:noFill/>
          </p:spPr>
          <p:txBody>
            <a:bodyPr wrap="none" rtlCol="0">
              <a:spAutoFit/>
            </a:bodyPr>
            <a:lstStyle/>
            <a:p>
              <a:r>
                <a:rPr lang="en-US" sz="2638" b="1">
                  <a:solidFill>
                    <a:schemeClr val="bg1"/>
                  </a:solidFill>
                </a:rPr>
                <a:t>02</a:t>
              </a:r>
            </a:p>
          </p:txBody>
        </p:sp>
      </p:grpSp>
      <p:grpSp>
        <p:nvGrpSpPr>
          <p:cNvPr id="25" name="Group 24"/>
          <p:cNvGrpSpPr/>
          <p:nvPr userDrawn="1"/>
        </p:nvGrpSpPr>
        <p:grpSpPr>
          <a:xfrm>
            <a:off x="14859288" y="6369071"/>
            <a:ext cx="1215764" cy="855585"/>
            <a:chOff x="4724400" y="3918586"/>
            <a:chExt cx="861243" cy="605034"/>
          </a:xfrm>
        </p:grpSpPr>
        <p:pic>
          <p:nvPicPr>
            <p:cNvPr id="26" name="Picture 25"/>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27" name="TextBox 26"/>
            <p:cNvSpPr txBox="1"/>
            <p:nvPr/>
          </p:nvSpPr>
          <p:spPr>
            <a:xfrm>
              <a:off x="4876217" y="3953867"/>
              <a:ext cx="396538" cy="352361"/>
            </a:xfrm>
            <a:prstGeom prst="rect">
              <a:avLst/>
            </a:prstGeom>
            <a:noFill/>
          </p:spPr>
          <p:txBody>
            <a:bodyPr wrap="none" rtlCol="0">
              <a:spAutoFit/>
            </a:bodyPr>
            <a:lstStyle/>
            <a:p>
              <a:r>
                <a:rPr lang="en-US" sz="2638" b="1">
                  <a:solidFill>
                    <a:schemeClr val="bg1"/>
                  </a:solidFill>
                </a:rPr>
                <a:t>03</a:t>
              </a:r>
            </a:p>
          </p:txBody>
        </p:sp>
      </p:grpSp>
      <p:grpSp>
        <p:nvGrpSpPr>
          <p:cNvPr id="28" name="Group 27"/>
          <p:cNvGrpSpPr/>
          <p:nvPr userDrawn="1"/>
        </p:nvGrpSpPr>
        <p:grpSpPr>
          <a:xfrm>
            <a:off x="17573341" y="6369071"/>
            <a:ext cx="1215764" cy="855585"/>
            <a:chOff x="4724400" y="3918586"/>
            <a:chExt cx="861243" cy="605034"/>
          </a:xfrm>
        </p:grpSpPr>
        <p:pic>
          <p:nvPicPr>
            <p:cNvPr id="29" name="Picture 28"/>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4400" y="3918586"/>
              <a:ext cx="861243" cy="605034"/>
            </a:xfrm>
            <a:prstGeom prst="rect">
              <a:avLst/>
            </a:prstGeom>
          </p:spPr>
        </p:pic>
        <p:sp>
          <p:nvSpPr>
            <p:cNvPr id="30" name="TextBox 29"/>
            <p:cNvSpPr txBox="1"/>
            <p:nvPr/>
          </p:nvSpPr>
          <p:spPr>
            <a:xfrm>
              <a:off x="4876217" y="3953867"/>
              <a:ext cx="396538" cy="352361"/>
            </a:xfrm>
            <a:prstGeom prst="rect">
              <a:avLst/>
            </a:prstGeom>
            <a:noFill/>
          </p:spPr>
          <p:txBody>
            <a:bodyPr wrap="none" rtlCol="0">
              <a:spAutoFit/>
            </a:bodyPr>
            <a:lstStyle/>
            <a:p>
              <a:r>
                <a:rPr lang="en-US" sz="2638" b="1">
                  <a:solidFill>
                    <a:schemeClr val="bg1"/>
                  </a:solidFill>
                </a:rPr>
                <a:t>04</a:t>
              </a:r>
            </a:p>
          </p:txBody>
        </p:sp>
      </p:grpSp>
      <p:sp>
        <p:nvSpPr>
          <p:cNvPr id="35" name="Text Placeholder 7">
            <a:extLst>
              <a:ext uri="{FF2B5EF4-FFF2-40B4-BE49-F238E27FC236}">
                <a16:creationId xmlns:a16="http://schemas.microsoft.com/office/drawing/2014/main" id="{4E956B68-B273-4648-AC4B-C9A05A745160}"/>
              </a:ext>
            </a:extLst>
          </p:cNvPr>
          <p:cNvSpPr>
            <a:spLocks noGrp="1"/>
          </p:cNvSpPr>
          <p:nvPr>
            <p:ph type="body" sz="quarter" idx="33" hasCustomPrompt="1"/>
          </p:nvPr>
        </p:nvSpPr>
        <p:spPr>
          <a:xfrm>
            <a:off x="8624913" y="7487834"/>
            <a:ext cx="2201145" cy="2330114"/>
          </a:xfrm>
          <a:prstGeom prst="rect">
            <a:avLst/>
          </a:prstGeom>
        </p:spPr>
        <p:txBody>
          <a:bodyPr wrap="square" anchor="t" anchorCtr="0">
            <a:noAutofit/>
          </a:bodyPr>
          <a:lstStyle>
            <a:lvl1pPr marL="0" marR="0" indent="0" algn="l" defTabSz="1507846" rtl="0" eaLnBrk="1" fontAlgn="auto" latinLnBrk="0" hangingPunct="1">
              <a:lnSpc>
                <a:spcPct val="100000"/>
              </a:lnSpc>
              <a:spcBef>
                <a:spcPts val="1649"/>
              </a:spcBef>
              <a:spcAft>
                <a:spcPts val="0"/>
              </a:spcAft>
              <a:buClrTx/>
              <a:buSzTx/>
              <a:buFont typeface="Arial" panose="020B0604020202020204" pitchFamily="34" charset="0"/>
              <a:buNone/>
              <a:tabLst/>
              <a:defRPr sz="1319" b="0">
                <a:solidFill>
                  <a:schemeClr val="bg1"/>
                </a:solidFill>
              </a:defRPr>
            </a:lvl1pPr>
            <a:lvl2pPr>
              <a:lnSpc>
                <a:spcPct val="100000"/>
              </a:lnSpc>
              <a:defRPr sz="2309"/>
            </a:lvl2pPr>
            <a:lvl3pPr>
              <a:lnSpc>
                <a:spcPct val="100000"/>
              </a:lnSpc>
              <a:defRPr sz="2309"/>
            </a:lvl3pPr>
            <a:lvl4pPr>
              <a:lnSpc>
                <a:spcPct val="100000"/>
              </a:lnSpc>
              <a:defRPr sz="2309"/>
            </a:lvl4pPr>
            <a:lvl5pPr>
              <a:lnSpc>
                <a:spcPct val="100000"/>
              </a:lnSpc>
              <a:defRPr sz="1979"/>
            </a:lvl5pPr>
          </a:lstStyle>
          <a:p>
            <a:pPr marL="0" marR="0" lvl="0" indent="0" algn="l" defTabSz="1507846" rtl="0" eaLnBrk="1" fontAlgn="auto" latinLnBrk="0" hangingPunct="1">
              <a:lnSpc>
                <a:spcPct val="100000"/>
              </a:lnSpc>
              <a:spcBef>
                <a:spcPts val="1649"/>
              </a:spcBef>
              <a:spcAft>
                <a:spcPts val="0"/>
              </a:spcAft>
              <a:buClrTx/>
              <a:buSzTx/>
              <a:buFont typeface="Arial" panose="020B0604020202020204" pitchFamily="34" charset="0"/>
              <a:buNone/>
              <a:tabLst/>
              <a:defRPr/>
            </a:pPr>
            <a:r>
              <a:rPr lang="en-US"/>
              <a:t>Click to insert text</a:t>
            </a:r>
          </a:p>
        </p:txBody>
      </p:sp>
      <p:sp>
        <p:nvSpPr>
          <p:cNvPr id="36" name="Text Placeholder 7">
            <a:extLst>
              <a:ext uri="{FF2B5EF4-FFF2-40B4-BE49-F238E27FC236}">
                <a16:creationId xmlns:a16="http://schemas.microsoft.com/office/drawing/2014/main" id="{4E956B68-B273-4648-AC4B-C9A05A745160}"/>
              </a:ext>
            </a:extLst>
          </p:cNvPr>
          <p:cNvSpPr>
            <a:spLocks noGrp="1"/>
          </p:cNvSpPr>
          <p:nvPr>
            <p:ph type="body" sz="quarter" idx="34" hasCustomPrompt="1"/>
          </p:nvPr>
        </p:nvSpPr>
        <p:spPr>
          <a:xfrm>
            <a:off x="11560111" y="7487834"/>
            <a:ext cx="2201145" cy="2330114"/>
          </a:xfrm>
          <a:prstGeom prst="rect">
            <a:avLst/>
          </a:prstGeom>
        </p:spPr>
        <p:txBody>
          <a:bodyPr wrap="square" anchor="t" anchorCtr="0">
            <a:noAutofit/>
          </a:bodyPr>
          <a:lstStyle>
            <a:lvl1pPr marL="0" marR="0" indent="0" algn="l" defTabSz="1507846" rtl="0" eaLnBrk="1" fontAlgn="auto" latinLnBrk="0" hangingPunct="1">
              <a:lnSpc>
                <a:spcPct val="100000"/>
              </a:lnSpc>
              <a:spcBef>
                <a:spcPts val="1649"/>
              </a:spcBef>
              <a:spcAft>
                <a:spcPts val="0"/>
              </a:spcAft>
              <a:buClrTx/>
              <a:buSzTx/>
              <a:buFont typeface="Arial" panose="020B0604020202020204" pitchFamily="34" charset="0"/>
              <a:buNone/>
              <a:tabLst/>
              <a:defRPr sz="1319" b="0">
                <a:solidFill>
                  <a:schemeClr val="bg1"/>
                </a:solidFill>
              </a:defRPr>
            </a:lvl1pPr>
            <a:lvl2pPr>
              <a:lnSpc>
                <a:spcPct val="100000"/>
              </a:lnSpc>
              <a:defRPr sz="2309"/>
            </a:lvl2pPr>
            <a:lvl3pPr>
              <a:lnSpc>
                <a:spcPct val="100000"/>
              </a:lnSpc>
              <a:defRPr sz="2309"/>
            </a:lvl3pPr>
            <a:lvl4pPr>
              <a:lnSpc>
                <a:spcPct val="100000"/>
              </a:lnSpc>
              <a:defRPr sz="2309"/>
            </a:lvl4pPr>
            <a:lvl5pPr>
              <a:lnSpc>
                <a:spcPct val="100000"/>
              </a:lnSpc>
              <a:defRPr sz="1979"/>
            </a:lvl5pPr>
          </a:lstStyle>
          <a:p>
            <a:pPr marL="0" marR="0" lvl="0" indent="0" algn="l" defTabSz="1507846" rtl="0" eaLnBrk="1" fontAlgn="auto" latinLnBrk="0" hangingPunct="1">
              <a:lnSpc>
                <a:spcPct val="100000"/>
              </a:lnSpc>
              <a:spcBef>
                <a:spcPts val="1649"/>
              </a:spcBef>
              <a:spcAft>
                <a:spcPts val="0"/>
              </a:spcAft>
              <a:buClrTx/>
              <a:buSzTx/>
              <a:buFont typeface="Arial" panose="020B0604020202020204" pitchFamily="34" charset="0"/>
              <a:buNone/>
              <a:tabLst/>
              <a:defRPr/>
            </a:pPr>
            <a:r>
              <a:rPr lang="en-US"/>
              <a:t>Click to insert text</a:t>
            </a:r>
          </a:p>
        </p:txBody>
      </p:sp>
      <p:sp>
        <p:nvSpPr>
          <p:cNvPr id="37" name="Text Placeholder 7">
            <a:extLst>
              <a:ext uri="{FF2B5EF4-FFF2-40B4-BE49-F238E27FC236}">
                <a16:creationId xmlns:a16="http://schemas.microsoft.com/office/drawing/2014/main" id="{4E956B68-B273-4648-AC4B-C9A05A745160}"/>
              </a:ext>
            </a:extLst>
          </p:cNvPr>
          <p:cNvSpPr>
            <a:spLocks noGrp="1"/>
          </p:cNvSpPr>
          <p:nvPr>
            <p:ph type="body" sz="quarter" idx="35" hasCustomPrompt="1"/>
          </p:nvPr>
        </p:nvSpPr>
        <p:spPr>
          <a:xfrm>
            <a:off x="14495310" y="7487834"/>
            <a:ext cx="2201145" cy="2330114"/>
          </a:xfrm>
          <a:prstGeom prst="rect">
            <a:avLst/>
          </a:prstGeom>
        </p:spPr>
        <p:txBody>
          <a:bodyPr wrap="square" anchor="t" anchorCtr="0">
            <a:noAutofit/>
          </a:bodyPr>
          <a:lstStyle>
            <a:lvl1pPr marL="0" marR="0" indent="0" algn="l" defTabSz="1507846" rtl="0" eaLnBrk="1" fontAlgn="auto" latinLnBrk="0" hangingPunct="1">
              <a:lnSpc>
                <a:spcPct val="100000"/>
              </a:lnSpc>
              <a:spcBef>
                <a:spcPts val="1649"/>
              </a:spcBef>
              <a:spcAft>
                <a:spcPts val="0"/>
              </a:spcAft>
              <a:buClrTx/>
              <a:buSzTx/>
              <a:buFont typeface="Arial" panose="020B0604020202020204" pitchFamily="34" charset="0"/>
              <a:buNone/>
              <a:tabLst/>
              <a:defRPr sz="1319" b="0">
                <a:solidFill>
                  <a:schemeClr val="bg1"/>
                </a:solidFill>
              </a:defRPr>
            </a:lvl1pPr>
            <a:lvl2pPr>
              <a:lnSpc>
                <a:spcPct val="100000"/>
              </a:lnSpc>
              <a:defRPr sz="2309"/>
            </a:lvl2pPr>
            <a:lvl3pPr>
              <a:lnSpc>
                <a:spcPct val="100000"/>
              </a:lnSpc>
              <a:defRPr sz="2309"/>
            </a:lvl3pPr>
            <a:lvl4pPr>
              <a:lnSpc>
                <a:spcPct val="100000"/>
              </a:lnSpc>
              <a:defRPr sz="2309"/>
            </a:lvl4pPr>
            <a:lvl5pPr>
              <a:lnSpc>
                <a:spcPct val="100000"/>
              </a:lnSpc>
              <a:defRPr sz="1979"/>
            </a:lvl5pPr>
          </a:lstStyle>
          <a:p>
            <a:pPr marL="0" marR="0" lvl="0" indent="0" algn="l" defTabSz="1507846" rtl="0" eaLnBrk="1" fontAlgn="auto" latinLnBrk="0" hangingPunct="1">
              <a:lnSpc>
                <a:spcPct val="100000"/>
              </a:lnSpc>
              <a:spcBef>
                <a:spcPts val="1649"/>
              </a:spcBef>
              <a:spcAft>
                <a:spcPts val="0"/>
              </a:spcAft>
              <a:buClrTx/>
              <a:buSzTx/>
              <a:buFont typeface="Arial" panose="020B0604020202020204" pitchFamily="34" charset="0"/>
              <a:buNone/>
              <a:tabLst/>
              <a:defRPr/>
            </a:pPr>
            <a:r>
              <a:rPr lang="en-US"/>
              <a:t>Click to insert text</a:t>
            </a:r>
          </a:p>
        </p:txBody>
      </p:sp>
      <p:sp>
        <p:nvSpPr>
          <p:cNvPr id="38" name="Text Placeholder 7">
            <a:extLst>
              <a:ext uri="{FF2B5EF4-FFF2-40B4-BE49-F238E27FC236}">
                <a16:creationId xmlns:a16="http://schemas.microsoft.com/office/drawing/2014/main" id="{4E956B68-B273-4648-AC4B-C9A05A745160}"/>
              </a:ext>
            </a:extLst>
          </p:cNvPr>
          <p:cNvSpPr>
            <a:spLocks noGrp="1"/>
          </p:cNvSpPr>
          <p:nvPr>
            <p:ph type="body" sz="quarter" idx="36" hasCustomPrompt="1"/>
          </p:nvPr>
        </p:nvSpPr>
        <p:spPr>
          <a:xfrm>
            <a:off x="17249572" y="7487834"/>
            <a:ext cx="2201145" cy="2330114"/>
          </a:xfrm>
          <a:prstGeom prst="rect">
            <a:avLst/>
          </a:prstGeom>
        </p:spPr>
        <p:txBody>
          <a:bodyPr wrap="square" anchor="t" anchorCtr="0">
            <a:noAutofit/>
          </a:bodyPr>
          <a:lstStyle>
            <a:lvl1pPr marL="0" marR="0" indent="0" algn="l" defTabSz="1507846" rtl="0" eaLnBrk="1" fontAlgn="auto" latinLnBrk="0" hangingPunct="1">
              <a:lnSpc>
                <a:spcPct val="100000"/>
              </a:lnSpc>
              <a:spcBef>
                <a:spcPts val="1649"/>
              </a:spcBef>
              <a:spcAft>
                <a:spcPts val="0"/>
              </a:spcAft>
              <a:buClrTx/>
              <a:buSzTx/>
              <a:buFont typeface="Arial" panose="020B0604020202020204" pitchFamily="34" charset="0"/>
              <a:buNone/>
              <a:tabLst/>
              <a:defRPr sz="1319" b="0">
                <a:solidFill>
                  <a:schemeClr val="bg1"/>
                </a:solidFill>
              </a:defRPr>
            </a:lvl1pPr>
            <a:lvl2pPr>
              <a:lnSpc>
                <a:spcPct val="100000"/>
              </a:lnSpc>
              <a:defRPr sz="2309"/>
            </a:lvl2pPr>
            <a:lvl3pPr>
              <a:lnSpc>
                <a:spcPct val="100000"/>
              </a:lnSpc>
              <a:defRPr sz="2309"/>
            </a:lvl3pPr>
            <a:lvl4pPr>
              <a:lnSpc>
                <a:spcPct val="100000"/>
              </a:lnSpc>
              <a:defRPr sz="2309"/>
            </a:lvl4pPr>
            <a:lvl5pPr>
              <a:lnSpc>
                <a:spcPct val="100000"/>
              </a:lnSpc>
              <a:defRPr sz="1979"/>
            </a:lvl5pPr>
          </a:lstStyle>
          <a:p>
            <a:pPr marL="0" marR="0" lvl="0" indent="0" algn="l" defTabSz="1507846" rtl="0" eaLnBrk="1" fontAlgn="auto" latinLnBrk="0" hangingPunct="1">
              <a:lnSpc>
                <a:spcPct val="100000"/>
              </a:lnSpc>
              <a:spcBef>
                <a:spcPts val="1649"/>
              </a:spcBef>
              <a:spcAft>
                <a:spcPts val="0"/>
              </a:spcAft>
              <a:buClrTx/>
              <a:buSzTx/>
              <a:buFont typeface="Arial" panose="020B0604020202020204" pitchFamily="34" charset="0"/>
              <a:buNone/>
              <a:tabLst/>
              <a:defRPr/>
            </a:pPr>
            <a:r>
              <a:rPr lang="en-US"/>
              <a:t>Click to insert text</a:t>
            </a:r>
          </a:p>
        </p:txBody>
      </p:sp>
      <p:cxnSp>
        <p:nvCxnSpPr>
          <p:cNvPr id="40"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362232" y="10882253"/>
            <a:ext cx="0" cy="256989"/>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41" name="Rectangle 27">
            <a:hlinkClick r:id="rId7"/>
            <a:extLst>
              <a:ext uri="{FF2B5EF4-FFF2-40B4-BE49-F238E27FC236}">
                <a16:creationId xmlns:a16="http://schemas.microsoft.com/office/drawing/2014/main" id="{F376ABD1-4930-42EB-9A73-9A9C7C6BF2D3}"/>
              </a:ext>
            </a:extLst>
          </p:cNvPr>
          <p:cNvSpPr/>
          <p:nvPr userDrawn="1"/>
        </p:nvSpPr>
        <p:spPr>
          <a:xfrm>
            <a:off x="658187" y="10829493"/>
            <a:ext cx="4664915" cy="362509"/>
          </a:xfrm>
          <a:prstGeom prst="rect">
            <a:avLst/>
          </a:prstGeom>
        </p:spPr>
        <p:txBody>
          <a:bodyPr wrap="square" lIns="0" tIns="0" rIns="0" bIns="0" anchor="ctr" anchorCtr="0">
            <a:noAutofit/>
          </a:bodyPr>
          <a:lstStyle/>
          <a:p>
            <a:pPr lvl="0" algn="l" defTabSz="1507846">
              <a:lnSpc>
                <a:spcPct val="100000"/>
              </a:lnSpc>
              <a:defRPr/>
            </a:pPr>
            <a:r>
              <a:rPr lang="en-US" sz="1319" kern="0">
                <a:solidFill>
                  <a:schemeClr val="tx2"/>
                </a:solidFill>
                <a:latin typeface="+mj-lt"/>
                <a:cs typeface="Arial" panose="020B0604020202020204" pitchFamily="34" charset="0"/>
              </a:rPr>
              <a:t>Presentation Title</a:t>
            </a:r>
          </a:p>
        </p:txBody>
      </p:sp>
      <p:sp>
        <p:nvSpPr>
          <p:cNvPr id="42" name="Rectangle 27">
            <a:hlinkClick r:id="rId7"/>
            <a:extLst>
              <a:ext uri="{FF2B5EF4-FFF2-40B4-BE49-F238E27FC236}">
                <a16:creationId xmlns:a16="http://schemas.microsoft.com/office/drawing/2014/main" id="{F376ABD1-4930-42EB-9A73-9A9C7C6BF2D3}"/>
              </a:ext>
            </a:extLst>
          </p:cNvPr>
          <p:cNvSpPr/>
          <p:nvPr userDrawn="1"/>
        </p:nvSpPr>
        <p:spPr>
          <a:xfrm>
            <a:off x="2601711" y="10829494"/>
            <a:ext cx="1714607" cy="355530"/>
          </a:xfrm>
          <a:prstGeom prst="rect">
            <a:avLst/>
          </a:prstGeom>
        </p:spPr>
        <p:txBody>
          <a:bodyPr wrap="square" lIns="0" tIns="0" rIns="0" bIns="0" anchor="ctr" anchorCtr="0">
            <a:noAutofit/>
          </a:bodyPr>
          <a:lstStyle/>
          <a:p>
            <a:pPr lvl="0" algn="l" defTabSz="1507846">
              <a:lnSpc>
                <a:spcPct val="100000"/>
              </a:lnSpc>
              <a:defRPr/>
            </a:pPr>
            <a:r>
              <a:rPr lang="en-US" sz="1319" kern="0">
                <a:solidFill>
                  <a:schemeClr val="tx1"/>
                </a:solidFill>
                <a:latin typeface="+mj-lt"/>
                <a:cs typeface="Arial" panose="020B0604020202020204" pitchFamily="34" charset="0"/>
              </a:rPr>
              <a:t>Date</a:t>
            </a:r>
          </a:p>
        </p:txBody>
      </p:sp>
      <p:sp>
        <p:nvSpPr>
          <p:cNvPr id="43" name="Retângulo 43">
            <a:extLst>
              <a:ext uri="{FF2B5EF4-FFF2-40B4-BE49-F238E27FC236}">
                <a16:creationId xmlns:a16="http://schemas.microsoft.com/office/drawing/2014/main" id="{834ADCB4-BFB1-450D-8F6D-64217F4CD92C}"/>
              </a:ext>
            </a:extLst>
          </p:cNvPr>
          <p:cNvSpPr/>
          <p:nvPr userDrawn="1"/>
        </p:nvSpPr>
        <p:spPr>
          <a:xfrm>
            <a:off x="3453436" y="10829141"/>
            <a:ext cx="4274077" cy="362509"/>
          </a:xfrm>
          <a:prstGeom prst="rect">
            <a:avLst/>
          </a:prstGeom>
        </p:spPr>
        <p:txBody>
          <a:bodyPr wrap="none" lIns="0" tIns="0" rIns="0" bIns="0" anchor="ctr">
            <a:noAutofit/>
          </a:bodyPr>
          <a:lstStyle/>
          <a:p>
            <a:pPr>
              <a:lnSpc>
                <a:spcPct val="100000"/>
              </a:lnSpc>
            </a:pPr>
            <a:r>
              <a:rPr lang="en-US" sz="1319">
                <a:solidFill>
                  <a:schemeClr val="bg2">
                    <a:lumMod val="50000"/>
                  </a:schemeClr>
                </a:solidFill>
                <a:cs typeface="Arial" panose="020B0604020202020204" pitchFamily="34" charset="0"/>
              </a:rPr>
              <a:t>© 2018 </a:t>
            </a:r>
            <a:r>
              <a:rPr lang="en-US" sz="1319" err="1">
                <a:solidFill>
                  <a:schemeClr val="bg2">
                    <a:lumMod val="50000"/>
                  </a:schemeClr>
                </a:solidFill>
                <a:cs typeface="Arial" panose="020B0604020202020204" pitchFamily="34" charset="0"/>
              </a:rPr>
              <a:t>Sogeti</a:t>
            </a:r>
            <a:r>
              <a:rPr lang="en-US" sz="1319">
                <a:solidFill>
                  <a:schemeClr val="bg2">
                    <a:lumMod val="50000"/>
                  </a:schemeClr>
                </a:solidFill>
                <a:cs typeface="Arial" panose="020B0604020202020204" pitchFamily="34" charset="0"/>
              </a:rPr>
              <a:t>. All rights reserved.</a:t>
            </a:r>
          </a:p>
        </p:txBody>
      </p:sp>
      <p:cxnSp>
        <p:nvCxnSpPr>
          <p:cNvPr id="44"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16656" y="10882253"/>
            <a:ext cx="0" cy="256989"/>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77627895"/>
      </p:ext>
    </p:extLst>
  </p:cSld>
  <p:clrMapOvr>
    <a:overrideClrMapping bg1="lt1" tx1="dk1" bg2="lt2" tx2="dk2" accent1="accent1" accent2="accent2" accent3="accent3" accent4="accent4" accent5="accent5" accent6="accent6" hlink="hlink" folHlink="folHlink"/>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9_Text with Shapes - Layout1">
    <p:bg>
      <p:bgRef idx="1001">
        <a:schemeClr val="bg1"/>
      </p:bgRef>
    </p:bg>
    <p:spTree>
      <p:nvGrpSpPr>
        <p:cNvPr id="1" name=""/>
        <p:cNvGrpSpPr/>
        <p:nvPr/>
      </p:nvGrpSpPr>
      <p:grpSpPr>
        <a:xfrm>
          <a:off x="0" y="0"/>
          <a:ext cx="0" cy="0"/>
          <a:chOff x="0" y="0"/>
          <a:chExt cx="0" cy="0"/>
        </a:xfrm>
      </p:grpSpPr>
      <p:pic>
        <p:nvPicPr>
          <p:cNvPr id="15" name="Picture 14"/>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0290262" y="2350645"/>
            <a:ext cx="9813837" cy="6909845"/>
          </a:xfrm>
          <a:prstGeom prst="rect">
            <a:avLst/>
          </a:prstGeom>
        </p:spPr>
      </p:pic>
      <p:sp>
        <p:nvSpPr>
          <p:cNvPr id="17" name="Freeform 16"/>
          <p:cNvSpPr>
            <a:spLocks/>
          </p:cNvSpPr>
          <p:nvPr/>
        </p:nvSpPr>
        <p:spPr bwMode="auto">
          <a:xfrm rot="10800000" flipH="1">
            <a:off x="10290262" y="6713417"/>
            <a:ext cx="9813837" cy="4614983"/>
          </a:xfrm>
          <a:custGeom>
            <a:avLst/>
            <a:gdLst>
              <a:gd name="connsiteX0" fmla="*/ 5951537 w 5951537"/>
              <a:gd name="connsiteY0" fmla="*/ 2793824 h 2793824"/>
              <a:gd name="connsiteX1" fmla="*/ 5951537 w 5951537"/>
              <a:gd name="connsiteY1" fmla="*/ 372819 h 2793824"/>
              <a:gd name="connsiteX2" fmla="*/ 5951537 w 5951537"/>
              <a:gd name="connsiteY2" fmla="*/ 0 h 2793824"/>
              <a:gd name="connsiteX3" fmla="*/ 0 w 5951537"/>
              <a:gd name="connsiteY3" fmla="*/ 0 h 2793824"/>
              <a:gd name="connsiteX4" fmla="*/ 0 w 5951537"/>
              <a:gd name="connsiteY4" fmla="*/ 171206 h 2793824"/>
              <a:gd name="connsiteX5" fmla="*/ 0 w 5951537"/>
              <a:gd name="connsiteY5" fmla="*/ 1526520 h 2793824"/>
              <a:gd name="connsiteX6" fmla="*/ 2793578 w 5951537"/>
              <a:gd name="connsiteY6" fmla="*/ 2195656 h 2793824"/>
              <a:gd name="connsiteX7" fmla="*/ 5951537 w 5951537"/>
              <a:gd name="connsiteY7" fmla="*/ 2793824 h 2793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51537" h="2793824">
                <a:moveTo>
                  <a:pt x="5951537" y="2793824"/>
                </a:moveTo>
                <a:cubicBezTo>
                  <a:pt x="5951537" y="1846515"/>
                  <a:pt x="5951537" y="1047222"/>
                  <a:pt x="5951537" y="372819"/>
                </a:cubicBezTo>
                <a:lnTo>
                  <a:pt x="5951537" y="0"/>
                </a:lnTo>
                <a:lnTo>
                  <a:pt x="0" y="0"/>
                </a:lnTo>
                <a:lnTo>
                  <a:pt x="0" y="171206"/>
                </a:lnTo>
                <a:cubicBezTo>
                  <a:pt x="0" y="1526520"/>
                  <a:pt x="0" y="1526520"/>
                  <a:pt x="0" y="1526520"/>
                </a:cubicBezTo>
                <a:cubicBezTo>
                  <a:pt x="840098" y="1759704"/>
                  <a:pt x="1771291" y="1982749"/>
                  <a:pt x="2793578" y="2195656"/>
                </a:cubicBezTo>
                <a:cubicBezTo>
                  <a:pt x="3694406" y="2388286"/>
                  <a:pt x="5870564" y="2783685"/>
                  <a:pt x="5951537" y="2793824"/>
                </a:cubicBezTo>
                <a:close/>
              </a:path>
            </a:pathLst>
          </a:custGeom>
          <a:solidFill>
            <a:schemeClr val="accent4"/>
          </a:solidFill>
          <a:ln>
            <a:noFill/>
          </a:ln>
        </p:spPr>
        <p:txBody>
          <a:bodyPr vert="horz" wrap="square" lIns="150781" tIns="75390" rIns="150781" bIns="75390" numCol="1" anchor="t" anchorCtr="0" compatLnSpc="1">
            <a:prstTxWarp prst="textNoShape">
              <a:avLst/>
            </a:prstTxWarp>
            <a:noAutofit/>
          </a:bodyPr>
          <a:lstStyle/>
          <a:p>
            <a:endParaRPr lang="en-US"/>
          </a:p>
        </p:txBody>
      </p:sp>
      <p:sp>
        <p:nvSpPr>
          <p:cNvPr id="7" name="Title Placeholder 1">
            <a:extLst>
              <a:ext uri="{FF2B5EF4-FFF2-40B4-BE49-F238E27FC236}">
                <a16:creationId xmlns:a16="http://schemas.microsoft.com/office/drawing/2014/main" id="{552BBB0A-405D-419D-8BD5-EC8D9F84B795}"/>
              </a:ext>
            </a:extLst>
          </p:cNvPr>
          <p:cNvSpPr>
            <a:spLocks noGrp="1"/>
          </p:cNvSpPr>
          <p:nvPr userDrawn="1">
            <p:ph type="title" hasCustomPrompt="1"/>
          </p:nvPr>
        </p:nvSpPr>
        <p:spPr>
          <a:xfrm>
            <a:off x="672755" y="668691"/>
            <a:ext cx="16266110" cy="1426539"/>
          </a:xfrm>
          <a:prstGeom prst="rect">
            <a:avLst/>
          </a:prstGeom>
        </p:spPr>
        <p:txBody>
          <a:bodyPr vert="horz" lIns="0" tIns="0" rIns="0" bIns="0" rtlCol="0" anchor="t">
            <a:normAutofit/>
          </a:bodyPr>
          <a:lstStyle>
            <a:lvl1pPr>
              <a:defRPr lang="pt-PT" dirty="0">
                <a:solidFill>
                  <a:schemeClr val="tx2"/>
                </a:solidFill>
              </a:defRPr>
            </a:lvl1pPr>
          </a:lstStyle>
          <a:p>
            <a:pPr lvl="0">
              <a:lnSpc>
                <a:spcPts val="4947"/>
              </a:lnSpc>
            </a:pPr>
            <a:r>
              <a:rPr lang="en-US"/>
              <a:t>Click to add title</a:t>
            </a:r>
            <a:endParaRPr lang="pt-PT"/>
          </a:p>
        </p:txBody>
      </p:sp>
      <p:sp>
        <p:nvSpPr>
          <p:cNvPr id="9" name="Retângulo 43">
            <a:extLst>
              <a:ext uri="{FF2B5EF4-FFF2-40B4-BE49-F238E27FC236}">
                <a16:creationId xmlns:a16="http://schemas.microsoft.com/office/drawing/2014/main" id="{25FC8637-25BD-4C09-AF25-56B4243DAB3D}"/>
              </a:ext>
            </a:extLst>
          </p:cNvPr>
          <p:cNvSpPr/>
          <p:nvPr userDrawn="1"/>
        </p:nvSpPr>
        <p:spPr>
          <a:xfrm>
            <a:off x="19349792" y="10829142"/>
            <a:ext cx="481221" cy="295337"/>
          </a:xfrm>
          <a:prstGeom prst="rect">
            <a:avLst/>
          </a:prstGeom>
        </p:spPr>
        <p:txBody>
          <a:bodyPr wrap="none">
            <a:spAutoFit/>
          </a:bodyPr>
          <a:lstStyle/>
          <a:p>
            <a:pPr algn="r"/>
            <a:fld id="{0502E5A9-B53C-401E-A0E0-4A359BB0A9E5}" type="slidenum">
              <a:rPr lang="en-US" sz="1319" smtClean="0">
                <a:solidFill>
                  <a:schemeClr val="bg1"/>
                </a:solidFill>
                <a:cs typeface="Arial" panose="020B0604020202020204" pitchFamily="34" charset="0"/>
              </a:rPr>
              <a:t>‹#›</a:t>
            </a:fld>
            <a:endParaRPr lang="en-US" sz="1319">
              <a:solidFill>
                <a:schemeClr val="bg1"/>
              </a:solidFill>
              <a:cs typeface="Arial" panose="020B0604020202020204" pitchFamily="34" charset="0"/>
            </a:endParaRPr>
          </a:p>
        </p:txBody>
      </p:sp>
      <p:sp>
        <p:nvSpPr>
          <p:cNvPr id="19" name="Text Placeholder 7">
            <a:extLst>
              <a:ext uri="{FF2B5EF4-FFF2-40B4-BE49-F238E27FC236}">
                <a16:creationId xmlns:a16="http://schemas.microsoft.com/office/drawing/2014/main" id="{053B0AF9-F410-4C47-9D9C-CAC9890E4210}"/>
              </a:ext>
            </a:extLst>
          </p:cNvPr>
          <p:cNvSpPr>
            <a:spLocks noGrp="1"/>
          </p:cNvSpPr>
          <p:nvPr userDrawn="1">
            <p:ph type="body" sz="quarter" idx="10" hasCustomPrompt="1"/>
          </p:nvPr>
        </p:nvSpPr>
        <p:spPr>
          <a:xfrm>
            <a:off x="672754" y="2335703"/>
            <a:ext cx="9141085" cy="3670803"/>
          </a:xfrm>
          <a:prstGeom prst="rect">
            <a:avLst/>
          </a:prstGeom>
        </p:spPr>
        <p:txBody>
          <a:bodyPr>
            <a:noAutofit/>
          </a:bodyPr>
          <a:lstStyle>
            <a:lvl1pPr marL="371726" indent="-371726">
              <a:lnSpc>
                <a:spcPts val="3628"/>
              </a:lnSpc>
              <a:buClr>
                <a:schemeClr val="tx2"/>
              </a:buClr>
              <a:buFont typeface="Wingdings" panose="05000000000000000000" pitchFamily="2" charset="2"/>
              <a:buChar char="§"/>
              <a:defRPr sz="2968">
                <a:solidFill>
                  <a:schemeClr val="tx1"/>
                </a:solidFill>
              </a:defRPr>
            </a:lvl1pPr>
            <a:lvl2pPr>
              <a:lnSpc>
                <a:spcPct val="100000"/>
              </a:lnSpc>
              <a:defRPr sz="2309"/>
            </a:lvl2pPr>
            <a:lvl3pPr>
              <a:lnSpc>
                <a:spcPct val="100000"/>
              </a:lnSpc>
              <a:defRPr sz="2309"/>
            </a:lvl3pPr>
            <a:lvl4pPr>
              <a:lnSpc>
                <a:spcPct val="100000"/>
              </a:lnSpc>
              <a:defRPr sz="2309"/>
            </a:lvl4pPr>
            <a:lvl5pPr>
              <a:lnSpc>
                <a:spcPct val="100000"/>
              </a:lnSpc>
              <a:defRPr sz="2309"/>
            </a:lvl5pPr>
          </a:lstStyle>
          <a:p>
            <a:pPr marL="225425" indent="-225425">
              <a:buClr>
                <a:schemeClr val="tx2"/>
              </a:buClr>
              <a:buFont typeface="Wingdings" panose="05000000000000000000" pitchFamily="2" charset="2"/>
              <a:buChar char="§"/>
            </a:pPr>
            <a:r>
              <a:rPr lang="en-US"/>
              <a:t>Click to insert text</a:t>
            </a:r>
          </a:p>
          <a:p>
            <a:pPr marL="761777" lvl="1" indent="-390051">
              <a:buClr>
                <a:schemeClr val="accent4"/>
              </a:buClr>
              <a:buFont typeface="Arial" panose="020B0604020202020204" pitchFamily="34" charset="0"/>
              <a:buChar char="•"/>
            </a:pPr>
            <a:r>
              <a:rPr lang="en-US" sz="2638"/>
              <a:t>Click to insert text</a:t>
            </a:r>
            <a:endParaRPr lang="pt-PT" sz="2638"/>
          </a:p>
          <a:p>
            <a:pPr marL="1136120" lvl="2" indent="-397904">
              <a:buClr>
                <a:schemeClr val="accent2"/>
              </a:buClr>
              <a:buFont typeface="Verdana" panose="020B0604030504040204" pitchFamily="34" charset="0"/>
              <a:buChar char="–"/>
            </a:pPr>
            <a:r>
              <a:rPr lang="en-US"/>
              <a:t>Click to insert text</a:t>
            </a:r>
            <a:endParaRPr lang="pt-PT"/>
          </a:p>
          <a:p>
            <a:pPr marL="1507846" lvl="3" indent="-371726">
              <a:buClr>
                <a:schemeClr val="accent3"/>
              </a:buClr>
              <a:buFont typeface="Wingdings" panose="05000000000000000000" pitchFamily="2" charset="2"/>
              <a:buChar char="§"/>
            </a:pPr>
            <a:r>
              <a:rPr lang="en-US"/>
              <a:t>Click to insert text</a:t>
            </a:r>
            <a:endParaRPr lang="pt-PT"/>
          </a:p>
        </p:txBody>
      </p:sp>
      <p:cxnSp>
        <p:nvCxnSpPr>
          <p:cNvPr id="23"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362232" y="10882253"/>
            <a:ext cx="0" cy="256989"/>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24" name="Rectangle 27">
            <a:hlinkClick r:id="rId3"/>
            <a:extLst>
              <a:ext uri="{FF2B5EF4-FFF2-40B4-BE49-F238E27FC236}">
                <a16:creationId xmlns:a16="http://schemas.microsoft.com/office/drawing/2014/main" id="{F376ABD1-4930-42EB-9A73-9A9C7C6BF2D3}"/>
              </a:ext>
            </a:extLst>
          </p:cNvPr>
          <p:cNvSpPr/>
          <p:nvPr userDrawn="1"/>
        </p:nvSpPr>
        <p:spPr>
          <a:xfrm>
            <a:off x="658187" y="10829493"/>
            <a:ext cx="4664915" cy="362509"/>
          </a:xfrm>
          <a:prstGeom prst="rect">
            <a:avLst/>
          </a:prstGeom>
        </p:spPr>
        <p:txBody>
          <a:bodyPr wrap="square" lIns="0" tIns="0" rIns="0" bIns="0" anchor="ctr" anchorCtr="0">
            <a:noAutofit/>
          </a:bodyPr>
          <a:lstStyle/>
          <a:p>
            <a:pPr lvl="0" algn="l" defTabSz="1507846">
              <a:lnSpc>
                <a:spcPct val="100000"/>
              </a:lnSpc>
              <a:defRPr/>
            </a:pPr>
            <a:r>
              <a:rPr lang="en-US" sz="1319" kern="0">
                <a:solidFill>
                  <a:schemeClr val="tx2"/>
                </a:solidFill>
                <a:latin typeface="+mj-lt"/>
                <a:cs typeface="Arial" panose="020B0604020202020204" pitchFamily="34" charset="0"/>
              </a:rPr>
              <a:t>Presentation Title</a:t>
            </a:r>
          </a:p>
        </p:txBody>
      </p:sp>
      <p:sp>
        <p:nvSpPr>
          <p:cNvPr id="25" name="Rectangle 27">
            <a:hlinkClick r:id="rId3"/>
            <a:extLst>
              <a:ext uri="{FF2B5EF4-FFF2-40B4-BE49-F238E27FC236}">
                <a16:creationId xmlns:a16="http://schemas.microsoft.com/office/drawing/2014/main" id="{F376ABD1-4930-42EB-9A73-9A9C7C6BF2D3}"/>
              </a:ext>
            </a:extLst>
          </p:cNvPr>
          <p:cNvSpPr/>
          <p:nvPr userDrawn="1"/>
        </p:nvSpPr>
        <p:spPr>
          <a:xfrm>
            <a:off x="2601711" y="10829494"/>
            <a:ext cx="1714607" cy="355530"/>
          </a:xfrm>
          <a:prstGeom prst="rect">
            <a:avLst/>
          </a:prstGeom>
        </p:spPr>
        <p:txBody>
          <a:bodyPr wrap="square" lIns="0" tIns="0" rIns="0" bIns="0" anchor="ctr" anchorCtr="0">
            <a:noAutofit/>
          </a:bodyPr>
          <a:lstStyle/>
          <a:p>
            <a:pPr lvl="0" algn="l" defTabSz="1507846">
              <a:lnSpc>
                <a:spcPct val="100000"/>
              </a:lnSpc>
              <a:defRPr/>
            </a:pPr>
            <a:r>
              <a:rPr lang="en-US" sz="1319" kern="0">
                <a:solidFill>
                  <a:schemeClr val="tx1"/>
                </a:solidFill>
                <a:latin typeface="+mj-lt"/>
                <a:cs typeface="Arial" panose="020B0604020202020204" pitchFamily="34" charset="0"/>
              </a:rPr>
              <a:t>Date</a:t>
            </a:r>
          </a:p>
        </p:txBody>
      </p:sp>
      <p:sp>
        <p:nvSpPr>
          <p:cNvPr id="26" name="Retângulo 43">
            <a:extLst>
              <a:ext uri="{FF2B5EF4-FFF2-40B4-BE49-F238E27FC236}">
                <a16:creationId xmlns:a16="http://schemas.microsoft.com/office/drawing/2014/main" id="{834ADCB4-BFB1-450D-8F6D-64217F4CD92C}"/>
              </a:ext>
            </a:extLst>
          </p:cNvPr>
          <p:cNvSpPr/>
          <p:nvPr userDrawn="1"/>
        </p:nvSpPr>
        <p:spPr>
          <a:xfrm>
            <a:off x="3453436" y="10829141"/>
            <a:ext cx="4274077" cy="362509"/>
          </a:xfrm>
          <a:prstGeom prst="rect">
            <a:avLst/>
          </a:prstGeom>
        </p:spPr>
        <p:txBody>
          <a:bodyPr wrap="none" lIns="0" tIns="0" rIns="0" bIns="0" anchor="ctr">
            <a:noAutofit/>
          </a:bodyPr>
          <a:lstStyle/>
          <a:p>
            <a:pPr>
              <a:lnSpc>
                <a:spcPct val="100000"/>
              </a:lnSpc>
            </a:pPr>
            <a:r>
              <a:rPr lang="en-US" sz="1319">
                <a:solidFill>
                  <a:schemeClr val="bg2">
                    <a:lumMod val="50000"/>
                  </a:schemeClr>
                </a:solidFill>
                <a:cs typeface="Arial" panose="020B0604020202020204" pitchFamily="34" charset="0"/>
              </a:rPr>
              <a:t>© 2018 </a:t>
            </a:r>
            <a:r>
              <a:rPr lang="en-US" sz="1319" err="1">
                <a:solidFill>
                  <a:schemeClr val="bg2">
                    <a:lumMod val="50000"/>
                  </a:schemeClr>
                </a:solidFill>
                <a:cs typeface="Arial" panose="020B0604020202020204" pitchFamily="34" charset="0"/>
              </a:rPr>
              <a:t>Sogeti</a:t>
            </a:r>
            <a:r>
              <a:rPr lang="en-US" sz="1319">
                <a:solidFill>
                  <a:schemeClr val="bg2">
                    <a:lumMod val="50000"/>
                  </a:schemeClr>
                </a:solidFill>
                <a:cs typeface="Arial" panose="020B0604020202020204" pitchFamily="34" charset="0"/>
              </a:rPr>
              <a:t>. All rights reserved.</a:t>
            </a:r>
          </a:p>
        </p:txBody>
      </p:sp>
      <p:cxnSp>
        <p:nvCxnSpPr>
          <p:cNvPr id="2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16656" y="10882253"/>
            <a:ext cx="0" cy="256989"/>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58088711"/>
      </p:ext>
    </p:extLst>
  </p:cSld>
  <p:clrMapOvr>
    <a:overrideClrMapping bg1="lt1" tx1="dk1" bg2="lt2" tx2="dk2" accent1="accent1" accent2="accent2" accent3="accent3" accent4="accent4" accent5="accent5" accent6="accent6" hlink="hlink" folHlink="folHlink"/>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6_Text with Shapes - Layout1">
    <p:bg>
      <p:bgRef idx="1001">
        <a:schemeClr val="bg1"/>
      </p:bgRef>
    </p:bg>
    <p:spTree>
      <p:nvGrpSpPr>
        <p:cNvPr id="1" name=""/>
        <p:cNvGrpSpPr/>
        <p:nvPr/>
      </p:nvGrpSpPr>
      <p:grpSpPr>
        <a:xfrm>
          <a:off x="0" y="0"/>
          <a:ext cx="0" cy="0"/>
          <a:chOff x="0" y="0"/>
          <a:chExt cx="0" cy="0"/>
        </a:xfrm>
      </p:grpSpPr>
      <p:sp>
        <p:nvSpPr>
          <p:cNvPr id="25" name="Freeform 24"/>
          <p:cNvSpPr/>
          <p:nvPr userDrawn="1"/>
        </p:nvSpPr>
        <p:spPr>
          <a:xfrm>
            <a:off x="15397465" y="-44576"/>
            <a:ext cx="4706635" cy="9572952"/>
          </a:xfrm>
          <a:custGeom>
            <a:avLst/>
            <a:gdLst>
              <a:gd name="connsiteX0" fmla="*/ 0 w 2854308"/>
              <a:gd name="connsiteY0" fmla="*/ 0 h 5795285"/>
              <a:gd name="connsiteX1" fmla="*/ 2854308 w 2854308"/>
              <a:gd name="connsiteY1" fmla="*/ 0 h 5795285"/>
              <a:gd name="connsiteX2" fmla="*/ 2854308 w 2854308"/>
              <a:gd name="connsiteY2" fmla="*/ 5707955 h 5795285"/>
              <a:gd name="connsiteX3" fmla="*/ 2524513 w 2854308"/>
              <a:gd name="connsiteY3" fmla="*/ 5750975 h 5795285"/>
              <a:gd name="connsiteX4" fmla="*/ 0 w 2854308"/>
              <a:gd name="connsiteY4" fmla="*/ 4639889 h 5795285"/>
              <a:gd name="connsiteX5" fmla="*/ 0 w 2854308"/>
              <a:gd name="connsiteY5" fmla="*/ 0 h 579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54308" h="5795285">
                <a:moveTo>
                  <a:pt x="0" y="0"/>
                </a:moveTo>
                <a:lnTo>
                  <a:pt x="2854308" y="0"/>
                </a:lnTo>
                <a:lnTo>
                  <a:pt x="2854308" y="5707955"/>
                </a:lnTo>
                <a:lnTo>
                  <a:pt x="2524513" y="5750975"/>
                </a:lnTo>
                <a:cubicBezTo>
                  <a:pt x="1376540" y="5878597"/>
                  <a:pt x="0" y="5793270"/>
                  <a:pt x="0" y="4639889"/>
                </a:cubicBezTo>
                <a:cubicBezTo>
                  <a:pt x="0" y="0"/>
                  <a:pt x="0" y="0"/>
                  <a:pt x="0"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09">
              <a:solidFill>
                <a:schemeClr val="tx1"/>
              </a:solidFill>
            </a:endParaRPr>
          </a:p>
        </p:txBody>
      </p:sp>
      <p:pic>
        <p:nvPicPr>
          <p:cNvPr id="15" name="Picture 1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12690714" y="3283663"/>
            <a:ext cx="3924282" cy="7426396"/>
          </a:xfrm>
          <a:prstGeom prst="rect">
            <a:avLst/>
          </a:prstGeom>
        </p:spPr>
      </p:pic>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672755" y="668691"/>
            <a:ext cx="16266110" cy="1426539"/>
          </a:xfrm>
          <a:prstGeom prst="rect">
            <a:avLst/>
          </a:prstGeom>
        </p:spPr>
        <p:txBody>
          <a:bodyPr vert="horz" lIns="0" tIns="0" rIns="0" bIns="0" rtlCol="0" anchor="t">
            <a:normAutofit/>
          </a:bodyPr>
          <a:lstStyle>
            <a:lvl1pPr>
              <a:defRPr lang="pt-PT" dirty="0"/>
            </a:lvl1pPr>
          </a:lstStyle>
          <a:p>
            <a:pPr lvl="0">
              <a:lnSpc>
                <a:spcPts val="4947"/>
              </a:lnSpc>
            </a:pPr>
            <a:r>
              <a:rPr lang="en-US"/>
              <a:t>Click to add title</a:t>
            </a:r>
            <a:endParaRPr lang="pt-PT"/>
          </a:p>
        </p:txBody>
      </p:sp>
      <p:sp>
        <p:nvSpPr>
          <p:cNvPr id="9" name="Retângulo 43">
            <a:extLst>
              <a:ext uri="{FF2B5EF4-FFF2-40B4-BE49-F238E27FC236}">
                <a16:creationId xmlns:a16="http://schemas.microsoft.com/office/drawing/2014/main" id="{25FC8637-25BD-4C09-AF25-56B4243DAB3D}"/>
              </a:ext>
            </a:extLst>
          </p:cNvPr>
          <p:cNvSpPr/>
          <p:nvPr userDrawn="1"/>
        </p:nvSpPr>
        <p:spPr>
          <a:xfrm>
            <a:off x="19349792" y="10829142"/>
            <a:ext cx="481221" cy="295337"/>
          </a:xfrm>
          <a:prstGeom prst="rect">
            <a:avLst/>
          </a:prstGeom>
        </p:spPr>
        <p:txBody>
          <a:bodyPr wrap="none">
            <a:spAutoFit/>
          </a:bodyPr>
          <a:lstStyle/>
          <a:p>
            <a:pPr algn="r"/>
            <a:fld id="{0502E5A9-B53C-401E-A0E0-4A359BB0A9E5}" type="slidenum">
              <a:rPr lang="en-US" sz="1319" smtClean="0">
                <a:solidFill>
                  <a:prstClr val="black">
                    <a:lumMod val="50000"/>
                    <a:lumOff val="50000"/>
                  </a:prstClr>
                </a:solidFill>
                <a:cs typeface="Arial" panose="020B0604020202020204" pitchFamily="34" charset="0"/>
              </a:rPr>
              <a:t>‹#›</a:t>
            </a:fld>
            <a:endParaRPr lang="en-US" sz="1319">
              <a:solidFill>
                <a:prstClr val="black">
                  <a:lumMod val="50000"/>
                  <a:lumOff val="50000"/>
                </a:prstClr>
              </a:solidFill>
              <a:cs typeface="Arial" panose="020B0604020202020204" pitchFamily="34" charset="0"/>
            </a:endParaRPr>
          </a:p>
        </p:txBody>
      </p:sp>
      <p:sp>
        <p:nvSpPr>
          <p:cNvPr id="11" name="Rectangle 10"/>
          <p:cNvSpPr/>
          <p:nvPr userDrawn="1"/>
        </p:nvSpPr>
        <p:spPr>
          <a:xfrm>
            <a:off x="15847685" y="7139358"/>
            <a:ext cx="2301135" cy="1208921"/>
          </a:xfrm>
          <a:prstGeom prst="rect">
            <a:avLst/>
          </a:prstGeom>
        </p:spPr>
        <p:txBody>
          <a:bodyPr wrap="square">
            <a:spAutoFit/>
          </a:bodyPr>
          <a:lstStyle/>
          <a:p>
            <a:pPr algn="r">
              <a:lnSpc>
                <a:spcPct val="100000"/>
              </a:lnSpc>
              <a:buClr>
                <a:schemeClr val="tx2"/>
              </a:buClr>
            </a:pPr>
            <a:r>
              <a:rPr lang="en-US" sz="3628" b="1">
                <a:solidFill>
                  <a:schemeClr val="bg1"/>
                </a:solidFill>
              </a:rPr>
              <a:t>Lorem Ipsum</a:t>
            </a:r>
          </a:p>
        </p:txBody>
      </p:sp>
      <p:pic>
        <p:nvPicPr>
          <p:cNvPr id="12" name="Picture 1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7198430" y="5340750"/>
            <a:ext cx="2199052" cy="3338546"/>
          </a:xfrm>
          <a:prstGeom prst="rect">
            <a:avLst/>
          </a:prstGeom>
        </p:spPr>
      </p:pic>
      <p:sp>
        <p:nvSpPr>
          <p:cNvPr id="20" name="Text Placeholder 7">
            <a:extLst>
              <a:ext uri="{FF2B5EF4-FFF2-40B4-BE49-F238E27FC236}">
                <a16:creationId xmlns:a16="http://schemas.microsoft.com/office/drawing/2014/main" id="{4E956B68-B273-4648-AC4B-C9A05A745160}"/>
              </a:ext>
            </a:extLst>
          </p:cNvPr>
          <p:cNvSpPr>
            <a:spLocks noGrp="1"/>
          </p:cNvSpPr>
          <p:nvPr>
            <p:ph type="body" sz="quarter" idx="33" hasCustomPrompt="1"/>
          </p:nvPr>
        </p:nvSpPr>
        <p:spPr>
          <a:xfrm>
            <a:off x="658186" y="6814738"/>
            <a:ext cx="5728206" cy="3844973"/>
          </a:xfrm>
          <a:prstGeom prst="rect">
            <a:avLst/>
          </a:prstGeom>
        </p:spPr>
        <p:txBody>
          <a:bodyPr wrap="square" anchor="t" anchorCtr="0">
            <a:noAutofit/>
          </a:bodyPr>
          <a:lstStyle>
            <a:lvl1pPr marL="0" marR="0" indent="0" algn="l" defTabSz="1507846" rtl="0" eaLnBrk="1" fontAlgn="auto" latinLnBrk="0" hangingPunct="1">
              <a:lnSpc>
                <a:spcPct val="100000"/>
              </a:lnSpc>
              <a:spcBef>
                <a:spcPts val="1649"/>
              </a:spcBef>
              <a:spcAft>
                <a:spcPts val="0"/>
              </a:spcAft>
              <a:buClrTx/>
              <a:buSzTx/>
              <a:buFont typeface="Arial" panose="020B0604020202020204" pitchFamily="34" charset="0"/>
              <a:buNone/>
              <a:tabLst/>
              <a:defRPr sz="1979" b="0">
                <a:solidFill>
                  <a:schemeClr val="tx1"/>
                </a:solidFill>
              </a:defRPr>
            </a:lvl1pPr>
            <a:lvl2pPr>
              <a:lnSpc>
                <a:spcPct val="100000"/>
              </a:lnSpc>
              <a:defRPr sz="2309"/>
            </a:lvl2pPr>
            <a:lvl3pPr>
              <a:lnSpc>
                <a:spcPct val="100000"/>
              </a:lnSpc>
              <a:defRPr sz="2309"/>
            </a:lvl3pPr>
            <a:lvl4pPr>
              <a:lnSpc>
                <a:spcPct val="100000"/>
              </a:lnSpc>
              <a:defRPr sz="2309"/>
            </a:lvl4pPr>
            <a:lvl5pPr>
              <a:lnSpc>
                <a:spcPct val="100000"/>
              </a:lnSpc>
              <a:defRPr sz="1979"/>
            </a:lvl5pPr>
          </a:lstStyle>
          <a:p>
            <a:pPr marL="0" marR="0" lvl="0" indent="0" algn="l" defTabSz="1507846" rtl="0" eaLnBrk="1" fontAlgn="auto" latinLnBrk="0" hangingPunct="1">
              <a:lnSpc>
                <a:spcPct val="100000"/>
              </a:lnSpc>
              <a:spcBef>
                <a:spcPts val="1649"/>
              </a:spcBef>
              <a:spcAft>
                <a:spcPts val="0"/>
              </a:spcAft>
              <a:buClrTx/>
              <a:buSzTx/>
              <a:buFont typeface="Arial" panose="020B0604020202020204" pitchFamily="34" charset="0"/>
              <a:buNone/>
              <a:tabLst/>
              <a:defRPr/>
            </a:pPr>
            <a:r>
              <a:rPr lang="en-US"/>
              <a:t>Click to insert text</a:t>
            </a:r>
          </a:p>
        </p:txBody>
      </p:sp>
      <p:sp>
        <p:nvSpPr>
          <p:cNvPr id="21" name="Text Placeholder 7">
            <a:extLst>
              <a:ext uri="{FF2B5EF4-FFF2-40B4-BE49-F238E27FC236}">
                <a16:creationId xmlns:a16="http://schemas.microsoft.com/office/drawing/2014/main" id="{4E956B68-B273-4648-AC4B-C9A05A745160}"/>
              </a:ext>
            </a:extLst>
          </p:cNvPr>
          <p:cNvSpPr>
            <a:spLocks noGrp="1"/>
          </p:cNvSpPr>
          <p:nvPr>
            <p:ph type="body" sz="quarter" idx="34" hasCustomPrompt="1"/>
          </p:nvPr>
        </p:nvSpPr>
        <p:spPr>
          <a:xfrm>
            <a:off x="6915587" y="6814738"/>
            <a:ext cx="5728206" cy="3844973"/>
          </a:xfrm>
          <a:prstGeom prst="rect">
            <a:avLst/>
          </a:prstGeom>
        </p:spPr>
        <p:txBody>
          <a:bodyPr wrap="square" anchor="t" anchorCtr="0">
            <a:noAutofit/>
          </a:bodyPr>
          <a:lstStyle>
            <a:lvl1pPr marL="0" marR="0" indent="0" algn="l" defTabSz="1507846" rtl="0" eaLnBrk="1" fontAlgn="auto" latinLnBrk="0" hangingPunct="1">
              <a:lnSpc>
                <a:spcPct val="100000"/>
              </a:lnSpc>
              <a:spcBef>
                <a:spcPts val="1649"/>
              </a:spcBef>
              <a:spcAft>
                <a:spcPts val="0"/>
              </a:spcAft>
              <a:buClrTx/>
              <a:buSzTx/>
              <a:buFont typeface="Arial" panose="020B0604020202020204" pitchFamily="34" charset="0"/>
              <a:buNone/>
              <a:tabLst/>
              <a:defRPr sz="1979" b="0">
                <a:solidFill>
                  <a:schemeClr val="tx1"/>
                </a:solidFill>
              </a:defRPr>
            </a:lvl1pPr>
            <a:lvl2pPr>
              <a:lnSpc>
                <a:spcPct val="100000"/>
              </a:lnSpc>
              <a:defRPr sz="2309"/>
            </a:lvl2pPr>
            <a:lvl3pPr>
              <a:lnSpc>
                <a:spcPct val="100000"/>
              </a:lnSpc>
              <a:defRPr sz="2309"/>
            </a:lvl3pPr>
            <a:lvl4pPr>
              <a:lnSpc>
                <a:spcPct val="100000"/>
              </a:lnSpc>
              <a:defRPr sz="2309"/>
            </a:lvl4pPr>
            <a:lvl5pPr>
              <a:lnSpc>
                <a:spcPct val="100000"/>
              </a:lnSpc>
              <a:defRPr sz="1979"/>
            </a:lvl5pPr>
          </a:lstStyle>
          <a:p>
            <a:pPr marL="0" marR="0" lvl="0" indent="0" algn="l" defTabSz="1507846" rtl="0" eaLnBrk="1" fontAlgn="auto" latinLnBrk="0" hangingPunct="1">
              <a:lnSpc>
                <a:spcPct val="100000"/>
              </a:lnSpc>
              <a:spcBef>
                <a:spcPts val="1649"/>
              </a:spcBef>
              <a:spcAft>
                <a:spcPts val="0"/>
              </a:spcAft>
              <a:buClrTx/>
              <a:buSzTx/>
              <a:buFont typeface="Arial" panose="020B0604020202020204" pitchFamily="34" charset="0"/>
              <a:buNone/>
              <a:tabLst/>
              <a:defRPr/>
            </a:pPr>
            <a:r>
              <a:rPr lang="en-US"/>
              <a:t>Click to insert text</a:t>
            </a:r>
          </a:p>
        </p:txBody>
      </p:sp>
      <p:sp>
        <p:nvSpPr>
          <p:cNvPr id="22" name="Text Placeholder 7">
            <a:extLst>
              <a:ext uri="{FF2B5EF4-FFF2-40B4-BE49-F238E27FC236}">
                <a16:creationId xmlns:a16="http://schemas.microsoft.com/office/drawing/2014/main" id="{4E956B68-B273-4648-AC4B-C9A05A745160}"/>
              </a:ext>
            </a:extLst>
          </p:cNvPr>
          <p:cNvSpPr>
            <a:spLocks noGrp="1"/>
          </p:cNvSpPr>
          <p:nvPr>
            <p:ph type="body" sz="quarter" idx="35" hasCustomPrompt="1"/>
          </p:nvPr>
        </p:nvSpPr>
        <p:spPr>
          <a:xfrm>
            <a:off x="16194647" y="2318950"/>
            <a:ext cx="3236699" cy="3844973"/>
          </a:xfrm>
          <a:prstGeom prst="rect">
            <a:avLst/>
          </a:prstGeom>
        </p:spPr>
        <p:txBody>
          <a:bodyPr wrap="square" anchor="t" anchorCtr="0">
            <a:noAutofit/>
          </a:bodyPr>
          <a:lstStyle>
            <a:lvl1pPr marL="0" marR="0" indent="0" algn="l" defTabSz="1507846" rtl="0" eaLnBrk="1" fontAlgn="auto" latinLnBrk="0" hangingPunct="1">
              <a:lnSpc>
                <a:spcPct val="100000"/>
              </a:lnSpc>
              <a:spcBef>
                <a:spcPts val="1649"/>
              </a:spcBef>
              <a:spcAft>
                <a:spcPts val="0"/>
              </a:spcAft>
              <a:buClrTx/>
              <a:buSzTx/>
              <a:buFont typeface="Arial" panose="020B0604020202020204" pitchFamily="34" charset="0"/>
              <a:buNone/>
              <a:tabLst/>
              <a:defRPr sz="1979" b="0">
                <a:solidFill>
                  <a:schemeClr val="bg1"/>
                </a:solidFill>
              </a:defRPr>
            </a:lvl1pPr>
            <a:lvl2pPr>
              <a:lnSpc>
                <a:spcPct val="100000"/>
              </a:lnSpc>
              <a:defRPr sz="2309"/>
            </a:lvl2pPr>
            <a:lvl3pPr>
              <a:lnSpc>
                <a:spcPct val="100000"/>
              </a:lnSpc>
              <a:defRPr sz="2309"/>
            </a:lvl3pPr>
            <a:lvl4pPr>
              <a:lnSpc>
                <a:spcPct val="100000"/>
              </a:lnSpc>
              <a:defRPr sz="2309"/>
            </a:lvl4pPr>
            <a:lvl5pPr>
              <a:lnSpc>
                <a:spcPct val="100000"/>
              </a:lnSpc>
              <a:defRPr sz="1979"/>
            </a:lvl5pPr>
          </a:lstStyle>
          <a:p>
            <a:pPr marL="0" marR="0" lvl="0" indent="0" algn="l" defTabSz="1507846" rtl="0" eaLnBrk="1" fontAlgn="auto" latinLnBrk="0" hangingPunct="1">
              <a:lnSpc>
                <a:spcPct val="100000"/>
              </a:lnSpc>
              <a:spcBef>
                <a:spcPts val="1649"/>
              </a:spcBef>
              <a:spcAft>
                <a:spcPts val="0"/>
              </a:spcAft>
              <a:buClrTx/>
              <a:buSzTx/>
              <a:buFont typeface="Arial" panose="020B0604020202020204" pitchFamily="34" charset="0"/>
              <a:buNone/>
              <a:tabLst/>
              <a:defRPr/>
            </a:pPr>
            <a:r>
              <a:rPr lang="en-US"/>
              <a:t>Click to insert text</a:t>
            </a:r>
          </a:p>
        </p:txBody>
      </p:sp>
      <p:sp>
        <p:nvSpPr>
          <p:cNvPr id="23" name="Chart Placeholder 18">
            <a:extLst>
              <a:ext uri="{FF2B5EF4-FFF2-40B4-BE49-F238E27FC236}">
                <a16:creationId xmlns:a16="http://schemas.microsoft.com/office/drawing/2014/main" id="{1B2F5493-6162-4AC0-BA43-8D7A7C0FA263}"/>
              </a:ext>
            </a:extLst>
          </p:cNvPr>
          <p:cNvSpPr>
            <a:spLocks noGrp="1"/>
          </p:cNvSpPr>
          <p:nvPr>
            <p:ph type="chart" sz="quarter" idx="46"/>
          </p:nvPr>
        </p:nvSpPr>
        <p:spPr>
          <a:xfrm>
            <a:off x="733279" y="2361919"/>
            <a:ext cx="11923570" cy="4057508"/>
          </a:xfrm>
          <a:prstGeom prst="rect">
            <a:avLst/>
          </a:prstGeom>
        </p:spPr>
        <p:txBody>
          <a:bodyPr anchor="ctr"/>
          <a:lstStyle>
            <a:lvl1pPr marL="0" indent="0" algn="ctr">
              <a:buNone/>
              <a:defRPr sz="3298"/>
            </a:lvl1pPr>
          </a:lstStyle>
          <a:p>
            <a:endParaRPr lang="pt-PT"/>
          </a:p>
        </p:txBody>
      </p:sp>
      <p:cxnSp>
        <p:nvCxnSpPr>
          <p:cNvPr id="27"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362232" y="10882253"/>
            <a:ext cx="0" cy="256989"/>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28" name="Rectangle 27">
            <a:hlinkClick r:id="rId4"/>
            <a:extLst>
              <a:ext uri="{FF2B5EF4-FFF2-40B4-BE49-F238E27FC236}">
                <a16:creationId xmlns:a16="http://schemas.microsoft.com/office/drawing/2014/main" id="{F376ABD1-4930-42EB-9A73-9A9C7C6BF2D3}"/>
              </a:ext>
            </a:extLst>
          </p:cNvPr>
          <p:cNvSpPr/>
          <p:nvPr userDrawn="1"/>
        </p:nvSpPr>
        <p:spPr>
          <a:xfrm>
            <a:off x="658187" y="10829493"/>
            <a:ext cx="4664915" cy="362509"/>
          </a:xfrm>
          <a:prstGeom prst="rect">
            <a:avLst/>
          </a:prstGeom>
        </p:spPr>
        <p:txBody>
          <a:bodyPr wrap="square" lIns="0" tIns="0" rIns="0" bIns="0" anchor="ctr" anchorCtr="0">
            <a:noAutofit/>
          </a:bodyPr>
          <a:lstStyle/>
          <a:p>
            <a:pPr lvl="0" algn="l" defTabSz="1507846">
              <a:lnSpc>
                <a:spcPct val="100000"/>
              </a:lnSpc>
              <a:defRPr/>
            </a:pPr>
            <a:r>
              <a:rPr lang="en-US" sz="1319" kern="0">
                <a:solidFill>
                  <a:schemeClr val="tx2"/>
                </a:solidFill>
                <a:latin typeface="+mj-lt"/>
                <a:cs typeface="Arial" panose="020B0604020202020204" pitchFamily="34" charset="0"/>
              </a:rPr>
              <a:t>Presentation Title</a:t>
            </a:r>
          </a:p>
        </p:txBody>
      </p:sp>
      <p:sp>
        <p:nvSpPr>
          <p:cNvPr id="29" name="Rectangle 27">
            <a:hlinkClick r:id="rId4"/>
            <a:extLst>
              <a:ext uri="{FF2B5EF4-FFF2-40B4-BE49-F238E27FC236}">
                <a16:creationId xmlns:a16="http://schemas.microsoft.com/office/drawing/2014/main" id="{F376ABD1-4930-42EB-9A73-9A9C7C6BF2D3}"/>
              </a:ext>
            </a:extLst>
          </p:cNvPr>
          <p:cNvSpPr/>
          <p:nvPr userDrawn="1"/>
        </p:nvSpPr>
        <p:spPr>
          <a:xfrm>
            <a:off x="2601711" y="10829494"/>
            <a:ext cx="1714607" cy="355530"/>
          </a:xfrm>
          <a:prstGeom prst="rect">
            <a:avLst/>
          </a:prstGeom>
        </p:spPr>
        <p:txBody>
          <a:bodyPr wrap="square" lIns="0" tIns="0" rIns="0" bIns="0" anchor="ctr" anchorCtr="0">
            <a:noAutofit/>
          </a:bodyPr>
          <a:lstStyle/>
          <a:p>
            <a:pPr lvl="0" algn="l" defTabSz="1507846">
              <a:lnSpc>
                <a:spcPct val="100000"/>
              </a:lnSpc>
              <a:defRPr/>
            </a:pPr>
            <a:r>
              <a:rPr lang="en-US" sz="1319" kern="0">
                <a:solidFill>
                  <a:schemeClr val="tx1"/>
                </a:solidFill>
                <a:latin typeface="+mj-lt"/>
                <a:cs typeface="Arial" panose="020B0604020202020204" pitchFamily="34" charset="0"/>
              </a:rPr>
              <a:t>Date</a:t>
            </a:r>
          </a:p>
        </p:txBody>
      </p:sp>
      <p:sp>
        <p:nvSpPr>
          <p:cNvPr id="30" name="Retângulo 43">
            <a:extLst>
              <a:ext uri="{FF2B5EF4-FFF2-40B4-BE49-F238E27FC236}">
                <a16:creationId xmlns:a16="http://schemas.microsoft.com/office/drawing/2014/main" id="{834ADCB4-BFB1-450D-8F6D-64217F4CD92C}"/>
              </a:ext>
            </a:extLst>
          </p:cNvPr>
          <p:cNvSpPr/>
          <p:nvPr userDrawn="1"/>
        </p:nvSpPr>
        <p:spPr>
          <a:xfrm>
            <a:off x="3453436" y="10829141"/>
            <a:ext cx="4274077" cy="362509"/>
          </a:xfrm>
          <a:prstGeom prst="rect">
            <a:avLst/>
          </a:prstGeom>
        </p:spPr>
        <p:txBody>
          <a:bodyPr wrap="none" lIns="0" tIns="0" rIns="0" bIns="0" anchor="ctr">
            <a:noAutofit/>
          </a:bodyPr>
          <a:lstStyle/>
          <a:p>
            <a:pPr>
              <a:lnSpc>
                <a:spcPct val="100000"/>
              </a:lnSpc>
            </a:pPr>
            <a:r>
              <a:rPr lang="en-US" sz="1319">
                <a:solidFill>
                  <a:schemeClr val="bg2">
                    <a:lumMod val="50000"/>
                  </a:schemeClr>
                </a:solidFill>
                <a:cs typeface="Arial" panose="020B0604020202020204" pitchFamily="34" charset="0"/>
              </a:rPr>
              <a:t>© 2018 </a:t>
            </a:r>
            <a:r>
              <a:rPr lang="en-US" sz="1319" err="1">
                <a:solidFill>
                  <a:schemeClr val="bg2">
                    <a:lumMod val="50000"/>
                  </a:schemeClr>
                </a:solidFill>
                <a:cs typeface="Arial" panose="020B0604020202020204" pitchFamily="34" charset="0"/>
              </a:rPr>
              <a:t>Sogeti</a:t>
            </a:r>
            <a:r>
              <a:rPr lang="en-US" sz="1319">
                <a:solidFill>
                  <a:schemeClr val="bg2">
                    <a:lumMod val="50000"/>
                  </a:schemeClr>
                </a:solidFill>
                <a:cs typeface="Arial" panose="020B0604020202020204" pitchFamily="34" charset="0"/>
              </a:rPr>
              <a:t>. All rights reserved.</a:t>
            </a:r>
          </a:p>
        </p:txBody>
      </p:sp>
      <p:cxnSp>
        <p:nvCxnSpPr>
          <p:cNvPr id="3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16656" y="10882253"/>
            <a:ext cx="0" cy="256989"/>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28796840"/>
      </p:ext>
    </p:extLst>
  </p:cSld>
  <p:clrMapOvr>
    <a:overrideClrMapping bg1="lt1" tx1="dk1" bg2="lt2" tx2="dk2" accent1="accent1" accent2="accent2" accent3="accent3" accent4="accent4" accent5="accent5" accent6="accent6" hlink="hlink" folHlink="folHlink"/>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7_Text with Shapes - Layout1">
    <p:bg>
      <p:bgRef idx="1001">
        <a:schemeClr val="bg1"/>
      </p:bgRef>
    </p:bg>
    <p:spTree>
      <p:nvGrpSpPr>
        <p:cNvPr id="1" name=""/>
        <p:cNvGrpSpPr/>
        <p:nvPr/>
      </p:nvGrpSpPr>
      <p:grpSpPr>
        <a:xfrm>
          <a:off x="0" y="0"/>
          <a:ext cx="0" cy="0"/>
          <a:chOff x="0" y="0"/>
          <a:chExt cx="0" cy="0"/>
        </a:xfrm>
      </p:grpSpPr>
      <p:sp>
        <p:nvSpPr>
          <p:cNvPr id="16" name="Freeform 15"/>
          <p:cNvSpPr/>
          <p:nvPr userDrawn="1"/>
        </p:nvSpPr>
        <p:spPr>
          <a:xfrm>
            <a:off x="0" y="5035092"/>
            <a:ext cx="16664267" cy="6293309"/>
          </a:xfrm>
          <a:custGeom>
            <a:avLst/>
            <a:gdLst>
              <a:gd name="connsiteX0" fmla="*/ 0 w 10105936"/>
              <a:gd name="connsiteY0" fmla="*/ 0 h 3809851"/>
              <a:gd name="connsiteX1" fmla="*/ 5362334 w 10105936"/>
              <a:gd name="connsiteY1" fmla="*/ 1015711 h 3809851"/>
              <a:gd name="connsiteX2" fmla="*/ 10105936 w 10105936"/>
              <a:gd name="connsiteY2" fmla="*/ 2151930 h 3809851"/>
              <a:gd name="connsiteX3" fmla="*/ 10105936 w 10105936"/>
              <a:gd name="connsiteY3" fmla="*/ 3601192 h 3809851"/>
              <a:gd name="connsiteX4" fmla="*/ 10105936 w 10105936"/>
              <a:gd name="connsiteY4" fmla="*/ 3809851 h 3809851"/>
              <a:gd name="connsiteX5" fmla="*/ 0 w 10105936"/>
              <a:gd name="connsiteY5" fmla="*/ 3809851 h 3809851"/>
              <a:gd name="connsiteX6" fmla="*/ 0 w 10105936"/>
              <a:gd name="connsiteY6" fmla="*/ 3761009 h 3809851"/>
              <a:gd name="connsiteX7" fmla="*/ 0 w 10105936"/>
              <a:gd name="connsiteY7" fmla="*/ 0 h 3809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05936" h="3809851">
                <a:moveTo>
                  <a:pt x="0" y="0"/>
                </a:moveTo>
                <a:cubicBezTo>
                  <a:pt x="137496" y="17215"/>
                  <a:pt x="3832694" y="688618"/>
                  <a:pt x="5362334" y="1015711"/>
                </a:cubicBezTo>
                <a:cubicBezTo>
                  <a:pt x="7098217" y="1377235"/>
                  <a:pt x="8679418" y="1755975"/>
                  <a:pt x="10105936" y="2151930"/>
                </a:cubicBezTo>
                <a:cubicBezTo>
                  <a:pt x="10105936" y="2151930"/>
                  <a:pt x="10105936" y="2151930"/>
                  <a:pt x="10105936" y="3601192"/>
                </a:cubicBezTo>
                <a:lnTo>
                  <a:pt x="10105936" y="3809851"/>
                </a:lnTo>
                <a:lnTo>
                  <a:pt x="0" y="3809851"/>
                </a:lnTo>
                <a:lnTo>
                  <a:pt x="0" y="3761009"/>
                </a:lnTo>
                <a:cubicBezTo>
                  <a:pt x="0" y="2691837"/>
                  <a:pt x="0" y="1447711"/>
                  <a:pt x="0"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09">
              <a:solidFill>
                <a:schemeClr val="tx1"/>
              </a:solidFill>
            </a:endParaRP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672755" y="668691"/>
            <a:ext cx="16266110" cy="1426539"/>
          </a:xfrm>
          <a:prstGeom prst="rect">
            <a:avLst/>
          </a:prstGeom>
        </p:spPr>
        <p:txBody>
          <a:bodyPr vert="horz" lIns="0" tIns="0" rIns="0" bIns="0" rtlCol="0" anchor="t">
            <a:normAutofit/>
          </a:bodyPr>
          <a:lstStyle>
            <a:lvl1pPr>
              <a:defRPr lang="pt-PT" dirty="0"/>
            </a:lvl1pPr>
          </a:lstStyle>
          <a:p>
            <a:pPr lvl="0">
              <a:lnSpc>
                <a:spcPts val="4947"/>
              </a:lnSpc>
            </a:pPr>
            <a:r>
              <a:rPr lang="en-US"/>
              <a:t>Click to add title</a:t>
            </a:r>
            <a:endParaRPr lang="pt-PT"/>
          </a:p>
        </p:txBody>
      </p:sp>
      <p:sp>
        <p:nvSpPr>
          <p:cNvPr id="9" name="Retângulo 43">
            <a:extLst>
              <a:ext uri="{FF2B5EF4-FFF2-40B4-BE49-F238E27FC236}">
                <a16:creationId xmlns:a16="http://schemas.microsoft.com/office/drawing/2014/main" id="{25FC8637-25BD-4C09-AF25-56B4243DAB3D}"/>
              </a:ext>
            </a:extLst>
          </p:cNvPr>
          <p:cNvSpPr/>
          <p:nvPr userDrawn="1"/>
        </p:nvSpPr>
        <p:spPr>
          <a:xfrm>
            <a:off x="19349792" y="10829142"/>
            <a:ext cx="481221" cy="295337"/>
          </a:xfrm>
          <a:prstGeom prst="rect">
            <a:avLst/>
          </a:prstGeom>
        </p:spPr>
        <p:txBody>
          <a:bodyPr wrap="none">
            <a:spAutoFit/>
          </a:bodyPr>
          <a:lstStyle/>
          <a:p>
            <a:pPr algn="r"/>
            <a:fld id="{0502E5A9-B53C-401E-A0E0-4A359BB0A9E5}" type="slidenum">
              <a:rPr lang="en-US" sz="1319" smtClean="0">
                <a:solidFill>
                  <a:prstClr val="black">
                    <a:lumMod val="50000"/>
                    <a:lumOff val="50000"/>
                  </a:prstClr>
                </a:solidFill>
                <a:cs typeface="Arial" panose="020B0604020202020204" pitchFamily="34" charset="0"/>
              </a:rPr>
              <a:t>‹#›</a:t>
            </a:fld>
            <a:endParaRPr lang="en-US" sz="1319">
              <a:solidFill>
                <a:prstClr val="black">
                  <a:lumMod val="50000"/>
                  <a:lumOff val="50000"/>
                </a:prstClr>
              </a:solidFill>
              <a:cs typeface="Arial" panose="020B0604020202020204" pitchFamily="34" charset="0"/>
            </a:endParaRPr>
          </a:p>
        </p:txBody>
      </p:sp>
    </p:spTree>
    <p:extLst>
      <p:ext uri="{BB962C8B-B14F-4D97-AF65-F5344CB8AC3E}">
        <p14:creationId xmlns:p14="http://schemas.microsoft.com/office/powerpoint/2010/main" val="772009666"/>
      </p:ext>
    </p:extLst>
  </p:cSld>
  <p:clrMapOvr>
    <a:overrideClrMapping bg1="lt1" tx1="dk1" bg2="lt2" tx2="dk2" accent1="accent1" accent2="accent2" accent3="accent3" accent4="accent4" accent5="accent5" accent6="accent6" hlink="hlink" folHlink="folHlink"/>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8_Text with Shapes - Layout1">
    <p:bg>
      <p:bgRef idx="1001">
        <a:schemeClr val="bg1"/>
      </p:bgRef>
    </p:bg>
    <p:spTree>
      <p:nvGrpSpPr>
        <p:cNvPr id="1" name=""/>
        <p:cNvGrpSpPr/>
        <p:nvPr/>
      </p:nvGrpSpPr>
      <p:grpSpPr>
        <a:xfrm>
          <a:off x="0" y="0"/>
          <a:ext cx="0" cy="0"/>
          <a:chOff x="0" y="0"/>
          <a:chExt cx="0" cy="0"/>
        </a:xfrm>
      </p:grpSpPr>
      <p:sp>
        <p:nvSpPr>
          <p:cNvPr id="22" name="Freeform 21"/>
          <p:cNvSpPr/>
          <p:nvPr userDrawn="1"/>
        </p:nvSpPr>
        <p:spPr>
          <a:xfrm>
            <a:off x="-15156" y="0"/>
            <a:ext cx="13284498" cy="11328400"/>
          </a:xfrm>
          <a:custGeom>
            <a:avLst/>
            <a:gdLst>
              <a:gd name="connsiteX0" fmla="*/ 0 w 8056297"/>
              <a:gd name="connsiteY0" fmla="*/ 0 h 6858000"/>
              <a:gd name="connsiteX1" fmla="*/ 8056297 w 8056297"/>
              <a:gd name="connsiteY1" fmla="*/ 0 h 6858000"/>
              <a:gd name="connsiteX2" fmla="*/ 8056297 w 8056297"/>
              <a:gd name="connsiteY2" fmla="*/ 223850 h 6858000"/>
              <a:gd name="connsiteX3" fmla="*/ 8056297 w 8056297"/>
              <a:gd name="connsiteY3" fmla="*/ 6587097 h 6858000"/>
              <a:gd name="connsiteX4" fmla="*/ 8056297 w 8056297"/>
              <a:gd name="connsiteY4" fmla="*/ 6858000 h 6858000"/>
              <a:gd name="connsiteX5" fmla="*/ 3114070 w 8056297"/>
              <a:gd name="connsiteY5" fmla="*/ 6858000 h 6858000"/>
              <a:gd name="connsiteX6" fmla="*/ 2935863 w 8056297"/>
              <a:gd name="connsiteY6" fmla="*/ 6807788 h 6858000"/>
              <a:gd name="connsiteX7" fmla="*/ 0 w 8056297"/>
              <a:gd name="connsiteY7" fmla="*/ 2811350 h 6858000"/>
              <a:gd name="connsiteX8" fmla="*/ 0 w 8056297"/>
              <a:gd name="connsiteY8" fmla="*/ 126445 h 6858000"/>
              <a:gd name="connsiteX9" fmla="*/ 0 w 8056297"/>
              <a:gd name="connsiteY9"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56297" h="6858000">
                <a:moveTo>
                  <a:pt x="0" y="0"/>
                </a:moveTo>
                <a:lnTo>
                  <a:pt x="8056297" y="0"/>
                </a:lnTo>
                <a:lnTo>
                  <a:pt x="8056297" y="223850"/>
                </a:lnTo>
                <a:cubicBezTo>
                  <a:pt x="8056297" y="1771667"/>
                  <a:pt x="8056297" y="3835422"/>
                  <a:pt x="8056297" y="6587097"/>
                </a:cubicBezTo>
                <a:lnTo>
                  <a:pt x="8056297" y="6858000"/>
                </a:lnTo>
                <a:lnTo>
                  <a:pt x="3114070" y="6858000"/>
                </a:lnTo>
                <a:lnTo>
                  <a:pt x="2935863" y="6807788"/>
                </a:lnTo>
                <a:cubicBezTo>
                  <a:pt x="1205245" y="6277787"/>
                  <a:pt x="0" y="4673939"/>
                  <a:pt x="0" y="2811350"/>
                </a:cubicBezTo>
                <a:cubicBezTo>
                  <a:pt x="0" y="2811350"/>
                  <a:pt x="0" y="2811350"/>
                  <a:pt x="0" y="126445"/>
                </a:cubicBez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09">
              <a:solidFill>
                <a:schemeClr val="tx1"/>
              </a:solidFill>
            </a:endParaRP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672755" y="668691"/>
            <a:ext cx="16266110" cy="1426539"/>
          </a:xfrm>
          <a:prstGeom prst="rect">
            <a:avLst/>
          </a:prstGeom>
        </p:spPr>
        <p:txBody>
          <a:bodyPr vert="horz" lIns="0" tIns="0" rIns="0" bIns="0" rtlCol="0" anchor="t">
            <a:normAutofit/>
          </a:bodyPr>
          <a:lstStyle>
            <a:lvl1pPr>
              <a:defRPr lang="pt-PT" dirty="0">
                <a:solidFill>
                  <a:schemeClr val="bg1"/>
                </a:solidFill>
              </a:defRPr>
            </a:lvl1pPr>
          </a:lstStyle>
          <a:p>
            <a:pPr lvl="0">
              <a:lnSpc>
                <a:spcPts val="4947"/>
              </a:lnSpc>
            </a:pPr>
            <a:r>
              <a:rPr lang="en-US"/>
              <a:t>Click to add title</a:t>
            </a:r>
            <a:endParaRPr lang="pt-PT"/>
          </a:p>
        </p:txBody>
      </p:sp>
      <p:sp>
        <p:nvSpPr>
          <p:cNvPr id="13" name="Picture Placeholder 48">
            <a:extLst>
              <a:ext uri="{FF2B5EF4-FFF2-40B4-BE49-F238E27FC236}">
                <a16:creationId xmlns:a16="http://schemas.microsoft.com/office/drawing/2014/main" id="{4212BD44-DEDF-4B08-8824-204652F9616E}"/>
              </a:ext>
            </a:extLst>
          </p:cNvPr>
          <p:cNvSpPr>
            <a:spLocks noGrp="1"/>
          </p:cNvSpPr>
          <p:nvPr>
            <p:ph type="pic" sz="quarter" idx="10"/>
          </p:nvPr>
        </p:nvSpPr>
        <p:spPr>
          <a:xfrm>
            <a:off x="709197" y="2333861"/>
            <a:ext cx="10389704" cy="4497271"/>
          </a:xfrm>
          <a:prstGeom prst="rect">
            <a:avLst/>
          </a:prstGeom>
        </p:spPr>
        <p:txBody>
          <a:bodyPr anchor="ctr"/>
          <a:lstStyle>
            <a:lvl1pPr algn="ctr">
              <a:defRPr/>
            </a:lvl1pPr>
          </a:lstStyle>
          <a:p>
            <a:endParaRPr lang="pt-PT"/>
          </a:p>
        </p:txBody>
      </p:sp>
      <p:sp>
        <p:nvSpPr>
          <p:cNvPr id="16" name="Text Placeholder 7">
            <a:extLst>
              <a:ext uri="{FF2B5EF4-FFF2-40B4-BE49-F238E27FC236}">
                <a16:creationId xmlns:a16="http://schemas.microsoft.com/office/drawing/2014/main" id="{4E956B68-B273-4648-AC4B-C9A05A745160}"/>
              </a:ext>
            </a:extLst>
          </p:cNvPr>
          <p:cNvSpPr>
            <a:spLocks noGrp="1"/>
          </p:cNvSpPr>
          <p:nvPr>
            <p:ph type="body" sz="quarter" idx="33" hasCustomPrompt="1"/>
          </p:nvPr>
        </p:nvSpPr>
        <p:spPr>
          <a:xfrm>
            <a:off x="3392567" y="7426396"/>
            <a:ext cx="7706334" cy="3233315"/>
          </a:xfrm>
          <a:prstGeom prst="rect">
            <a:avLst/>
          </a:prstGeom>
        </p:spPr>
        <p:txBody>
          <a:bodyPr wrap="square" anchor="t" anchorCtr="0">
            <a:noAutofit/>
          </a:bodyPr>
          <a:lstStyle>
            <a:lvl1pPr marL="0" marR="0" indent="0" algn="l" defTabSz="1507846" rtl="0" eaLnBrk="1" fontAlgn="auto" latinLnBrk="0" hangingPunct="1">
              <a:lnSpc>
                <a:spcPct val="100000"/>
              </a:lnSpc>
              <a:spcBef>
                <a:spcPts val="1649"/>
              </a:spcBef>
              <a:spcAft>
                <a:spcPts val="0"/>
              </a:spcAft>
              <a:buClrTx/>
              <a:buSzTx/>
              <a:buFont typeface="Arial" panose="020B0604020202020204" pitchFamily="34" charset="0"/>
              <a:buNone/>
              <a:tabLst/>
              <a:defRPr sz="2309" b="0">
                <a:solidFill>
                  <a:schemeClr val="bg1"/>
                </a:solidFill>
              </a:defRPr>
            </a:lvl1pPr>
            <a:lvl2pPr>
              <a:lnSpc>
                <a:spcPct val="100000"/>
              </a:lnSpc>
              <a:defRPr sz="2309"/>
            </a:lvl2pPr>
            <a:lvl3pPr>
              <a:lnSpc>
                <a:spcPct val="100000"/>
              </a:lnSpc>
              <a:defRPr sz="2309"/>
            </a:lvl3pPr>
            <a:lvl4pPr>
              <a:lnSpc>
                <a:spcPct val="100000"/>
              </a:lnSpc>
              <a:defRPr sz="2309"/>
            </a:lvl4pPr>
            <a:lvl5pPr>
              <a:lnSpc>
                <a:spcPct val="100000"/>
              </a:lnSpc>
              <a:defRPr sz="1979"/>
            </a:lvl5pPr>
          </a:lstStyle>
          <a:p>
            <a:pPr marL="0" marR="0" lvl="0" indent="0" algn="l" defTabSz="1507846" rtl="0" eaLnBrk="1" fontAlgn="auto" latinLnBrk="0" hangingPunct="1">
              <a:lnSpc>
                <a:spcPct val="100000"/>
              </a:lnSpc>
              <a:spcBef>
                <a:spcPts val="1649"/>
              </a:spcBef>
              <a:spcAft>
                <a:spcPts val="0"/>
              </a:spcAft>
              <a:buClrTx/>
              <a:buSzTx/>
              <a:buFont typeface="Arial" panose="020B0604020202020204" pitchFamily="34" charset="0"/>
              <a:buNone/>
              <a:tabLst/>
              <a:defRPr/>
            </a:pPr>
            <a:r>
              <a:rPr lang="en-US"/>
              <a:t>Click to insert text</a:t>
            </a:r>
          </a:p>
        </p:txBody>
      </p:sp>
      <p:sp>
        <p:nvSpPr>
          <p:cNvPr id="19" name="Text Placeholder 7">
            <a:extLst>
              <a:ext uri="{FF2B5EF4-FFF2-40B4-BE49-F238E27FC236}">
                <a16:creationId xmlns:a16="http://schemas.microsoft.com/office/drawing/2014/main" id="{4E956B68-B273-4648-AC4B-C9A05A745160}"/>
              </a:ext>
            </a:extLst>
          </p:cNvPr>
          <p:cNvSpPr>
            <a:spLocks noGrp="1"/>
          </p:cNvSpPr>
          <p:nvPr>
            <p:ph type="body" sz="quarter" idx="34" hasCustomPrompt="1"/>
          </p:nvPr>
        </p:nvSpPr>
        <p:spPr>
          <a:xfrm>
            <a:off x="13490987" y="2924946"/>
            <a:ext cx="5940359" cy="2109899"/>
          </a:xfrm>
          <a:prstGeom prst="rect">
            <a:avLst/>
          </a:prstGeom>
        </p:spPr>
        <p:txBody>
          <a:bodyPr wrap="square" anchor="t" anchorCtr="0">
            <a:noAutofit/>
          </a:bodyPr>
          <a:lstStyle>
            <a:lvl1pPr marL="0" marR="0" indent="0" algn="l" defTabSz="1507846" rtl="0" eaLnBrk="1" fontAlgn="auto" latinLnBrk="0" hangingPunct="1">
              <a:lnSpc>
                <a:spcPct val="100000"/>
              </a:lnSpc>
              <a:spcBef>
                <a:spcPts val="1649"/>
              </a:spcBef>
              <a:spcAft>
                <a:spcPts val="0"/>
              </a:spcAft>
              <a:buClrTx/>
              <a:buSzTx/>
              <a:buFont typeface="Arial" panose="020B0604020202020204" pitchFamily="34" charset="0"/>
              <a:buNone/>
              <a:tabLst/>
              <a:defRPr sz="1649" b="0">
                <a:solidFill>
                  <a:schemeClr val="tx1"/>
                </a:solidFill>
              </a:defRPr>
            </a:lvl1pPr>
            <a:lvl2pPr>
              <a:lnSpc>
                <a:spcPct val="100000"/>
              </a:lnSpc>
              <a:defRPr sz="2309"/>
            </a:lvl2pPr>
            <a:lvl3pPr>
              <a:lnSpc>
                <a:spcPct val="100000"/>
              </a:lnSpc>
              <a:defRPr sz="2309"/>
            </a:lvl3pPr>
            <a:lvl4pPr>
              <a:lnSpc>
                <a:spcPct val="100000"/>
              </a:lnSpc>
              <a:defRPr sz="2309"/>
            </a:lvl4pPr>
            <a:lvl5pPr>
              <a:lnSpc>
                <a:spcPct val="100000"/>
              </a:lnSpc>
              <a:defRPr sz="1979"/>
            </a:lvl5pPr>
          </a:lstStyle>
          <a:p>
            <a:pPr marL="0" marR="0" lvl="0" indent="0" algn="l" defTabSz="1507846" rtl="0" eaLnBrk="1" fontAlgn="auto" latinLnBrk="0" hangingPunct="1">
              <a:lnSpc>
                <a:spcPct val="100000"/>
              </a:lnSpc>
              <a:spcBef>
                <a:spcPts val="1649"/>
              </a:spcBef>
              <a:spcAft>
                <a:spcPts val="0"/>
              </a:spcAft>
              <a:buClrTx/>
              <a:buSzTx/>
              <a:buFont typeface="Arial" panose="020B0604020202020204" pitchFamily="34" charset="0"/>
              <a:buNone/>
              <a:tabLst/>
              <a:defRPr/>
            </a:pPr>
            <a:r>
              <a:rPr lang="en-US"/>
              <a:t>Click to insert text</a:t>
            </a:r>
          </a:p>
        </p:txBody>
      </p:sp>
      <p:sp>
        <p:nvSpPr>
          <p:cNvPr id="20" name="Text Placeholder 7">
            <a:extLst>
              <a:ext uri="{FF2B5EF4-FFF2-40B4-BE49-F238E27FC236}">
                <a16:creationId xmlns:a16="http://schemas.microsoft.com/office/drawing/2014/main" id="{4E956B68-B273-4648-AC4B-C9A05A745160}"/>
              </a:ext>
            </a:extLst>
          </p:cNvPr>
          <p:cNvSpPr>
            <a:spLocks noGrp="1"/>
          </p:cNvSpPr>
          <p:nvPr>
            <p:ph type="body" sz="quarter" idx="35" hasCustomPrompt="1"/>
          </p:nvPr>
        </p:nvSpPr>
        <p:spPr>
          <a:xfrm>
            <a:off x="13490987" y="2352433"/>
            <a:ext cx="5940359" cy="512993"/>
          </a:xfrm>
          <a:prstGeom prst="rect">
            <a:avLst/>
          </a:prstGeom>
        </p:spPr>
        <p:txBody>
          <a:bodyPr wrap="square" anchor="t" anchorCtr="0">
            <a:noAutofit/>
          </a:bodyPr>
          <a:lstStyle>
            <a:lvl1pPr marL="0" marR="0" indent="0" algn="l" defTabSz="1507846" rtl="0" eaLnBrk="1" fontAlgn="auto" latinLnBrk="0" hangingPunct="1">
              <a:lnSpc>
                <a:spcPct val="100000"/>
              </a:lnSpc>
              <a:spcBef>
                <a:spcPts val="1649"/>
              </a:spcBef>
              <a:spcAft>
                <a:spcPts val="0"/>
              </a:spcAft>
              <a:buClrTx/>
              <a:buSzTx/>
              <a:buFont typeface="Arial" panose="020B0604020202020204" pitchFamily="34" charset="0"/>
              <a:buNone/>
              <a:tabLst/>
              <a:defRPr sz="2309" b="1">
                <a:solidFill>
                  <a:schemeClr val="accent1"/>
                </a:solidFill>
              </a:defRPr>
            </a:lvl1pPr>
            <a:lvl2pPr>
              <a:lnSpc>
                <a:spcPct val="100000"/>
              </a:lnSpc>
              <a:defRPr sz="2309"/>
            </a:lvl2pPr>
            <a:lvl3pPr>
              <a:lnSpc>
                <a:spcPct val="100000"/>
              </a:lnSpc>
              <a:defRPr sz="2309"/>
            </a:lvl3pPr>
            <a:lvl4pPr>
              <a:lnSpc>
                <a:spcPct val="100000"/>
              </a:lnSpc>
              <a:defRPr sz="2309"/>
            </a:lvl4pPr>
            <a:lvl5pPr>
              <a:lnSpc>
                <a:spcPct val="100000"/>
              </a:lnSpc>
              <a:defRPr sz="1979"/>
            </a:lvl5pPr>
          </a:lstStyle>
          <a:p>
            <a:pPr marL="0" marR="0" lvl="0" indent="0" algn="l" defTabSz="1507846" rtl="0" eaLnBrk="1" fontAlgn="auto" latinLnBrk="0" hangingPunct="1">
              <a:lnSpc>
                <a:spcPct val="100000"/>
              </a:lnSpc>
              <a:spcBef>
                <a:spcPts val="1649"/>
              </a:spcBef>
              <a:spcAft>
                <a:spcPts val="0"/>
              </a:spcAft>
              <a:buClrTx/>
              <a:buSzTx/>
              <a:buFont typeface="Arial" panose="020B0604020202020204" pitchFamily="34" charset="0"/>
              <a:buNone/>
              <a:tabLst/>
              <a:defRPr/>
            </a:pPr>
            <a:r>
              <a:rPr lang="en-US"/>
              <a:t>Click to insert text</a:t>
            </a:r>
          </a:p>
        </p:txBody>
      </p:sp>
    </p:spTree>
    <p:extLst>
      <p:ext uri="{BB962C8B-B14F-4D97-AF65-F5344CB8AC3E}">
        <p14:creationId xmlns:p14="http://schemas.microsoft.com/office/powerpoint/2010/main" val="1989339887"/>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id="{D3FE3329-8767-8BEA-16AF-62876F7BEDE3}"/>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350" y="0"/>
            <a:ext cx="20110450" cy="11379200"/>
          </a:xfrm>
          <a:prstGeom prst="rect">
            <a:avLst/>
          </a:prstGeom>
        </p:spPr>
      </p:pic>
      <p:sp>
        <p:nvSpPr>
          <p:cNvPr id="4" name="Holder 4"/>
          <p:cNvSpPr>
            <a:spLocks noGrp="1"/>
          </p:cNvSpPr>
          <p:nvPr>
            <p:ph type="ftr" sz="quarter" idx="5"/>
          </p:nvPr>
        </p:nvSpPr>
        <p:spPr>
          <a:xfrm>
            <a:off x="16647741" y="10759212"/>
            <a:ext cx="2962677" cy="200055"/>
          </a:xfrm>
          <a:prstGeom prst="rect">
            <a:avLst/>
          </a:prstGeom>
        </p:spPr>
        <p:txBody>
          <a:bodyPr lIns="0" tIns="0" rIns="0" bIns="0"/>
          <a:lstStyle>
            <a:lvl1pPr>
              <a:defRPr sz="1300" b="0" i="0">
                <a:solidFill>
                  <a:schemeClr val="bg1"/>
                </a:solidFill>
                <a:latin typeface="Ubuntu Light"/>
                <a:cs typeface="Ubuntu Light"/>
              </a:defRPr>
            </a:lvl1pPr>
          </a:lstStyle>
          <a:p>
            <a:pPr marL="26034">
              <a:spcBef>
                <a:spcPts val="30"/>
              </a:spcBef>
            </a:pPr>
            <a:r>
              <a:rPr lang="es-ES" err="1"/>
              <a:t>Public</a:t>
            </a:r>
            <a:r>
              <a:rPr lang="es-ES" spc="-40"/>
              <a:t> </a:t>
            </a:r>
            <a:r>
              <a:rPr lang="es-ES"/>
              <a:t>©</a:t>
            </a:r>
            <a:r>
              <a:rPr lang="es-ES" spc="-40"/>
              <a:t> </a:t>
            </a:r>
            <a:r>
              <a:rPr lang="es-ES"/>
              <a:t>2023</a:t>
            </a:r>
            <a:r>
              <a:rPr lang="es-ES" spc="-40"/>
              <a:t> </a:t>
            </a:r>
            <a:r>
              <a:rPr lang="es-ES" spc="-10"/>
              <a:t>Sogeti.</a:t>
            </a:r>
            <a:r>
              <a:rPr lang="es-ES" spc="-35"/>
              <a:t> </a:t>
            </a:r>
            <a:r>
              <a:rPr lang="es-ES" err="1"/>
              <a:t>All</a:t>
            </a:r>
            <a:r>
              <a:rPr lang="es-ES" spc="-40"/>
              <a:t> </a:t>
            </a:r>
            <a:r>
              <a:rPr lang="es-ES" err="1"/>
              <a:t>rights</a:t>
            </a:r>
            <a:r>
              <a:rPr lang="es-ES" spc="-40"/>
              <a:t> </a:t>
            </a:r>
            <a:r>
              <a:rPr lang="es-ES" spc="-10" err="1"/>
              <a:t>reserved</a:t>
            </a:r>
            <a:endParaRPr lang="es-ES" spc="-10"/>
          </a:p>
        </p:txBody>
      </p:sp>
      <p:sp>
        <p:nvSpPr>
          <p:cNvPr id="2" name="CuadroTexto 1">
            <a:extLst>
              <a:ext uri="{FF2B5EF4-FFF2-40B4-BE49-F238E27FC236}">
                <a16:creationId xmlns:a16="http://schemas.microsoft.com/office/drawing/2014/main" id="{72E5CF79-7DA3-E21E-3060-87CB44907F25}"/>
              </a:ext>
            </a:extLst>
          </p:cNvPr>
          <p:cNvSpPr txBox="1"/>
          <p:nvPr userDrawn="1"/>
        </p:nvSpPr>
        <p:spPr>
          <a:xfrm>
            <a:off x="755650" y="10845800"/>
            <a:ext cx="7772400" cy="292388"/>
          </a:xfrm>
          <a:prstGeom prst="rect">
            <a:avLst/>
          </a:prstGeom>
          <a:noFill/>
        </p:spPr>
        <p:txBody>
          <a:bodyPr wrap="square" rtlCol="0">
            <a:spAutoFit/>
          </a:bodyPr>
          <a:lstStyle/>
          <a:p>
            <a:r>
              <a:rPr lang="es-ES" sz="1300" b="0" i="0">
                <a:solidFill>
                  <a:schemeClr val="bg1"/>
                </a:solidFill>
                <a:latin typeface="Ubuntu Medium" panose="020B0504030602030204" pitchFamily="34" charset="0"/>
              </a:rPr>
              <a:t>#FlourishingDigitalBusinessWithQuality </a:t>
            </a:r>
            <a:r>
              <a:rPr lang="es-ES" sz="1300" b="1" i="0">
                <a:solidFill>
                  <a:schemeClr val="bg1"/>
                </a:solidFill>
                <a:latin typeface="Ubuntu" panose="020B0504030602030204" pitchFamily="34" charset="0"/>
              </a:rPr>
              <a:t> </a:t>
            </a:r>
            <a:r>
              <a:rPr lang="es-ES" sz="1300" b="1" i="0">
                <a:solidFill>
                  <a:srgbClr val="290E3B"/>
                </a:solidFill>
                <a:latin typeface="Ubuntu" panose="020B0504030602030204" pitchFamily="34" charset="0"/>
              </a:rPr>
              <a:t>·</a:t>
            </a:r>
            <a:r>
              <a:rPr lang="es-ES" sz="1300" b="0" i="0">
                <a:solidFill>
                  <a:schemeClr val="tx2"/>
                </a:solidFill>
                <a:latin typeface="Ubuntu Medium" panose="020B0504030602030204" pitchFamily="34" charset="0"/>
              </a:rPr>
              <a:t>   </a:t>
            </a:r>
            <a:r>
              <a:rPr lang="es-ES" sz="1300" b="1" i="0">
                <a:solidFill>
                  <a:schemeClr val="bg1"/>
                </a:solidFill>
                <a:latin typeface="Ubuntu" panose="020B0504030602030204" pitchFamily="34" charset="0"/>
              </a:rPr>
              <a:t>Sogeti España</a:t>
            </a:r>
          </a:p>
        </p:txBody>
      </p:sp>
      <p:sp>
        <p:nvSpPr>
          <p:cNvPr id="5" name="Forma libre 4">
            <a:extLst>
              <a:ext uri="{FF2B5EF4-FFF2-40B4-BE49-F238E27FC236}">
                <a16:creationId xmlns:a16="http://schemas.microsoft.com/office/drawing/2014/main" id="{FBAABD7F-C513-9B40-6AE2-E43DB3944CCE}"/>
              </a:ext>
            </a:extLst>
          </p:cNvPr>
          <p:cNvSpPr/>
          <p:nvPr userDrawn="1"/>
        </p:nvSpPr>
        <p:spPr>
          <a:xfrm flipV="1">
            <a:off x="755650" y="10384024"/>
            <a:ext cx="2362200" cy="385576"/>
          </a:xfrm>
          <a:custGeom>
            <a:avLst/>
            <a:gdLst/>
            <a:ahLst/>
            <a:cxnLst/>
            <a:rect l="l" t="t" r="r" b="b"/>
            <a:pathLst>
              <a:path w="4876802" h="796029">
                <a:moveTo>
                  <a:pt x="2572782" y="405299"/>
                </a:moveTo>
                <a:cubicBezTo>
                  <a:pt x="2589609" y="405299"/>
                  <a:pt x="2601809" y="398820"/>
                  <a:pt x="2609382" y="385863"/>
                </a:cubicBezTo>
                <a:cubicBezTo>
                  <a:pt x="2616954" y="372906"/>
                  <a:pt x="2620740" y="355826"/>
                  <a:pt x="2620740" y="334623"/>
                </a:cubicBezTo>
                <a:cubicBezTo>
                  <a:pt x="2620740" y="313420"/>
                  <a:pt x="2616618" y="296256"/>
                  <a:pt x="2608372" y="283131"/>
                </a:cubicBezTo>
                <a:cubicBezTo>
                  <a:pt x="2600126" y="270006"/>
                  <a:pt x="2587927" y="263443"/>
                  <a:pt x="2571772" y="263443"/>
                </a:cubicBezTo>
                <a:cubicBezTo>
                  <a:pt x="2554945" y="263443"/>
                  <a:pt x="2542744" y="270006"/>
                  <a:pt x="2535172" y="283131"/>
                </a:cubicBezTo>
                <a:cubicBezTo>
                  <a:pt x="2527600" y="296256"/>
                  <a:pt x="2523814" y="313420"/>
                  <a:pt x="2523814" y="334623"/>
                </a:cubicBezTo>
                <a:cubicBezTo>
                  <a:pt x="2523814" y="355826"/>
                  <a:pt x="2527937" y="372906"/>
                  <a:pt x="2536182" y="385863"/>
                </a:cubicBezTo>
                <a:cubicBezTo>
                  <a:pt x="2544428" y="398820"/>
                  <a:pt x="2556628" y="405299"/>
                  <a:pt x="2572782" y="405299"/>
                </a:cubicBezTo>
                <a:close/>
                <a:moveTo>
                  <a:pt x="1810782" y="405299"/>
                </a:moveTo>
                <a:cubicBezTo>
                  <a:pt x="1827610" y="405299"/>
                  <a:pt x="1839810" y="398820"/>
                  <a:pt x="1847382" y="385863"/>
                </a:cubicBezTo>
                <a:cubicBezTo>
                  <a:pt x="1854954" y="372906"/>
                  <a:pt x="1858740" y="355826"/>
                  <a:pt x="1858740" y="334623"/>
                </a:cubicBezTo>
                <a:cubicBezTo>
                  <a:pt x="1858740" y="313420"/>
                  <a:pt x="1854618" y="296256"/>
                  <a:pt x="1846372" y="283131"/>
                </a:cubicBezTo>
                <a:cubicBezTo>
                  <a:pt x="1838127" y="270006"/>
                  <a:pt x="1825927" y="263443"/>
                  <a:pt x="1809772" y="263443"/>
                </a:cubicBezTo>
                <a:cubicBezTo>
                  <a:pt x="1792945" y="263443"/>
                  <a:pt x="1780745" y="270006"/>
                  <a:pt x="1773173" y="283131"/>
                </a:cubicBezTo>
                <a:cubicBezTo>
                  <a:pt x="1765600" y="296256"/>
                  <a:pt x="1761814" y="313420"/>
                  <a:pt x="1761814" y="334623"/>
                </a:cubicBezTo>
                <a:cubicBezTo>
                  <a:pt x="1761814" y="355826"/>
                  <a:pt x="1765937" y="372906"/>
                  <a:pt x="1774182" y="385863"/>
                </a:cubicBezTo>
                <a:cubicBezTo>
                  <a:pt x="1782428" y="398820"/>
                  <a:pt x="1794628" y="405299"/>
                  <a:pt x="1810782" y="405299"/>
                </a:cubicBezTo>
                <a:close/>
                <a:moveTo>
                  <a:pt x="810657" y="405299"/>
                </a:moveTo>
                <a:cubicBezTo>
                  <a:pt x="827485" y="405299"/>
                  <a:pt x="839684" y="398820"/>
                  <a:pt x="847257" y="385863"/>
                </a:cubicBezTo>
                <a:cubicBezTo>
                  <a:pt x="854829" y="372906"/>
                  <a:pt x="858615" y="355826"/>
                  <a:pt x="858616" y="334623"/>
                </a:cubicBezTo>
                <a:cubicBezTo>
                  <a:pt x="858615" y="313420"/>
                  <a:pt x="854493" y="296256"/>
                  <a:pt x="846247" y="283131"/>
                </a:cubicBezTo>
                <a:cubicBezTo>
                  <a:pt x="838002" y="270006"/>
                  <a:pt x="825802" y="263443"/>
                  <a:pt x="809647" y="263443"/>
                </a:cubicBezTo>
                <a:cubicBezTo>
                  <a:pt x="792820" y="263443"/>
                  <a:pt x="780620" y="270006"/>
                  <a:pt x="773048" y="283131"/>
                </a:cubicBezTo>
                <a:cubicBezTo>
                  <a:pt x="765475" y="296256"/>
                  <a:pt x="761689" y="313420"/>
                  <a:pt x="761689" y="334623"/>
                </a:cubicBezTo>
                <a:cubicBezTo>
                  <a:pt x="761689" y="355826"/>
                  <a:pt x="765812" y="372906"/>
                  <a:pt x="774057" y="385863"/>
                </a:cubicBezTo>
                <a:cubicBezTo>
                  <a:pt x="782303" y="398820"/>
                  <a:pt x="794503" y="405299"/>
                  <a:pt x="810657" y="405299"/>
                </a:cubicBezTo>
                <a:close/>
                <a:moveTo>
                  <a:pt x="3325256" y="411861"/>
                </a:moveTo>
                <a:cubicBezTo>
                  <a:pt x="3316506" y="411861"/>
                  <a:pt x="3309608" y="408496"/>
                  <a:pt x="3304560" y="401765"/>
                </a:cubicBezTo>
                <a:cubicBezTo>
                  <a:pt x="3299512" y="395034"/>
                  <a:pt x="3296988" y="387125"/>
                  <a:pt x="3296988" y="378038"/>
                </a:cubicBezTo>
                <a:cubicBezTo>
                  <a:pt x="3296988" y="368951"/>
                  <a:pt x="3299512" y="361126"/>
                  <a:pt x="3304560" y="354564"/>
                </a:cubicBezTo>
                <a:cubicBezTo>
                  <a:pt x="3309608" y="348001"/>
                  <a:pt x="3316506" y="344720"/>
                  <a:pt x="3325256" y="344720"/>
                </a:cubicBezTo>
                <a:cubicBezTo>
                  <a:pt x="3333334" y="344720"/>
                  <a:pt x="3339980" y="348001"/>
                  <a:pt x="3345198" y="354564"/>
                </a:cubicBezTo>
                <a:cubicBezTo>
                  <a:pt x="3350414" y="361126"/>
                  <a:pt x="3353022" y="368951"/>
                  <a:pt x="3353022" y="378038"/>
                </a:cubicBezTo>
                <a:cubicBezTo>
                  <a:pt x="3353022" y="387125"/>
                  <a:pt x="3350414" y="395034"/>
                  <a:pt x="3345198" y="401765"/>
                </a:cubicBezTo>
                <a:cubicBezTo>
                  <a:pt x="3339980" y="408496"/>
                  <a:pt x="3333334" y="411861"/>
                  <a:pt x="3325256" y="411861"/>
                </a:cubicBezTo>
                <a:close/>
                <a:moveTo>
                  <a:pt x="2207070" y="453257"/>
                </a:moveTo>
                <a:lnTo>
                  <a:pt x="2207070" y="401765"/>
                </a:lnTo>
                <a:lnTo>
                  <a:pt x="2272697" y="401765"/>
                </a:lnTo>
                <a:lnTo>
                  <a:pt x="2272697" y="314430"/>
                </a:lnTo>
                <a:cubicBezTo>
                  <a:pt x="2272697" y="297939"/>
                  <a:pt x="2274043" y="283299"/>
                  <a:pt x="2276735" y="270510"/>
                </a:cubicBezTo>
                <a:cubicBezTo>
                  <a:pt x="2279428" y="257721"/>
                  <a:pt x="2284055" y="246868"/>
                  <a:pt x="2290618" y="237949"/>
                </a:cubicBezTo>
                <a:cubicBezTo>
                  <a:pt x="2297181" y="229031"/>
                  <a:pt x="2305931" y="222215"/>
                  <a:pt x="2316869" y="217504"/>
                </a:cubicBezTo>
                <a:cubicBezTo>
                  <a:pt x="2327807" y="212792"/>
                  <a:pt x="2341353" y="210436"/>
                  <a:pt x="2357508" y="210436"/>
                </a:cubicBezTo>
                <a:cubicBezTo>
                  <a:pt x="2366931" y="210436"/>
                  <a:pt x="2377280" y="211530"/>
                  <a:pt x="2388554" y="213718"/>
                </a:cubicBezTo>
                <a:cubicBezTo>
                  <a:pt x="2399829" y="215905"/>
                  <a:pt x="2411860" y="220028"/>
                  <a:pt x="2424649" y="226086"/>
                </a:cubicBezTo>
                <a:lnTo>
                  <a:pt x="2416572" y="276063"/>
                </a:lnTo>
                <a:cubicBezTo>
                  <a:pt x="2406475" y="271352"/>
                  <a:pt x="2397388" y="268239"/>
                  <a:pt x="2389312" y="266724"/>
                </a:cubicBezTo>
                <a:cubicBezTo>
                  <a:pt x="2381234" y="265210"/>
                  <a:pt x="2374335" y="264452"/>
                  <a:pt x="2368614" y="264452"/>
                </a:cubicBezTo>
                <a:cubicBezTo>
                  <a:pt x="2356498" y="264452"/>
                  <a:pt x="2347832" y="267902"/>
                  <a:pt x="2342615" y="274801"/>
                </a:cubicBezTo>
                <a:cubicBezTo>
                  <a:pt x="2337398" y="281701"/>
                  <a:pt x="2334790" y="292218"/>
                  <a:pt x="2334790" y="306353"/>
                </a:cubicBezTo>
                <a:lnTo>
                  <a:pt x="2334790" y="453257"/>
                </a:lnTo>
                <a:close/>
                <a:moveTo>
                  <a:pt x="1088092" y="457800"/>
                </a:moveTo>
                <a:cubicBezTo>
                  <a:pt x="1064870" y="457800"/>
                  <a:pt x="1044593" y="455949"/>
                  <a:pt x="1027260" y="452247"/>
                </a:cubicBezTo>
                <a:cubicBezTo>
                  <a:pt x="1009928" y="448545"/>
                  <a:pt x="993016" y="443665"/>
                  <a:pt x="976526" y="437607"/>
                </a:cubicBezTo>
                <a:lnTo>
                  <a:pt x="976526" y="215989"/>
                </a:lnTo>
                <a:lnTo>
                  <a:pt x="1039124" y="215989"/>
                </a:lnTo>
                <a:lnTo>
                  <a:pt x="1039124" y="392173"/>
                </a:lnTo>
                <a:cubicBezTo>
                  <a:pt x="1047874" y="394529"/>
                  <a:pt x="1056456" y="396128"/>
                  <a:pt x="1064870" y="396969"/>
                </a:cubicBezTo>
                <a:cubicBezTo>
                  <a:pt x="1073284" y="397810"/>
                  <a:pt x="1081866" y="398231"/>
                  <a:pt x="1090616" y="398231"/>
                </a:cubicBezTo>
                <a:cubicBezTo>
                  <a:pt x="1094318" y="398231"/>
                  <a:pt x="1098861" y="398063"/>
                  <a:pt x="1104246" y="397726"/>
                </a:cubicBezTo>
                <a:cubicBezTo>
                  <a:pt x="1109631" y="397390"/>
                  <a:pt x="1115184" y="396801"/>
                  <a:pt x="1120905" y="395959"/>
                </a:cubicBezTo>
                <a:cubicBezTo>
                  <a:pt x="1126627" y="395118"/>
                  <a:pt x="1132264" y="394192"/>
                  <a:pt x="1137817" y="393183"/>
                </a:cubicBezTo>
                <a:cubicBezTo>
                  <a:pt x="1143370" y="392173"/>
                  <a:pt x="1148166" y="391164"/>
                  <a:pt x="1152205" y="390154"/>
                </a:cubicBezTo>
                <a:lnTo>
                  <a:pt x="1163311" y="447704"/>
                </a:lnTo>
                <a:cubicBezTo>
                  <a:pt x="1157589" y="449723"/>
                  <a:pt x="1151111" y="451322"/>
                  <a:pt x="1143875" y="452500"/>
                </a:cubicBezTo>
                <a:cubicBezTo>
                  <a:pt x="1136639" y="453678"/>
                  <a:pt x="1129487" y="454687"/>
                  <a:pt x="1122420" y="455529"/>
                </a:cubicBezTo>
                <a:cubicBezTo>
                  <a:pt x="1115352" y="456370"/>
                  <a:pt x="1108706" y="456959"/>
                  <a:pt x="1102479" y="457296"/>
                </a:cubicBezTo>
                <a:cubicBezTo>
                  <a:pt x="1096253" y="457632"/>
                  <a:pt x="1091457" y="457800"/>
                  <a:pt x="1088092" y="457800"/>
                </a:cubicBezTo>
                <a:close/>
                <a:moveTo>
                  <a:pt x="2572782" y="459315"/>
                </a:moveTo>
                <a:cubicBezTo>
                  <a:pt x="2556628" y="459315"/>
                  <a:pt x="2541651" y="456370"/>
                  <a:pt x="2527852" y="450480"/>
                </a:cubicBezTo>
                <a:cubicBezTo>
                  <a:pt x="2514054" y="444591"/>
                  <a:pt x="2502190" y="436177"/>
                  <a:pt x="2492262" y="425239"/>
                </a:cubicBezTo>
                <a:cubicBezTo>
                  <a:pt x="2482334" y="414301"/>
                  <a:pt x="2474594" y="401176"/>
                  <a:pt x="2469040" y="385863"/>
                </a:cubicBezTo>
                <a:cubicBezTo>
                  <a:pt x="2463487" y="370550"/>
                  <a:pt x="2460711" y="353638"/>
                  <a:pt x="2460711" y="335128"/>
                </a:cubicBezTo>
                <a:cubicBezTo>
                  <a:pt x="2460711" y="316281"/>
                  <a:pt x="2463403" y="299201"/>
                  <a:pt x="2468788" y="283888"/>
                </a:cubicBezTo>
                <a:cubicBezTo>
                  <a:pt x="2474173" y="268575"/>
                  <a:pt x="2481829" y="255366"/>
                  <a:pt x="2491758" y="244259"/>
                </a:cubicBezTo>
                <a:cubicBezTo>
                  <a:pt x="2501686" y="233153"/>
                  <a:pt x="2513465" y="224571"/>
                  <a:pt x="2527095" y="218513"/>
                </a:cubicBezTo>
                <a:cubicBezTo>
                  <a:pt x="2540726" y="212455"/>
                  <a:pt x="2555954" y="209427"/>
                  <a:pt x="2572782" y="209427"/>
                </a:cubicBezTo>
                <a:cubicBezTo>
                  <a:pt x="2589609" y="209427"/>
                  <a:pt x="2604838" y="212455"/>
                  <a:pt x="2618468" y="218513"/>
                </a:cubicBezTo>
                <a:cubicBezTo>
                  <a:pt x="2632098" y="224571"/>
                  <a:pt x="2643794" y="233153"/>
                  <a:pt x="2653554" y="244259"/>
                </a:cubicBezTo>
                <a:cubicBezTo>
                  <a:pt x="2663314" y="255366"/>
                  <a:pt x="2670886" y="268575"/>
                  <a:pt x="2676271" y="283888"/>
                </a:cubicBezTo>
                <a:cubicBezTo>
                  <a:pt x="2681656" y="299201"/>
                  <a:pt x="2684348" y="316281"/>
                  <a:pt x="2684348" y="335128"/>
                </a:cubicBezTo>
                <a:cubicBezTo>
                  <a:pt x="2684348" y="353638"/>
                  <a:pt x="2681656" y="370550"/>
                  <a:pt x="2676271" y="385863"/>
                </a:cubicBezTo>
                <a:cubicBezTo>
                  <a:pt x="2670886" y="401176"/>
                  <a:pt x="2663230" y="414301"/>
                  <a:pt x="2653302" y="425239"/>
                </a:cubicBezTo>
                <a:cubicBezTo>
                  <a:pt x="2643373" y="436177"/>
                  <a:pt x="2631594" y="444591"/>
                  <a:pt x="2617964" y="450480"/>
                </a:cubicBezTo>
                <a:cubicBezTo>
                  <a:pt x="2604334" y="456370"/>
                  <a:pt x="2589273" y="459315"/>
                  <a:pt x="2572782" y="459315"/>
                </a:cubicBezTo>
                <a:close/>
                <a:moveTo>
                  <a:pt x="1810782" y="459315"/>
                </a:moveTo>
                <a:cubicBezTo>
                  <a:pt x="1794628" y="459315"/>
                  <a:pt x="1779651" y="456370"/>
                  <a:pt x="1765853" y="450480"/>
                </a:cubicBezTo>
                <a:cubicBezTo>
                  <a:pt x="1752054" y="444591"/>
                  <a:pt x="1740191" y="436177"/>
                  <a:pt x="1730262" y="425239"/>
                </a:cubicBezTo>
                <a:cubicBezTo>
                  <a:pt x="1720334" y="414301"/>
                  <a:pt x="1712594" y="401176"/>
                  <a:pt x="1707040" y="385863"/>
                </a:cubicBezTo>
                <a:cubicBezTo>
                  <a:pt x="1701488" y="370550"/>
                  <a:pt x="1698711" y="353638"/>
                  <a:pt x="1698711" y="335128"/>
                </a:cubicBezTo>
                <a:cubicBezTo>
                  <a:pt x="1698711" y="316281"/>
                  <a:pt x="1701403" y="299201"/>
                  <a:pt x="1706788" y="283888"/>
                </a:cubicBezTo>
                <a:cubicBezTo>
                  <a:pt x="1712173" y="268575"/>
                  <a:pt x="1719829" y="255366"/>
                  <a:pt x="1729758" y="244259"/>
                </a:cubicBezTo>
                <a:cubicBezTo>
                  <a:pt x="1739686" y="233153"/>
                  <a:pt x="1751465" y="224571"/>
                  <a:pt x="1765095" y="218513"/>
                </a:cubicBezTo>
                <a:cubicBezTo>
                  <a:pt x="1778726" y="212455"/>
                  <a:pt x="1793954" y="209427"/>
                  <a:pt x="1810782" y="209427"/>
                </a:cubicBezTo>
                <a:cubicBezTo>
                  <a:pt x="1827610" y="209427"/>
                  <a:pt x="1842838" y="212455"/>
                  <a:pt x="1856469" y="218513"/>
                </a:cubicBezTo>
                <a:cubicBezTo>
                  <a:pt x="1870099" y="224571"/>
                  <a:pt x="1881794" y="233153"/>
                  <a:pt x="1891554" y="244259"/>
                </a:cubicBezTo>
                <a:cubicBezTo>
                  <a:pt x="1901314" y="255366"/>
                  <a:pt x="1908886" y="268575"/>
                  <a:pt x="1914271" y="283888"/>
                </a:cubicBezTo>
                <a:cubicBezTo>
                  <a:pt x="1919656" y="299201"/>
                  <a:pt x="1922348" y="316281"/>
                  <a:pt x="1922348" y="335128"/>
                </a:cubicBezTo>
                <a:cubicBezTo>
                  <a:pt x="1922348" y="353638"/>
                  <a:pt x="1919656" y="370550"/>
                  <a:pt x="1914271" y="385863"/>
                </a:cubicBezTo>
                <a:cubicBezTo>
                  <a:pt x="1908886" y="401176"/>
                  <a:pt x="1901230" y="414301"/>
                  <a:pt x="1891302" y="425239"/>
                </a:cubicBezTo>
                <a:cubicBezTo>
                  <a:pt x="1881374" y="436177"/>
                  <a:pt x="1869594" y="444591"/>
                  <a:pt x="1855964" y="450480"/>
                </a:cubicBezTo>
                <a:cubicBezTo>
                  <a:pt x="1842334" y="456370"/>
                  <a:pt x="1827273" y="459315"/>
                  <a:pt x="1810782" y="459315"/>
                </a:cubicBezTo>
                <a:close/>
                <a:moveTo>
                  <a:pt x="810657" y="459315"/>
                </a:moveTo>
                <a:cubicBezTo>
                  <a:pt x="794503" y="459315"/>
                  <a:pt x="779526" y="456370"/>
                  <a:pt x="765728" y="450480"/>
                </a:cubicBezTo>
                <a:cubicBezTo>
                  <a:pt x="751929" y="444591"/>
                  <a:pt x="740066" y="436177"/>
                  <a:pt x="730138" y="425239"/>
                </a:cubicBezTo>
                <a:cubicBezTo>
                  <a:pt x="720209" y="414301"/>
                  <a:pt x="712469" y="401176"/>
                  <a:pt x="706916" y="385863"/>
                </a:cubicBezTo>
                <a:cubicBezTo>
                  <a:pt x="701362" y="370550"/>
                  <a:pt x="698586" y="353638"/>
                  <a:pt x="698586" y="335128"/>
                </a:cubicBezTo>
                <a:cubicBezTo>
                  <a:pt x="698586" y="316281"/>
                  <a:pt x="701278" y="299201"/>
                  <a:pt x="706663" y="283888"/>
                </a:cubicBezTo>
                <a:cubicBezTo>
                  <a:pt x="712048" y="268575"/>
                  <a:pt x="719704" y="255366"/>
                  <a:pt x="729633" y="244259"/>
                </a:cubicBezTo>
                <a:cubicBezTo>
                  <a:pt x="739561" y="233153"/>
                  <a:pt x="751340" y="224571"/>
                  <a:pt x="764970" y="218513"/>
                </a:cubicBezTo>
                <a:cubicBezTo>
                  <a:pt x="778601" y="212455"/>
                  <a:pt x="793830" y="209427"/>
                  <a:pt x="810657" y="209427"/>
                </a:cubicBezTo>
                <a:cubicBezTo>
                  <a:pt x="827485" y="209427"/>
                  <a:pt x="842713" y="212455"/>
                  <a:pt x="856344" y="218513"/>
                </a:cubicBezTo>
                <a:cubicBezTo>
                  <a:pt x="869974" y="224571"/>
                  <a:pt x="881669" y="233153"/>
                  <a:pt x="891429" y="244259"/>
                </a:cubicBezTo>
                <a:cubicBezTo>
                  <a:pt x="901189" y="255366"/>
                  <a:pt x="908761" y="268575"/>
                  <a:pt x="914146" y="283888"/>
                </a:cubicBezTo>
                <a:cubicBezTo>
                  <a:pt x="919531" y="299201"/>
                  <a:pt x="922223" y="316281"/>
                  <a:pt x="922223" y="335128"/>
                </a:cubicBezTo>
                <a:cubicBezTo>
                  <a:pt x="922223" y="353638"/>
                  <a:pt x="919531" y="370550"/>
                  <a:pt x="914146" y="385863"/>
                </a:cubicBezTo>
                <a:cubicBezTo>
                  <a:pt x="908761" y="401176"/>
                  <a:pt x="901105" y="414301"/>
                  <a:pt x="891177" y="425239"/>
                </a:cubicBezTo>
                <a:cubicBezTo>
                  <a:pt x="881248" y="436177"/>
                  <a:pt x="869469" y="444591"/>
                  <a:pt x="855839" y="450480"/>
                </a:cubicBezTo>
                <a:cubicBezTo>
                  <a:pt x="842209" y="456370"/>
                  <a:pt x="827148" y="459315"/>
                  <a:pt x="810657" y="459315"/>
                </a:cubicBezTo>
                <a:close/>
                <a:moveTo>
                  <a:pt x="546919" y="477993"/>
                </a:moveTo>
                <a:cubicBezTo>
                  <a:pt x="563410" y="477993"/>
                  <a:pt x="576620" y="474207"/>
                  <a:pt x="586548" y="466635"/>
                </a:cubicBezTo>
                <a:cubicBezTo>
                  <a:pt x="596476" y="459062"/>
                  <a:pt x="601441" y="446189"/>
                  <a:pt x="601441" y="428016"/>
                </a:cubicBezTo>
                <a:cubicBezTo>
                  <a:pt x="601441" y="408832"/>
                  <a:pt x="596392" y="395286"/>
                  <a:pt x="586296" y="387377"/>
                </a:cubicBezTo>
                <a:cubicBezTo>
                  <a:pt x="576199" y="379468"/>
                  <a:pt x="561223" y="375514"/>
                  <a:pt x="541366" y="375514"/>
                </a:cubicBezTo>
                <a:lnTo>
                  <a:pt x="516125" y="375514"/>
                </a:lnTo>
                <a:lnTo>
                  <a:pt x="516125" y="476479"/>
                </a:lnTo>
                <a:cubicBezTo>
                  <a:pt x="519827" y="477152"/>
                  <a:pt x="524960" y="477573"/>
                  <a:pt x="531522" y="477741"/>
                </a:cubicBezTo>
                <a:cubicBezTo>
                  <a:pt x="538085" y="477909"/>
                  <a:pt x="543217" y="477993"/>
                  <a:pt x="546919" y="477993"/>
                </a:cubicBezTo>
                <a:close/>
                <a:moveTo>
                  <a:pt x="3324752" y="482537"/>
                </a:moveTo>
                <a:cubicBezTo>
                  <a:pt x="3341916" y="482537"/>
                  <a:pt x="3354958" y="473198"/>
                  <a:pt x="3363876" y="454519"/>
                </a:cubicBezTo>
                <a:cubicBezTo>
                  <a:pt x="3372794" y="435841"/>
                  <a:pt x="3377254" y="408664"/>
                  <a:pt x="3377254" y="372990"/>
                </a:cubicBezTo>
                <a:cubicBezTo>
                  <a:pt x="3377254" y="336979"/>
                  <a:pt x="3372794" y="309634"/>
                  <a:pt x="3363876" y="290956"/>
                </a:cubicBezTo>
                <a:cubicBezTo>
                  <a:pt x="3354958" y="272277"/>
                  <a:pt x="3341916" y="262938"/>
                  <a:pt x="3324752" y="262938"/>
                </a:cubicBezTo>
                <a:cubicBezTo>
                  <a:pt x="3307924" y="262938"/>
                  <a:pt x="3294968" y="272277"/>
                  <a:pt x="3285880" y="290956"/>
                </a:cubicBezTo>
                <a:cubicBezTo>
                  <a:pt x="3276794" y="309634"/>
                  <a:pt x="3272250" y="336979"/>
                  <a:pt x="3272250" y="372990"/>
                </a:cubicBezTo>
                <a:cubicBezTo>
                  <a:pt x="3272250" y="408664"/>
                  <a:pt x="3276794" y="435841"/>
                  <a:pt x="3285880" y="454519"/>
                </a:cubicBezTo>
                <a:cubicBezTo>
                  <a:pt x="3294968" y="473198"/>
                  <a:pt x="3307924" y="482537"/>
                  <a:pt x="3324752" y="482537"/>
                </a:cubicBezTo>
                <a:close/>
                <a:moveTo>
                  <a:pt x="1323054" y="522923"/>
                </a:moveTo>
                <a:lnTo>
                  <a:pt x="1260961" y="512826"/>
                </a:lnTo>
                <a:lnTo>
                  <a:pt x="1260961" y="453257"/>
                </a:lnTo>
                <a:lnTo>
                  <a:pt x="1206945" y="453257"/>
                </a:lnTo>
                <a:lnTo>
                  <a:pt x="1206945" y="401765"/>
                </a:lnTo>
                <a:lnTo>
                  <a:pt x="1260961" y="401765"/>
                </a:lnTo>
                <a:lnTo>
                  <a:pt x="1260961" y="304334"/>
                </a:lnTo>
                <a:cubicBezTo>
                  <a:pt x="1260961" y="284477"/>
                  <a:pt x="1262980" y="268407"/>
                  <a:pt x="1267019" y="256123"/>
                </a:cubicBezTo>
                <a:cubicBezTo>
                  <a:pt x="1271057" y="243839"/>
                  <a:pt x="1276947" y="234331"/>
                  <a:pt x="1284688" y="227600"/>
                </a:cubicBezTo>
                <a:cubicBezTo>
                  <a:pt x="1292428" y="220869"/>
                  <a:pt x="1301852" y="216326"/>
                  <a:pt x="1312958" y="213970"/>
                </a:cubicBezTo>
                <a:cubicBezTo>
                  <a:pt x="1324064" y="211614"/>
                  <a:pt x="1336853" y="210436"/>
                  <a:pt x="1351325" y="210436"/>
                </a:cubicBezTo>
                <a:cubicBezTo>
                  <a:pt x="1363777" y="210436"/>
                  <a:pt x="1376650" y="211446"/>
                  <a:pt x="1389944" y="213465"/>
                </a:cubicBezTo>
                <a:cubicBezTo>
                  <a:pt x="1403238" y="215484"/>
                  <a:pt x="1415606" y="218850"/>
                  <a:pt x="1427048" y="223562"/>
                </a:cubicBezTo>
                <a:lnTo>
                  <a:pt x="1418466" y="277073"/>
                </a:lnTo>
                <a:cubicBezTo>
                  <a:pt x="1412745" y="274381"/>
                  <a:pt x="1407444" y="272193"/>
                  <a:pt x="1402564" y="270510"/>
                </a:cubicBezTo>
                <a:cubicBezTo>
                  <a:pt x="1397684" y="268828"/>
                  <a:pt x="1392973" y="267566"/>
                  <a:pt x="1388429" y="266724"/>
                </a:cubicBezTo>
                <a:cubicBezTo>
                  <a:pt x="1383886" y="265883"/>
                  <a:pt x="1379174" y="265294"/>
                  <a:pt x="1374294" y="264957"/>
                </a:cubicBezTo>
                <a:cubicBezTo>
                  <a:pt x="1369414" y="264621"/>
                  <a:pt x="1364114" y="264452"/>
                  <a:pt x="1358392" y="264452"/>
                </a:cubicBezTo>
                <a:cubicBezTo>
                  <a:pt x="1353007" y="264452"/>
                  <a:pt x="1348127" y="264957"/>
                  <a:pt x="1343752" y="265967"/>
                </a:cubicBezTo>
                <a:cubicBezTo>
                  <a:pt x="1339377" y="266977"/>
                  <a:pt x="1335675" y="268996"/>
                  <a:pt x="1332646" y="272025"/>
                </a:cubicBezTo>
                <a:cubicBezTo>
                  <a:pt x="1329617" y="275054"/>
                  <a:pt x="1327261" y="279261"/>
                  <a:pt x="1325579" y="284645"/>
                </a:cubicBezTo>
                <a:cubicBezTo>
                  <a:pt x="1323896" y="290030"/>
                  <a:pt x="1323054" y="297098"/>
                  <a:pt x="1323054" y="305848"/>
                </a:cubicBezTo>
                <a:lnTo>
                  <a:pt x="1323054" y="401765"/>
                </a:lnTo>
                <a:lnTo>
                  <a:pt x="1422505" y="401765"/>
                </a:lnTo>
                <a:lnTo>
                  <a:pt x="1422505" y="453257"/>
                </a:lnTo>
                <a:lnTo>
                  <a:pt x="1323054" y="453257"/>
                </a:lnTo>
                <a:close/>
                <a:moveTo>
                  <a:pt x="539852" y="532010"/>
                </a:moveTo>
                <a:cubicBezTo>
                  <a:pt x="534131" y="532010"/>
                  <a:pt x="527568" y="531841"/>
                  <a:pt x="520164" y="531505"/>
                </a:cubicBezTo>
                <a:cubicBezTo>
                  <a:pt x="512760" y="531168"/>
                  <a:pt x="505187" y="530748"/>
                  <a:pt x="497447" y="530243"/>
                </a:cubicBezTo>
                <a:cubicBezTo>
                  <a:pt x="489706" y="529738"/>
                  <a:pt x="482049" y="528981"/>
                  <a:pt x="474477" y="527971"/>
                </a:cubicBezTo>
                <a:cubicBezTo>
                  <a:pt x="466905" y="526961"/>
                  <a:pt x="460090" y="525784"/>
                  <a:pt x="454032" y="524437"/>
                </a:cubicBezTo>
                <a:lnTo>
                  <a:pt x="454032" y="215989"/>
                </a:lnTo>
                <a:lnTo>
                  <a:pt x="516125" y="215989"/>
                </a:lnTo>
                <a:lnTo>
                  <a:pt x="516125" y="321498"/>
                </a:lnTo>
                <a:lnTo>
                  <a:pt x="538337" y="321498"/>
                </a:lnTo>
                <a:cubicBezTo>
                  <a:pt x="578723" y="321498"/>
                  <a:pt x="609938" y="329827"/>
                  <a:pt x="631982" y="346486"/>
                </a:cubicBezTo>
                <a:cubicBezTo>
                  <a:pt x="654026" y="363146"/>
                  <a:pt x="665048" y="390154"/>
                  <a:pt x="665048" y="427511"/>
                </a:cubicBezTo>
                <a:cubicBezTo>
                  <a:pt x="665048" y="464531"/>
                  <a:pt x="654111" y="491203"/>
                  <a:pt x="632235" y="507526"/>
                </a:cubicBezTo>
                <a:cubicBezTo>
                  <a:pt x="610359" y="523848"/>
                  <a:pt x="579565" y="532010"/>
                  <a:pt x="539852" y="532010"/>
                </a:cubicBezTo>
                <a:close/>
                <a:moveTo>
                  <a:pt x="3816452" y="535544"/>
                </a:moveTo>
                <a:cubicBezTo>
                  <a:pt x="3797604" y="535544"/>
                  <a:pt x="3780694" y="532430"/>
                  <a:pt x="3765716" y="526204"/>
                </a:cubicBezTo>
                <a:cubicBezTo>
                  <a:pt x="3750740" y="519978"/>
                  <a:pt x="3738708" y="513836"/>
                  <a:pt x="3729622" y="507778"/>
                </a:cubicBezTo>
                <a:lnTo>
                  <a:pt x="3751834" y="462344"/>
                </a:lnTo>
                <a:cubicBezTo>
                  <a:pt x="3760248" y="468065"/>
                  <a:pt x="3770260" y="472861"/>
                  <a:pt x="3781872" y="476731"/>
                </a:cubicBezTo>
                <a:cubicBezTo>
                  <a:pt x="3793482" y="480602"/>
                  <a:pt x="3805178" y="482537"/>
                  <a:pt x="3816956" y="482537"/>
                </a:cubicBezTo>
                <a:cubicBezTo>
                  <a:pt x="3829072" y="482537"/>
                  <a:pt x="3838580" y="479255"/>
                  <a:pt x="3845480" y="472693"/>
                </a:cubicBezTo>
                <a:cubicBezTo>
                  <a:pt x="3852378" y="466130"/>
                  <a:pt x="3855828" y="457127"/>
                  <a:pt x="3855828" y="445685"/>
                </a:cubicBezTo>
                <a:cubicBezTo>
                  <a:pt x="3855828" y="437944"/>
                  <a:pt x="3854230" y="431550"/>
                  <a:pt x="3851032" y="426501"/>
                </a:cubicBezTo>
                <a:cubicBezTo>
                  <a:pt x="3847836" y="421453"/>
                  <a:pt x="3843712" y="417414"/>
                  <a:pt x="3838664" y="414385"/>
                </a:cubicBezTo>
                <a:cubicBezTo>
                  <a:pt x="3833616" y="411357"/>
                  <a:pt x="3827894" y="409169"/>
                  <a:pt x="3821500" y="407823"/>
                </a:cubicBezTo>
                <a:cubicBezTo>
                  <a:pt x="3815106" y="406477"/>
                  <a:pt x="3808712" y="405803"/>
                  <a:pt x="3802316" y="405803"/>
                </a:cubicBezTo>
                <a:lnTo>
                  <a:pt x="3779094" y="405803"/>
                </a:lnTo>
                <a:lnTo>
                  <a:pt x="3779094" y="354311"/>
                </a:lnTo>
                <a:lnTo>
                  <a:pt x="3798278" y="354311"/>
                </a:lnTo>
                <a:cubicBezTo>
                  <a:pt x="3818470" y="354311"/>
                  <a:pt x="3835130" y="351030"/>
                  <a:pt x="3848256" y="344467"/>
                </a:cubicBezTo>
                <a:cubicBezTo>
                  <a:pt x="3861380" y="337904"/>
                  <a:pt x="3867944" y="326378"/>
                  <a:pt x="3867944" y="309887"/>
                </a:cubicBezTo>
                <a:cubicBezTo>
                  <a:pt x="3867944" y="296425"/>
                  <a:pt x="3863652" y="285150"/>
                  <a:pt x="3855072" y="276063"/>
                </a:cubicBezTo>
                <a:cubicBezTo>
                  <a:pt x="3846488" y="266977"/>
                  <a:pt x="3831596" y="262433"/>
                  <a:pt x="3810394" y="262433"/>
                </a:cubicBezTo>
                <a:cubicBezTo>
                  <a:pt x="3793230" y="262433"/>
                  <a:pt x="3778506" y="264284"/>
                  <a:pt x="3766222" y="267986"/>
                </a:cubicBezTo>
                <a:cubicBezTo>
                  <a:pt x="3753938" y="271688"/>
                  <a:pt x="3743924" y="275222"/>
                  <a:pt x="3736184" y="278588"/>
                </a:cubicBezTo>
                <a:lnTo>
                  <a:pt x="3724068" y="226591"/>
                </a:lnTo>
                <a:cubicBezTo>
                  <a:pt x="3727770" y="224908"/>
                  <a:pt x="3732988" y="223057"/>
                  <a:pt x="3739718" y="221037"/>
                </a:cubicBezTo>
                <a:cubicBezTo>
                  <a:pt x="3746450" y="219018"/>
                  <a:pt x="3753770" y="217167"/>
                  <a:pt x="3761678" y="215484"/>
                </a:cubicBezTo>
                <a:cubicBezTo>
                  <a:pt x="3769588" y="213802"/>
                  <a:pt x="3777832" y="212371"/>
                  <a:pt x="3786414" y="211193"/>
                </a:cubicBezTo>
                <a:cubicBezTo>
                  <a:pt x="3794996" y="210015"/>
                  <a:pt x="3803158" y="209427"/>
                  <a:pt x="3810898" y="209427"/>
                </a:cubicBezTo>
                <a:cubicBezTo>
                  <a:pt x="3831764" y="209427"/>
                  <a:pt x="3849770" y="211867"/>
                  <a:pt x="3864916" y="216746"/>
                </a:cubicBezTo>
                <a:cubicBezTo>
                  <a:pt x="3880060" y="221626"/>
                  <a:pt x="3892512" y="228526"/>
                  <a:pt x="3902272" y="237444"/>
                </a:cubicBezTo>
                <a:cubicBezTo>
                  <a:pt x="3912032" y="246363"/>
                  <a:pt x="3919268" y="256880"/>
                  <a:pt x="3923980" y="268996"/>
                </a:cubicBezTo>
                <a:cubicBezTo>
                  <a:pt x="3928692" y="281112"/>
                  <a:pt x="3931048" y="294405"/>
                  <a:pt x="3931048" y="308877"/>
                </a:cubicBezTo>
                <a:cubicBezTo>
                  <a:pt x="3931048" y="327051"/>
                  <a:pt x="3926588" y="342700"/>
                  <a:pt x="3917668" y="355826"/>
                </a:cubicBezTo>
                <a:cubicBezTo>
                  <a:pt x="3908750" y="368951"/>
                  <a:pt x="3896214" y="378879"/>
                  <a:pt x="3880060" y="385610"/>
                </a:cubicBezTo>
                <a:cubicBezTo>
                  <a:pt x="3891840" y="391668"/>
                  <a:pt x="3901262" y="400419"/>
                  <a:pt x="3908330" y="411861"/>
                </a:cubicBezTo>
                <a:cubicBezTo>
                  <a:pt x="3915398" y="423304"/>
                  <a:pt x="3918932" y="435252"/>
                  <a:pt x="3918932" y="447704"/>
                </a:cubicBezTo>
                <a:cubicBezTo>
                  <a:pt x="3918932" y="460156"/>
                  <a:pt x="3916912" y="471767"/>
                  <a:pt x="3912874" y="482537"/>
                </a:cubicBezTo>
                <a:cubicBezTo>
                  <a:pt x="3908834" y="493306"/>
                  <a:pt x="3902608" y="502646"/>
                  <a:pt x="3894196" y="510555"/>
                </a:cubicBezTo>
                <a:cubicBezTo>
                  <a:pt x="3885780" y="518464"/>
                  <a:pt x="3875096" y="524606"/>
                  <a:pt x="3862138" y="528981"/>
                </a:cubicBezTo>
                <a:cubicBezTo>
                  <a:pt x="3849180" y="533356"/>
                  <a:pt x="3833952" y="535544"/>
                  <a:pt x="3816452" y="535544"/>
                </a:cubicBezTo>
                <a:close/>
                <a:moveTo>
                  <a:pt x="3567354" y="535544"/>
                </a:moveTo>
                <a:cubicBezTo>
                  <a:pt x="3549854" y="535544"/>
                  <a:pt x="3532268" y="532178"/>
                  <a:pt x="3514600" y="525447"/>
                </a:cubicBezTo>
                <a:cubicBezTo>
                  <a:pt x="3496930" y="518716"/>
                  <a:pt x="3481366" y="508283"/>
                  <a:pt x="3467904" y="494148"/>
                </a:cubicBezTo>
                <a:lnTo>
                  <a:pt x="3498698" y="450733"/>
                </a:lnTo>
                <a:cubicBezTo>
                  <a:pt x="3509130" y="461839"/>
                  <a:pt x="3519732" y="469748"/>
                  <a:pt x="3530502" y="474460"/>
                </a:cubicBezTo>
                <a:cubicBezTo>
                  <a:pt x="3541272" y="479171"/>
                  <a:pt x="3551536" y="481527"/>
                  <a:pt x="3561296" y="481527"/>
                </a:cubicBezTo>
                <a:cubicBezTo>
                  <a:pt x="3573076" y="481527"/>
                  <a:pt x="3582836" y="478078"/>
                  <a:pt x="3590576" y="471178"/>
                </a:cubicBezTo>
                <a:cubicBezTo>
                  <a:pt x="3598316" y="464279"/>
                  <a:pt x="3602186" y="454435"/>
                  <a:pt x="3602188" y="441646"/>
                </a:cubicBezTo>
                <a:cubicBezTo>
                  <a:pt x="3602186" y="432559"/>
                  <a:pt x="3599074" y="423641"/>
                  <a:pt x="3592848" y="414890"/>
                </a:cubicBezTo>
                <a:cubicBezTo>
                  <a:pt x="3586622" y="406140"/>
                  <a:pt x="3578712" y="397053"/>
                  <a:pt x="3569120" y="387630"/>
                </a:cubicBezTo>
                <a:cubicBezTo>
                  <a:pt x="3559528" y="378206"/>
                  <a:pt x="3549264" y="368362"/>
                  <a:pt x="3538326" y="358097"/>
                </a:cubicBezTo>
                <a:cubicBezTo>
                  <a:pt x="3527388" y="347833"/>
                  <a:pt x="3517124" y="336727"/>
                  <a:pt x="3507532" y="324779"/>
                </a:cubicBezTo>
                <a:cubicBezTo>
                  <a:pt x="3497940" y="312831"/>
                  <a:pt x="3490032" y="299790"/>
                  <a:pt x="3483806" y="285655"/>
                </a:cubicBezTo>
                <a:cubicBezTo>
                  <a:pt x="3477580" y="271520"/>
                  <a:pt x="3474466" y="256039"/>
                  <a:pt x="3474466" y="239211"/>
                </a:cubicBezTo>
                <a:cubicBezTo>
                  <a:pt x="3474466" y="237192"/>
                  <a:pt x="3474382" y="233658"/>
                  <a:pt x="3474214" y="228610"/>
                </a:cubicBezTo>
                <a:cubicBezTo>
                  <a:pt x="3474046" y="223562"/>
                  <a:pt x="3474466" y="219355"/>
                  <a:pt x="3475476" y="215989"/>
                </a:cubicBezTo>
                <a:lnTo>
                  <a:pt x="3679426" y="215989"/>
                </a:lnTo>
                <a:lnTo>
                  <a:pt x="3679426" y="267481"/>
                </a:lnTo>
                <a:lnTo>
                  <a:pt x="3545142" y="267481"/>
                </a:lnTo>
                <a:cubicBezTo>
                  <a:pt x="3545142" y="272530"/>
                  <a:pt x="3546908" y="278083"/>
                  <a:pt x="3550442" y="284141"/>
                </a:cubicBezTo>
                <a:cubicBezTo>
                  <a:pt x="3553976" y="290198"/>
                  <a:pt x="3558268" y="296172"/>
                  <a:pt x="3563316" y="302062"/>
                </a:cubicBezTo>
                <a:cubicBezTo>
                  <a:pt x="3568364" y="307952"/>
                  <a:pt x="3573748" y="313673"/>
                  <a:pt x="3579470" y="319226"/>
                </a:cubicBezTo>
                <a:cubicBezTo>
                  <a:pt x="3585190" y="324779"/>
                  <a:pt x="3590240" y="329575"/>
                  <a:pt x="3594614" y="333613"/>
                </a:cubicBezTo>
                <a:cubicBezTo>
                  <a:pt x="3603364" y="341691"/>
                  <a:pt x="3611946" y="350104"/>
                  <a:pt x="3620360" y="358855"/>
                </a:cubicBezTo>
                <a:cubicBezTo>
                  <a:pt x="3628774" y="367605"/>
                  <a:pt x="3636346" y="376692"/>
                  <a:pt x="3643078" y="386115"/>
                </a:cubicBezTo>
                <a:cubicBezTo>
                  <a:pt x="3649808" y="395539"/>
                  <a:pt x="3655194" y="405214"/>
                  <a:pt x="3659232" y="415143"/>
                </a:cubicBezTo>
                <a:cubicBezTo>
                  <a:pt x="3663270" y="425071"/>
                  <a:pt x="3665290" y="435420"/>
                  <a:pt x="3665290" y="446189"/>
                </a:cubicBezTo>
                <a:cubicBezTo>
                  <a:pt x="3665290" y="460998"/>
                  <a:pt x="3662598" y="474039"/>
                  <a:pt x="3657212" y="485313"/>
                </a:cubicBezTo>
                <a:cubicBezTo>
                  <a:pt x="3651828" y="496588"/>
                  <a:pt x="3644592" y="505927"/>
                  <a:pt x="3635506" y="513331"/>
                </a:cubicBezTo>
                <a:cubicBezTo>
                  <a:pt x="3626418" y="520735"/>
                  <a:pt x="3615986" y="526288"/>
                  <a:pt x="3604206" y="529990"/>
                </a:cubicBezTo>
                <a:cubicBezTo>
                  <a:pt x="3592426" y="533692"/>
                  <a:pt x="3580142" y="535544"/>
                  <a:pt x="3567354" y="535544"/>
                </a:cubicBezTo>
                <a:close/>
                <a:moveTo>
                  <a:pt x="3324752" y="535544"/>
                </a:moveTo>
                <a:cubicBezTo>
                  <a:pt x="3290088" y="535544"/>
                  <a:pt x="3263332" y="522081"/>
                  <a:pt x="3244486" y="495157"/>
                </a:cubicBezTo>
                <a:cubicBezTo>
                  <a:pt x="3225638" y="468233"/>
                  <a:pt x="3216214" y="427511"/>
                  <a:pt x="3216214" y="372990"/>
                </a:cubicBezTo>
                <a:cubicBezTo>
                  <a:pt x="3216214" y="317796"/>
                  <a:pt x="3225470" y="276737"/>
                  <a:pt x="3243980" y="249813"/>
                </a:cubicBezTo>
                <a:cubicBezTo>
                  <a:pt x="3262490" y="222889"/>
                  <a:pt x="3289414" y="209427"/>
                  <a:pt x="3324752" y="209427"/>
                </a:cubicBezTo>
                <a:cubicBezTo>
                  <a:pt x="3360090" y="209427"/>
                  <a:pt x="3387014" y="222889"/>
                  <a:pt x="3405524" y="249813"/>
                </a:cubicBezTo>
                <a:cubicBezTo>
                  <a:pt x="3424034" y="276737"/>
                  <a:pt x="3433290" y="317796"/>
                  <a:pt x="3433290" y="372990"/>
                </a:cubicBezTo>
                <a:cubicBezTo>
                  <a:pt x="3433290" y="427847"/>
                  <a:pt x="3424034" y="468654"/>
                  <a:pt x="3405524" y="495410"/>
                </a:cubicBezTo>
                <a:cubicBezTo>
                  <a:pt x="3387014" y="522166"/>
                  <a:pt x="3360090" y="535544"/>
                  <a:pt x="3324752" y="535544"/>
                </a:cubicBezTo>
                <a:close/>
                <a:moveTo>
                  <a:pt x="3062528" y="535544"/>
                </a:moveTo>
                <a:cubicBezTo>
                  <a:pt x="3045028" y="535544"/>
                  <a:pt x="3027444" y="532178"/>
                  <a:pt x="3009774" y="525447"/>
                </a:cubicBezTo>
                <a:cubicBezTo>
                  <a:pt x="2992106" y="518716"/>
                  <a:pt x="2976540" y="508283"/>
                  <a:pt x="2963078" y="494148"/>
                </a:cubicBezTo>
                <a:lnTo>
                  <a:pt x="2993872" y="450733"/>
                </a:lnTo>
                <a:cubicBezTo>
                  <a:pt x="3004306" y="461839"/>
                  <a:pt x="3014908" y="469748"/>
                  <a:pt x="3025676" y="474460"/>
                </a:cubicBezTo>
                <a:cubicBezTo>
                  <a:pt x="3036446" y="479171"/>
                  <a:pt x="3046712" y="481527"/>
                  <a:pt x="3056472" y="481527"/>
                </a:cubicBezTo>
                <a:cubicBezTo>
                  <a:pt x="3068250" y="481527"/>
                  <a:pt x="3078010" y="478078"/>
                  <a:pt x="3085752" y="471178"/>
                </a:cubicBezTo>
                <a:cubicBezTo>
                  <a:pt x="3093492" y="464279"/>
                  <a:pt x="3097362" y="454435"/>
                  <a:pt x="3097362" y="441646"/>
                </a:cubicBezTo>
                <a:cubicBezTo>
                  <a:pt x="3097362" y="432559"/>
                  <a:pt x="3094248" y="423641"/>
                  <a:pt x="3088022" y="414890"/>
                </a:cubicBezTo>
                <a:cubicBezTo>
                  <a:pt x="3081796" y="406140"/>
                  <a:pt x="3073888" y="397053"/>
                  <a:pt x="3064296" y="387630"/>
                </a:cubicBezTo>
                <a:cubicBezTo>
                  <a:pt x="3054704" y="378206"/>
                  <a:pt x="3044440" y="368362"/>
                  <a:pt x="3033502" y="358097"/>
                </a:cubicBezTo>
                <a:cubicBezTo>
                  <a:pt x="3022564" y="347833"/>
                  <a:pt x="3012298" y="336727"/>
                  <a:pt x="3002708" y="324779"/>
                </a:cubicBezTo>
                <a:cubicBezTo>
                  <a:pt x="2993116" y="312831"/>
                  <a:pt x="2985206" y="299790"/>
                  <a:pt x="2978980" y="285655"/>
                </a:cubicBezTo>
                <a:cubicBezTo>
                  <a:pt x="2972754" y="271520"/>
                  <a:pt x="2969642" y="256039"/>
                  <a:pt x="2969642" y="239211"/>
                </a:cubicBezTo>
                <a:cubicBezTo>
                  <a:pt x="2969642" y="237192"/>
                  <a:pt x="2969558" y="233658"/>
                  <a:pt x="2969388" y="228610"/>
                </a:cubicBezTo>
                <a:cubicBezTo>
                  <a:pt x="2969220" y="223562"/>
                  <a:pt x="2969640" y="219355"/>
                  <a:pt x="2970650" y="215989"/>
                </a:cubicBezTo>
                <a:lnTo>
                  <a:pt x="3174600" y="215989"/>
                </a:lnTo>
                <a:lnTo>
                  <a:pt x="3174600" y="267481"/>
                </a:lnTo>
                <a:lnTo>
                  <a:pt x="3040316" y="267481"/>
                </a:lnTo>
                <a:cubicBezTo>
                  <a:pt x="3040316" y="272530"/>
                  <a:pt x="3042084" y="278083"/>
                  <a:pt x="3045618" y="284141"/>
                </a:cubicBezTo>
                <a:cubicBezTo>
                  <a:pt x="3049152" y="290198"/>
                  <a:pt x="3053442" y="296172"/>
                  <a:pt x="3058490" y="302062"/>
                </a:cubicBezTo>
                <a:cubicBezTo>
                  <a:pt x="3063538" y="307952"/>
                  <a:pt x="3068924" y="313673"/>
                  <a:pt x="3074644" y="319226"/>
                </a:cubicBezTo>
                <a:cubicBezTo>
                  <a:pt x="3080366" y="324779"/>
                  <a:pt x="3085414" y="329575"/>
                  <a:pt x="3089790" y="333613"/>
                </a:cubicBezTo>
                <a:cubicBezTo>
                  <a:pt x="3098540" y="341691"/>
                  <a:pt x="3107122" y="350104"/>
                  <a:pt x="3115536" y="358855"/>
                </a:cubicBezTo>
                <a:cubicBezTo>
                  <a:pt x="3123950" y="367605"/>
                  <a:pt x="3131522" y="376692"/>
                  <a:pt x="3138252" y="386115"/>
                </a:cubicBezTo>
                <a:cubicBezTo>
                  <a:pt x="3144984" y="395539"/>
                  <a:pt x="3150368" y="405214"/>
                  <a:pt x="3154408" y="415143"/>
                </a:cubicBezTo>
                <a:cubicBezTo>
                  <a:pt x="3158446" y="425071"/>
                  <a:pt x="3160464" y="435420"/>
                  <a:pt x="3160464" y="446189"/>
                </a:cubicBezTo>
                <a:cubicBezTo>
                  <a:pt x="3160464" y="460998"/>
                  <a:pt x="3157772" y="474039"/>
                  <a:pt x="3152388" y="485313"/>
                </a:cubicBezTo>
                <a:cubicBezTo>
                  <a:pt x="3147002" y="496588"/>
                  <a:pt x="3139766" y="505927"/>
                  <a:pt x="3130680" y="513331"/>
                </a:cubicBezTo>
                <a:cubicBezTo>
                  <a:pt x="3121594" y="520735"/>
                  <a:pt x="3111160" y="526288"/>
                  <a:pt x="3099382" y="529990"/>
                </a:cubicBezTo>
                <a:cubicBezTo>
                  <a:pt x="3087602" y="533692"/>
                  <a:pt x="3075318" y="535544"/>
                  <a:pt x="3062528" y="535544"/>
                </a:cubicBezTo>
                <a:close/>
                <a:moveTo>
                  <a:pt x="2292890" y="561290"/>
                </a:moveTo>
                <a:cubicBezTo>
                  <a:pt x="2282120" y="561290"/>
                  <a:pt x="2272949" y="557756"/>
                  <a:pt x="2265377" y="550688"/>
                </a:cubicBezTo>
                <a:cubicBezTo>
                  <a:pt x="2257805" y="543621"/>
                  <a:pt x="2254018" y="533861"/>
                  <a:pt x="2254018" y="521408"/>
                </a:cubicBezTo>
                <a:cubicBezTo>
                  <a:pt x="2254018" y="509293"/>
                  <a:pt x="2257805" y="499701"/>
                  <a:pt x="2265377" y="492633"/>
                </a:cubicBezTo>
                <a:cubicBezTo>
                  <a:pt x="2272949" y="485566"/>
                  <a:pt x="2282120" y="482032"/>
                  <a:pt x="2292890" y="482032"/>
                </a:cubicBezTo>
                <a:cubicBezTo>
                  <a:pt x="2303660" y="482032"/>
                  <a:pt x="2312914" y="485566"/>
                  <a:pt x="2320655" y="492633"/>
                </a:cubicBezTo>
                <a:cubicBezTo>
                  <a:pt x="2328396" y="499701"/>
                  <a:pt x="2332266" y="509293"/>
                  <a:pt x="2332266" y="521408"/>
                </a:cubicBezTo>
                <a:cubicBezTo>
                  <a:pt x="2332266" y="533861"/>
                  <a:pt x="2328396" y="543621"/>
                  <a:pt x="2320655" y="550688"/>
                </a:cubicBezTo>
                <a:cubicBezTo>
                  <a:pt x="2312914" y="557756"/>
                  <a:pt x="2303660" y="561290"/>
                  <a:pt x="2292890" y="561290"/>
                </a:cubicBezTo>
                <a:close/>
                <a:moveTo>
                  <a:pt x="1959420" y="563309"/>
                </a:moveTo>
                <a:lnTo>
                  <a:pt x="1959420" y="511817"/>
                </a:lnTo>
                <a:lnTo>
                  <a:pt x="2025047" y="511817"/>
                </a:lnTo>
                <a:lnTo>
                  <a:pt x="2025047" y="310392"/>
                </a:lnTo>
                <a:cubicBezTo>
                  <a:pt x="2025047" y="277746"/>
                  <a:pt x="2031610" y="252926"/>
                  <a:pt x="2044735" y="235930"/>
                </a:cubicBezTo>
                <a:cubicBezTo>
                  <a:pt x="2057860" y="218934"/>
                  <a:pt x="2078727" y="210436"/>
                  <a:pt x="2107333" y="210436"/>
                </a:cubicBezTo>
                <a:cubicBezTo>
                  <a:pt x="2117767" y="210436"/>
                  <a:pt x="2127106" y="211109"/>
                  <a:pt x="2135351" y="212455"/>
                </a:cubicBezTo>
                <a:cubicBezTo>
                  <a:pt x="2143597" y="213802"/>
                  <a:pt x="2150580" y="215400"/>
                  <a:pt x="2156302" y="217251"/>
                </a:cubicBezTo>
                <a:cubicBezTo>
                  <a:pt x="2162023" y="219102"/>
                  <a:pt x="2166650" y="220869"/>
                  <a:pt x="2170184" y="222552"/>
                </a:cubicBezTo>
                <a:cubicBezTo>
                  <a:pt x="2173718" y="224235"/>
                  <a:pt x="2175990" y="225413"/>
                  <a:pt x="2176999" y="226086"/>
                </a:cubicBezTo>
                <a:lnTo>
                  <a:pt x="2168922" y="276063"/>
                </a:lnTo>
                <a:cubicBezTo>
                  <a:pt x="2166230" y="275054"/>
                  <a:pt x="2160677" y="272866"/>
                  <a:pt x="2152263" y="269501"/>
                </a:cubicBezTo>
                <a:cubicBezTo>
                  <a:pt x="2143849" y="266135"/>
                  <a:pt x="2133416" y="264452"/>
                  <a:pt x="2120964" y="264452"/>
                </a:cubicBezTo>
                <a:cubicBezTo>
                  <a:pt x="2111204" y="264452"/>
                  <a:pt x="2103126" y="267313"/>
                  <a:pt x="2096732" y="273034"/>
                </a:cubicBezTo>
                <a:cubicBezTo>
                  <a:pt x="2090338" y="278756"/>
                  <a:pt x="2087140" y="289694"/>
                  <a:pt x="2087140" y="305848"/>
                </a:cubicBezTo>
                <a:lnTo>
                  <a:pt x="2087140" y="563309"/>
                </a:lnTo>
                <a:close/>
                <a:moveTo>
                  <a:pt x="1607052" y="565833"/>
                </a:moveTo>
                <a:cubicBezTo>
                  <a:pt x="1594263" y="565833"/>
                  <a:pt x="1581811" y="564234"/>
                  <a:pt x="1569695" y="561037"/>
                </a:cubicBezTo>
                <a:cubicBezTo>
                  <a:pt x="1557579" y="557840"/>
                  <a:pt x="1546810" y="552455"/>
                  <a:pt x="1537386" y="544883"/>
                </a:cubicBezTo>
                <a:cubicBezTo>
                  <a:pt x="1527963" y="537310"/>
                  <a:pt x="1520474" y="527214"/>
                  <a:pt x="1514921" y="514593"/>
                </a:cubicBezTo>
                <a:cubicBezTo>
                  <a:pt x="1509368" y="501973"/>
                  <a:pt x="1506592" y="486071"/>
                  <a:pt x="1506592" y="466887"/>
                </a:cubicBezTo>
                <a:lnTo>
                  <a:pt x="1506592" y="453257"/>
                </a:lnTo>
                <a:lnTo>
                  <a:pt x="1454595" y="453257"/>
                </a:lnTo>
                <a:lnTo>
                  <a:pt x="1454595" y="401765"/>
                </a:lnTo>
                <a:lnTo>
                  <a:pt x="1506592" y="401765"/>
                </a:lnTo>
                <a:lnTo>
                  <a:pt x="1506592" y="215989"/>
                </a:lnTo>
                <a:lnTo>
                  <a:pt x="1569190" y="215989"/>
                </a:lnTo>
                <a:lnTo>
                  <a:pt x="1569190" y="401765"/>
                </a:lnTo>
                <a:lnTo>
                  <a:pt x="1666621" y="401765"/>
                </a:lnTo>
                <a:lnTo>
                  <a:pt x="1666621" y="453257"/>
                </a:lnTo>
                <a:lnTo>
                  <a:pt x="1569190" y="453257"/>
                </a:lnTo>
                <a:lnTo>
                  <a:pt x="1569190" y="465878"/>
                </a:lnTo>
                <a:cubicBezTo>
                  <a:pt x="1569190" y="475974"/>
                  <a:pt x="1570368" y="484135"/>
                  <a:pt x="1572724" y="490362"/>
                </a:cubicBezTo>
                <a:cubicBezTo>
                  <a:pt x="1575080" y="496588"/>
                  <a:pt x="1578193" y="501384"/>
                  <a:pt x="1582063" y="504749"/>
                </a:cubicBezTo>
                <a:cubicBezTo>
                  <a:pt x="1585933" y="508115"/>
                  <a:pt x="1590477" y="510302"/>
                  <a:pt x="1595693" y="511312"/>
                </a:cubicBezTo>
                <a:cubicBezTo>
                  <a:pt x="1600910" y="512322"/>
                  <a:pt x="1606379" y="512826"/>
                  <a:pt x="1612100" y="512826"/>
                </a:cubicBezTo>
                <a:cubicBezTo>
                  <a:pt x="1622533" y="512826"/>
                  <a:pt x="1633555" y="511396"/>
                  <a:pt x="1645166" y="508535"/>
                </a:cubicBezTo>
                <a:cubicBezTo>
                  <a:pt x="1656777" y="505675"/>
                  <a:pt x="1666453" y="502898"/>
                  <a:pt x="1674194" y="500206"/>
                </a:cubicBezTo>
                <a:lnTo>
                  <a:pt x="1684795" y="550688"/>
                </a:lnTo>
                <a:cubicBezTo>
                  <a:pt x="1673689" y="556073"/>
                  <a:pt x="1661236" y="559943"/>
                  <a:pt x="1647438" y="562299"/>
                </a:cubicBezTo>
                <a:cubicBezTo>
                  <a:pt x="1633639" y="564655"/>
                  <a:pt x="1620178" y="565833"/>
                  <a:pt x="1607052" y="565833"/>
                </a:cubicBezTo>
                <a:close/>
                <a:moveTo>
                  <a:pt x="0" y="796029"/>
                </a:moveTo>
                <a:lnTo>
                  <a:pt x="4876802" y="796029"/>
                </a:lnTo>
                <a:lnTo>
                  <a:pt x="4824822" y="344498"/>
                </a:lnTo>
                <a:cubicBezTo>
                  <a:pt x="4801968" y="145891"/>
                  <a:pt x="4682292" y="207"/>
                  <a:pt x="4541980" y="155"/>
                </a:cubicBezTo>
                <a:lnTo>
                  <a:pt x="0" y="0"/>
                </a:lnTo>
                <a:close/>
              </a:path>
            </a:pathLst>
          </a:custGeom>
          <a:solidFill>
            <a:schemeClr val="bg1"/>
          </a:solidFill>
          <a:ln w="2834" cap="flat">
            <a:noFill/>
            <a:prstDash val="solid"/>
            <a:miter/>
          </a:ln>
        </p:spPr>
        <p:txBody>
          <a:bodyPr wrap="square" rtlCol="0" anchor="ctr">
            <a:noAutofit/>
          </a:bodyPr>
          <a:lstStyle/>
          <a:p>
            <a:endParaRPr lang="en-US"/>
          </a:p>
        </p:txBody>
      </p:sp>
      <p:pic>
        <p:nvPicPr>
          <p:cNvPr id="8" name="Imagen 7" descr="Un dibujo de una cara feliz&#10;&#10;Descripción generada automáticamente con confianza baja">
            <a:extLst>
              <a:ext uri="{FF2B5EF4-FFF2-40B4-BE49-F238E27FC236}">
                <a16:creationId xmlns:a16="http://schemas.microsoft.com/office/drawing/2014/main" id="{A82FAAE7-F450-2EFB-B470-9CA2B285AACF}"/>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7824450" y="406400"/>
            <a:ext cx="1801936" cy="934010"/>
          </a:xfrm>
          <a:prstGeom prst="rect">
            <a:avLst/>
          </a:prstGeom>
        </p:spPr>
      </p:pic>
      <p:sp>
        <p:nvSpPr>
          <p:cNvPr id="3" name="Título 2">
            <a:extLst>
              <a:ext uri="{FF2B5EF4-FFF2-40B4-BE49-F238E27FC236}">
                <a16:creationId xmlns:a16="http://schemas.microsoft.com/office/drawing/2014/main" id="{026D4898-5AF3-A17A-C193-D7C598C3FCF2}"/>
              </a:ext>
            </a:extLst>
          </p:cNvPr>
          <p:cNvSpPr>
            <a:spLocks noGrp="1"/>
          </p:cNvSpPr>
          <p:nvPr>
            <p:ph type="title"/>
          </p:nvPr>
        </p:nvSpPr>
        <p:spPr/>
        <p:txBody>
          <a:bodyPr/>
          <a:lstStyle/>
          <a:p>
            <a:r>
              <a:rPr lang="es-ES"/>
              <a:t>Haga clic para modificar el estilo de título del patrón</a:t>
            </a:r>
          </a:p>
        </p:txBody>
      </p:sp>
    </p:spTree>
    <p:extLst>
      <p:ext uri="{BB962C8B-B14F-4D97-AF65-F5344CB8AC3E}">
        <p14:creationId xmlns:p14="http://schemas.microsoft.com/office/powerpoint/2010/main" val="3230929737"/>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_Blank-Grey">
    <p:spTree>
      <p:nvGrpSpPr>
        <p:cNvPr id="1" name=""/>
        <p:cNvGrpSpPr/>
        <p:nvPr/>
      </p:nvGrpSpPr>
      <p:grpSpPr>
        <a:xfrm>
          <a:off x="0" y="0"/>
          <a:ext cx="0" cy="0"/>
          <a:chOff x="0" y="0"/>
          <a:chExt cx="0" cy="0"/>
        </a:xfrm>
      </p:grpSpPr>
      <p:sp>
        <p:nvSpPr>
          <p:cNvPr id="15" name="Freeform 14"/>
          <p:cNvSpPr/>
          <p:nvPr userDrawn="1"/>
        </p:nvSpPr>
        <p:spPr>
          <a:xfrm>
            <a:off x="8795545" y="6365544"/>
            <a:ext cx="11334849" cy="4962858"/>
          </a:xfrm>
          <a:custGeom>
            <a:avLst/>
            <a:gdLst>
              <a:gd name="connsiteX0" fmla="*/ 3131715 w 6873945"/>
              <a:gd name="connsiteY0" fmla="*/ 226 h 3004421"/>
              <a:gd name="connsiteX1" fmla="*/ 6873945 w 6873945"/>
              <a:gd name="connsiteY1" fmla="*/ 549103 h 3004421"/>
              <a:gd name="connsiteX2" fmla="*/ 6873945 w 6873945"/>
              <a:gd name="connsiteY2" fmla="*/ 2848107 h 3004421"/>
              <a:gd name="connsiteX3" fmla="*/ 6873945 w 6873945"/>
              <a:gd name="connsiteY3" fmla="*/ 3004421 h 3004421"/>
              <a:gd name="connsiteX4" fmla="*/ 0 w 6873945"/>
              <a:gd name="connsiteY4" fmla="*/ 3004421 h 3004421"/>
              <a:gd name="connsiteX5" fmla="*/ 0 w 6873945"/>
              <a:gd name="connsiteY5" fmla="*/ 2711764 h 3004421"/>
              <a:gd name="connsiteX6" fmla="*/ 0 w 6873945"/>
              <a:gd name="connsiteY6" fmla="*/ 1986869 h 3004421"/>
              <a:gd name="connsiteX7" fmla="*/ 3131715 w 6873945"/>
              <a:gd name="connsiteY7" fmla="*/ 226 h 3004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73945" h="3004421">
                <a:moveTo>
                  <a:pt x="3131715" y="226"/>
                </a:moveTo>
                <a:cubicBezTo>
                  <a:pt x="4748449" y="11559"/>
                  <a:pt x="6466935" y="445480"/>
                  <a:pt x="6873945" y="549103"/>
                </a:cubicBezTo>
                <a:cubicBezTo>
                  <a:pt x="6873945" y="549103"/>
                  <a:pt x="6873945" y="549103"/>
                  <a:pt x="6873945" y="2848107"/>
                </a:cubicBezTo>
                <a:lnTo>
                  <a:pt x="6873945" y="3004421"/>
                </a:lnTo>
                <a:lnTo>
                  <a:pt x="0" y="3004421"/>
                </a:lnTo>
                <a:lnTo>
                  <a:pt x="0" y="2711764"/>
                </a:lnTo>
                <a:cubicBezTo>
                  <a:pt x="0" y="2477761"/>
                  <a:pt x="0" y="2236211"/>
                  <a:pt x="0" y="1986869"/>
                </a:cubicBezTo>
                <a:cubicBezTo>
                  <a:pt x="0" y="400145"/>
                  <a:pt x="1514981" y="-11108"/>
                  <a:pt x="3131715" y="226"/>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09">
              <a:solidFill>
                <a:schemeClr val="tx1"/>
              </a:solidFill>
            </a:endParaRPr>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931604" y="1381961"/>
            <a:ext cx="8223309" cy="9465894"/>
          </a:xfrm>
          <a:prstGeom prst="rect">
            <a:avLst/>
          </a:prstGeom>
        </p:spPr>
      </p:pic>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672755" y="668691"/>
            <a:ext cx="16266110" cy="1426539"/>
          </a:xfrm>
          <a:prstGeom prst="rect">
            <a:avLst/>
          </a:prstGeom>
        </p:spPr>
        <p:txBody>
          <a:bodyPr vert="horz" lIns="0" tIns="0" rIns="0" bIns="0" rtlCol="0" anchor="t">
            <a:normAutofit/>
          </a:bodyPr>
          <a:lstStyle>
            <a:lvl1pPr>
              <a:defRPr lang="pt-PT" dirty="0">
                <a:solidFill>
                  <a:schemeClr val="tx2"/>
                </a:solidFill>
              </a:defRPr>
            </a:lvl1pPr>
          </a:lstStyle>
          <a:p>
            <a:pPr lvl="0">
              <a:lnSpc>
                <a:spcPts val="4947"/>
              </a:lnSpc>
            </a:pPr>
            <a:r>
              <a:rPr lang="en-US"/>
              <a:t>Click to add title</a:t>
            </a:r>
            <a:endParaRPr lang="pt-PT"/>
          </a:p>
        </p:txBody>
      </p:sp>
      <p:sp>
        <p:nvSpPr>
          <p:cNvPr id="16"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672754" y="2335702"/>
            <a:ext cx="10258851" cy="3454369"/>
          </a:xfrm>
          <a:prstGeom prst="rect">
            <a:avLst/>
          </a:prstGeom>
        </p:spPr>
        <p:txBody>
          <a:bodyPr>
            <a:noAutofit/>
          </a:bodyPr>
          <a:lstStyle>
            <a:lvl1pPr marL="371726" indent="-371726">
              <a:lnSpc>
                <a:spcPts val="3628"/>
              </a:lnSpc>
              <a:buClr>
                <a:schemeClr val="tx2"/>
              </a:buClr>
              <a:buFont typeface="Wingdings" panose="05000000000000000000" pitchFamily="2" charset="2"/>
              <a:buChar char="§"/>
              <a:defRPr sz="2968">
                <a:solidFill>
                  <a:schemeClr val="tx1"/>
                </a:solidFill>
              </a:defRPr>
            </a:lvl1pPr>
            <a:lvl2pPr>
              <a:lnSpc>
                <a:spcPct val="100000"/>
              </a:lnSpc>
              <a:defRPr sz="2309">
                <a:solidFill>
                  <a:schemeClr val="tx1"/>
                </a:solidFill>
              </a:defRPr>
            </a:lvl2pPr>
            <a:lvl3pPr>
              <a:lnSpc>
                <a:spcPct val="100000"/>
              </a:lnSpc>
              <a:defRPr sz="2309">
                <a:solidFill>
                  <a:schemeClr val="tx1"/>
                </a:solidFill>
              </a:defRPr>
            </a:lvl3pPr>
            <a:lvl4pPr>
              <a:lnSpc>
                <a:spcPct val="100000"/>
              </a:lnSpc>
              <a:defRPr sz="2309">
                <a:solidFill>
                  <a:schemeClr val="tx1"/>
                </a:solidFill>
              </a:defRPr>
            </a:lvl4pPr>
            <a:lvl5pPr>
              <a:lnSpc>
                <a:spcPct val="100000"/>
              </a:lnSpc>
              <a:defRPr sz="2309"/>
            </a:lvl5pPr>
          </a:lstStyle>
          <a:p>
            <a:pPr marL="225425" indent="-225425">
              <a:buClr>
                <a:schemeClr val="tx2"/>
              </a:buClr>
              <a:buFont typeface="Wingdings" panose="05000000000000000000" pitchFamily="2" charset="2"/>
              <a:buChar char="§"/>
            </a:pPr>
            <a:r>
              <a:rPr lang="en-US"/>
              <a:t>Click to insert text</a:t>
            </a:r>
          </a:p>
          <a:p>
            <a:pPr marL="761777" lvl="1" indent="-390051">
              <a:buClr>
                <a:schemeClr val="accent4"/>
              </a:buClr>
              <a:buFont typeface="Arial" panose="020B0604020202020204" pitchFamily="34" charset="0"/>
              <a:buChar char="•"/>
            </a:pPr>
            <a:r>
              <a:rPr lang="en-US" sz="2638"/>
              <a:t>Click to insert text</a:t>
            </a:r>
            <a:endParaRPr lang="pt-PT" sz="2638"/>
          </a:p>
          <a:p>
            <a:pPr marL="1136120" lvl="2" indent="-397904">
              <a:buClr>
                <a:schemeClr val="accent2"/>
              </a:buClr>
              <a:buFont typeface="Verdana" panose="020B0604030504040204" pitchFamily="34" charset="0"/>
              <a:buChar char="–"/>
            </a:pPr>
            <a:r>
              <a:rPr lang="en-US"/>
              <a:t>Click to insert text</a:t>
            </a:r>
            <a:endParaRPr lang="pt-PT"/>
          </a:p>
          <a:p>
            <a:pPr marL="1507846" lvl="3" indent="-371726">
              <a:buClr>
                <a:schemeClr val="accent3"/>
              </a:buClr>
              <a:buFont typeface="Wingdings" panose="05000000000000000000" pitchFamily="2" charset="2"/>
              <a:buChar char="§"/>
            </a:pPr>
            <a:r>
              <a:rPr lang="en-US"/>
              <a:t>Click to insert text</a:t>
            </a:r>
            <a:endParaRPr lang="pt-PT"/>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9349792" y="10829142"/>
            <a:ext cx="481221" cy="295337"/>
          </a:xfrm>
          <a:prstGeom prst="rect">
            <a:avLst/>
          </a:prstGeom>
        </p:spPr>
        <p:txBody>
          <a:bodyPr wrap="none">
            <a:spAutoFit/>
          </a:bodyPr>
          <a:lstStyle/>
          <a:p>
            <a:pPr algn="r"/>
            <a:fld id="{0502E5A9-B53C-401E-A0E0-4A359BB0A9E5}" type="slidenum">
              <a:rPr lang="en-US" sz="1319" smtClean="0">
                <a:solidFill>
                  <a:schemeClr val="bg1"/>
                </a:solidFill>
                <a:cs typeface="Arial" panose="020B0604020202020204" pitchFamily="34" charset="0"/>
              </a:rPr>
              <a:t>‹#›</a:t>
            </a:fld>
            <a:endParaRPr lang="en-US" sz="1319">
              <a:solidFill>
                <a:schemeClr val="bg1"/>
              </a:solidFill>
              <a:cs typeface="Arial" panose="020B0604020202020204" pitchFamily="34" charset="0"/>
            </a:endParaRPr>
          </a:p>
        </p:txBody>
      </p:sp>
      <p:sp>
        <p:nvSpPr>
          <p:cNvPr id="21" name="Chart Placeholder 18">
            <a:extLst>
              <a:ext uri="{FF2B5EF4-FFF2-40B4-BE49-F238E27FC236}">
                <a16:creationId xmlns:a16="http://schemas.microsoft.com/office/drawing/2014/main" id="{1B2F5493-6162-4AC0-BA43-8D7A7C0FA263}"/>
              </a:ext>
            </a:extLst>
          </p:cNvPr>
          <p:cNvSpPr>
            <a:spLocks noGrp="1"/>
          </p:cNvSpPr>
          <p:nvPr>
            <p:ph type="chart" sz="quarter" idx="46"/>
          </p:nvPr>
        </p:nvSpPr>
        <p:spPr>
          <a:xfrm>
            <a:off x="733279" y="6539449"/>
            <a:ext cx="7981432" cy="4057508"/>
          </a:xfrm>
          <a:prstGeom prst="rect">
            <a:avLst/>
          </a:prstGeom>
        </p:spPr>
        <p:txBody>
          <a:bodyPr anchor="ctr"/>
          <a:lstStyle>
            <a:lvl1pPr marL="0" indent="0" algn="ctr">
              <a:buNone/>
              <a:defRPr sz="3298"/>
            </a:lvl1pPr>
          </a:lstStyle>
          <a:p>
            <a:endParaRPr lang="pt-PT"/>
          </a:p>
        </p:txBody>
      </p:sp>
      <p:cxnSp>
        <p:nvCxnSpPr>
          <p:cNvPr id="25"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362232" y="10882253"/>
            <a:ext cx="0" cy="256989"/>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26" name="Rectangle 27">
            <a:hlinkClick r:id="rId3"/>
            <a:extLst>
              <a:ext uri="{FF2B5EF4-FFF2-40B4-BE49-F238E27FC236}">
                <a16:creationId xmlns:a16="http://schemas.microsoft.com/office/drawing/2014/main" id="{F376ABD1-4930-42EB-9A73-9A9C7C6BF2D3}"/>
              </a:ext>
            </a:extLst>
          </p:cNvPr>
          <p:cNvSpPr/>
          <p:nvPr userDrawn="1"/>
        </p:nvSpPr>
        <p:spPr>
          <a:xfrm>
            <a:off x="658187" y="10829493"/>
            <a:ext cx="4664915" cy="362509"/>
          </a:xfrm>
          <a:prstGeom prst="rect">
            <a:avLst/>
          </a:prstGeom>
        </p:spPr>
        <p:txBody>
          <a:bodyPr wrap="square" lIns="0" tIns="0" rIns="0" bIns="0" anchor="ctr" anchorCtr="0">
            <a:noAutofit/>
          </a:bodyPr>
          <a:lstStyle/>
          <a:p>
            <a:pPr lvl="0" algn="l" defTabSz="1507846">
              <a:lnSpc>
                <a:spcPct val="100000"/>
              </a:lnSpc>
              <a:defRPr/>
            </a:pPr>
            <a:r>
              <a:rPr lang="en-US" sz="1319" kern="0">
                <a:solidFill>
                  <a:schemeClr val="tx2"/>
                </a:solidFill>
                <a:latin typeface="+mj-lt"/>
                <a:cs typeface="Arial" panose="020B0604020202020204" pitchFamily="34" charset="0"/>
              </a:rPr>
              <a:t>Presentation Title</a:t>
            </a:r>
          </a:p>
        </p:txBody>
      </p:sp>
      <p:sp>
        <p:nvSpPr>
          <p:cNvPr id="27" name="Rectangle 27">
            <a:hlinkClick r:id="rId3"/>
            <a:extLst>
              <a:ext uri="{FF2B5EF4-FFF2-40B4-BE49-F238E27FC236}">
                <a16:creationId xmlns:a16="http://schemas.microsoft.com/office/drawing/2014/main" id="{F376ABD1-4930-42EB-9A73-9A9C7C6BF2D3}"/>
              </a:ext>
            </a:extLst>
          </p:cNvPr>
          <p:cNvSpPr/>
          <p:nvPr userDrawn="1"/>
        </p:nvSpPr>
        <p:spPr>
          <a:xfrm>
            <a:off x="2601711" y="10829494"/>
            <a:ext cx="1714607" cy="355530"/>
          </a:xfrm>
          <a:prstGeom prst="rect">
            <a:avLst/>
          </a:prstGeom>
        </p:spPr>
        <p:txBody>
          <a:bodyPr wrap="square" lIns="0" tIns="0" rIns="0" bIns="0" anchor="ctr" anchorCtr="0">
            <a:noAutofit/>
          </a:bodyPr>
          <a:lstStyle/>
          <a:p>
            <a:pPr lvl="0" algn="l" defTabSz="1507846">
              <a:lnSpc>
                <a:spcPct val="100000"/>
              </a:lnSpc>
              <a:defRPr/>
            </a:pPr>
            <a:r>
              <a:rPr lang="en-US" sz="1319" kern="0">
                <a:solidFill>
                  <a:schemeClr val="tx1"/>
                </a:solidFill>
                <a:latin typeface="+mj-lt"/>
                <a:cs typeface="Arial" panose="020B0604020202020204" pitchFamily="34" charset="0"/>
              </a:rPr>
              <a:t>Date</a:t>
            </a:r>
          </a:p>
        </p:txBody>
      </p:sp>
      <p:sp>
        <p:nvSpPr>
          <p:cNvPr id="28" name="Retângulo 43">
            <a:extLst>
              <a:ext uri="{FF2B5EF4-FFF2-40B4-BE49-F238E27FC236}">
                <a16:creationId xmlns:a16="http://schemas.microsoft.com/office/drawing/2014/main" id="{834ADCB4-BFB1-450D-8F6D-64217F4CD92C}"/>
              </a:ext>
            </a:extLst>
          </p:cNvPr>
          <p:cNvSpPr/>
          <p:nvPr userDrawn="1"/>
        </p:nvSpPr>
        <p:spPr>
          <a:xfrm>
            <a:off x="3453436" y="10829141"/>
            <a:ext cx="4274077" cy="362509"/>
          </a:xfrm>
          <a:prstGeom prst="rect">
            <a:avLst/>
          </a:prstGeom>
        </p:spPr>
        <p:txBody>
          <a:bodyPr wrap="none" lIns="0" tIns="0" rIns="0" bIns="0" anchor="ctr">
            <a:noAutofit/>
          </a:bodyPr>
          <a:lstStyle/>
          <a:p>
            <a:pPr>
              <a:lnSpc>
                <a:spcPct val="100000"/>
              </a:lnSpc>
            </a:pPr>
            <a:r>
              <a:rPr lang="en-US" sz="1319">
                <a:solidFill>
                  <a:schemeClr val="bg2">
                    <a:lumMod val="50000"/>
                  </a:schemeClr>
                </a:solidFill>
                <a:cs typeface="Arial" panose="020B0604020202020204" pitchFamily="34" charset="0"/>
              </a:rPr>
              <a:t>© 2018 </a:t>
            </a:r>
            <a:r>
              <a:rPr lang="en-US" sz="1319" err="1">
                <a:solidFill>
                  <a:schemeClr val="bg2">
                    <a:lumMod val="50000"/>
                  </a:schemeClr>
                </a:solidFill>
                <a:cs typeface="Arial" panose="020B0604020202020204" pitchFamily="34" charset="0"/>
              </a:rPr>
              <a:t>Sogeti</a:t>
            </a:r>
            <a:r>
              <a:rPr lang="en-US" sz="1319">
                <a:solidFill>
                  <a:schemeClr val="bg2">
                    <a:lumMod val="50000"/>
                  </a:schemeClr>
                </a:solidFill>
                <a:cs typeface="Arial" panose="020B0604020202020204" pitchFamily="34" charset="0"/>
              </a:rPr>
              <a:t>. All rights reserved.</a:t>
            </a:r>
          </a:p>
        </p:txBody>
      </p:sp>
      <p:cxnSp>
        <p:nvCxnSpPr>
          <p:cNvPr id="2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16656" y="10882253"/>
            <a:ext cx="0" cy="256989"/>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42930531"/>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EC1A94F9-DC7A-4538-8277-70A44CA10105}"/>
              </a:ext>
            </a:extLst>
          </p:cNvPr>
          <p:cNvSpPr>
            <a:spLocks noGrp="1"/>
          </p:cNvSpPr>
          <p:nvPr>
            <p:ph type="pic" sz="quarter" idx="10"/>
          </p:nvPr>
        </p:nvSpPr>
        <p:spPr>
          <a:xfrm>
            <a:off x="1029140" y="3144157"/>
            <a:ext cx="2395216" cy="2761297"/>
          </a:xfrm>
          <a:prstGeom prst="rect">
            <a:avLst/>
          </a:prstGeom>
          <a:solidFill>
            <a:srgbClr val="D9D9D9"/>
          </a:solidFill>
        </p:spPr>
        <p:txBody>
          <a:bodyPr anchor="ctr"/>
          <a:lstStyle>
            <a:lvl1pPr algn="ctr">
              <a:defRPr/>
            </a:lvl1pPr>
          </a:lstStyle>
          <a:p>
            <a:endParaRPr lang="pt-PT"/>
          </a:p>
        </p:txBody>
      </p:sp>
      <p:sp>
        <p:nvSpPr>
          <p:cNvPr id="19" name="Picture Placeholder 17">
            <a:extLst>
              <a:ext uri="{FF2B5EF4-FFF2-40B4-BE49-F238E27FC236}">
                <a16:creationId xmlns:a16="http://schemas.microsoft.com/office/drawing/2014/main" id="{74E803A8-AB56-45EC-B2C1-515FBB73BB37}"/>
              </a:ext>
            </a:extLst>
          </p:cNvPr>
          <p:cNvSpPr>
            <a:spLocks noGrp="1"/>
          </p:cNvSpPr>
          <p:nvPr>
            <p:ph type="pic" sz="quarter" idx="11"/>
          </p:nvPr>
        </p:nvSpPr>
        <p:spPr>
          <a:xfrm>
            <a:off x="10644348" y="3144157"/>
            <a:ext cx="2395216" cy="2761297"/>
          </a:xfrm>
          <a:prstGeom prst="rect">
            <a:avLst/>
          </a:prstGeom>
          <a:solidFill>
            <a:srgbClr val="D9D9D9"/>
          </a:solidFill>
        </p:spPr>
        <p:txBody>
          <a:bodyPr anchor="ctr"/>
          <a:lstStyle>
            <a:lvl1pPr algn="ctr">
              <a:defRPr/>
            </a:lvl1pPr>
          </a:lstStyle>
          <a:p>
            <a:endParaRPr lang="pt-PT"/>
          </a:p>
        </p:txBody>
      </p:sp>
      <p:sp>
        <p:nvSpPr>
          <p:cNvPr id="20" name="Picture Placeholder 17">
            <a:extLst>
              <a:ext uri="{FF2B5EF4-FFF2-40B4-BE49-F238E27FC236}">
                <a16:creationId xmlns:a16="http://schemas.microsoft.com/office/drawing/2014/main" id="{9D1BE315-6BE9-4C05-9EDD-2BF1E943154E}"/>
              </a:ext>
            </a:extLst>
          </p:cNvPr>
          <p:cNvSpPr>
            <a:spLocks noGrp="1"/>
          </p:cNvSpPr>
          <p:nvPr>
            <p:ph type="pic" sz="quarter" idx="12"/>
          </p:nvPr>
        </p:nvSpPr>
        <p:spPr>
          <a:xfrm>
            <a:off x="1029140" y="7234208"/>
            <a:ext cx="2395216" cy="2761297"/>
          </a:xfrm>
          <a:prstGeom prst="rect">
            <a:avLst/>
          </a:prstGeom>
          <a:solidFill>
            <a:srgbClr val="D9D9D9"/>
          </a:solidFill>
        </p:spPr>
        <p:txBody>
          <a:bodyPr anchor="ctr"/>
          <a:lstStyle>
            <a:lvl1pPr algn="ctr">
              <a:defRPr/>
            </a:lvl1pPr>
          </a:lstStyle>
          <a:p>
            <a:endParaRPr lang="pt-PT"/>
          </a:p>
        </p:txBody>
      </p:sp>
      <p:sp>
        <p:nvSpPr>
          <p:cNvPr id="21" name="Picture Placeholder 17">
            <a:extLst>
              <a:ext uri="{FF2B5EF4-FFF2-40B4-BE49-F238E27FC236}">
                <a16:creationId xmlns:a16="http://schemas.microsoft.com/office/drawing/2014/main" id="{1281E9B6-7C84-4FF5-B198-C8FC0C8924EE}"/>
              </a:ext>
            </a:extLst>
          </p:cNvPr>
          <p:cNvSpPr>
            <a:spLocks noGrp="1"/>
          </p:cNvSpPr>
          <p:nvPr>
            <p:ph type="pic" sz="quarter" idx="13"/>
          </p:nvPr>
        </p:nvSpPr>
        <p:spPr>
          <a:xfrm>
            <a:off x="10644348" y="7234208"/>
            <a:ext cx="2395216" cy="2761297"/>
          </a:xfrm>
          <a:prstGeom prst="rect">
            <a:avLst/>
          </a:prstGeom>
          <a:solidFill>
            <a:srgbClr val="D9D9D9"/>
          </a:solidFill>
        </p:spPr>
        <p:txBody>
          <a:bodyPr anchor="ctr"/>
          <a:lstStyle>
            <a:lvl1pPr algn="ctr">
              <a:defRPr/>
            </a:lvl1pPr>
          </a:lstStyle>
          <a:p>
            <a:endParaRPr lang="pt-PT"/>
          </a:p>
        </p:txBody>
      </p:sp>
      <p:sp>
        <p:nvSpPr>
          <p:cNvPr id="11"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672755" y="668691"/>
            <a:ext cx="18165921" cy="1426539"/>
          </a:xfrm>
          <a:prstGeom prst="rect">
            <a:avLst/>
          </a:prstGeom>
        </p:spPr>
        <p:txBody>
          <a:bodyPr vert="horz" lIns="0" tIns="0" rIns="0" bIns="0" rtlCol="0" anchor="t">
            <a:normAutofit/>
          </a:bodyPr>
          <a:lstStyle>
            <a:lvl1pPr>
              <a:defRPr lang="pt-PT" dirty="0"/>
            </a:lvl1pPr>
          </a:lstStyle>
          <a:p>
            <a:pPr lvl="0">
              <a:lnSpc>
                <a:spcPts val="4947"/>
              </a:lnSpc>
            </a:pPr>
            <a:r>
              <a:rPr lang="en-US"/>
              <a:t>Click to add title</a:t>
            </a:r>
            <a:endParaRPr lang="pt-PT"/>
          </a:p>
        </p:txBody>
      </p:sp>
      <p:sp>
        <p:nvSpPr>
          <p:cNvPr id="13" name="Retângulo 43">
            <a:extLst>
              <a:ext uri="{FF2B5EF4-FFF2-40B4-BE49-F238E27FC236}">
                <a16:creationId xmlns:a16="http://schemas.microsoft.com/office/drawing/2014/main" id="{25FC8637-25BD-4C09-AF25-56B4243DAB3D}"/>
              </a:ext>
            </a:extLst>
          </p:cNvPr>
          <p:cNvSpPr/>
          <p:nvPr userDrawn="1"/>
        </p:nvSpPr>
        <p:spPr>
          <a:xfrm>
            <a:off x="19349792" y="10829142"/>
            <a:ext cx="481221" cy="295337"/>
          </a:xfrm>
          <a:prstGeom prst="rect">
            <a:avLst/>
          </a:prstGeom>
        </p:spPr>
        <p:txBody>
          <a:bodyPr wrap="none">
            <a:spAutoFit/>
          </a:bodyPr>
          <a:lstStyle/>
          <a:p>
            <a:pPr algn="r"/>
            <a:fld id="{0502E5A9-B53C-401E-A0E0-4A359BB0A9E5}" type="slidenum">
              <a:rPr lang="en-US" sz="1319" smtClean="0">
                <a:solidFill>
                  <a:prstClr val="black">
                    <a:lumMod val="50000"/>
                    <a:lumOff val="50000"/>
                  </a:prstClr>
                </a:solidFill>
                <a:cs typeface="Arial" panose="020B0604020202020204" pitchFamily="34" charset="0"/>
              </a:rPr>
              <a:t>‹#›</a:t>
            </a:fld>
            <a:endParaRPr lang="en-US" sz="1319">
              <a:solidFill>
                <a:prstClr val="black">
                  <a:lumMod val="50000"/>
                  <a:lumOff val="50000"/>
                </a:prstClr>
              </a:solidFill>
              <a:cs typeface="Arial" panose="020B0604020202020204" pitchFamily="34" charset="0"/>
            </a:endParaRPr>
          </a:p>
        </p:txBody>
      </p:sp>
      <p:sp>
        <p:nvSpPr>
          <p:cNvPr id="17" name="Text Placeholder 7">
            <a:extLst>
              <a:ext uri="{FF2B5EF4-FFF2-40B4-BE49-F238E27FC236}">
                <a16:creationId xmlns:a16="http://schemas.microsoft.com/office/drawing/2014/main" id="{9228FC83-C11D-47F2-8BDE-B10D125E5E87}"/>
              </a:ext>
            </a:extLst>
          </p:cNvPr>
          <p:cNvSpPr>
            <a:spLocks noGrp="1"/>
          </p:cNvSpPr>
          <p:nvPr>
            <p:ph type="body" sz="quarter" idx="32" hasCustomPrompt="1"/>
          </p:nvPr>
        </p:nvSpPr>
        <p:spPr>
          <a:xfrm>
            <a:off x="3640187" y="3144157"/>
            <a:ext cx="6173651" cy="2761297"/>
          </a:xfrm>
          <a:prstGeom prst="rect">
            <a:avLst/>
          </a:prstGeom>
        </p:spPr>
        <p:txBody>
          <a:bodyPr>
            <a:noAutofit/>
          </a:bodyPr>
          <a:lstStyle>
            <a:lvl1pPr>
              <a:lnSpc>
                <a:spcPts val="2638"/>
              </a:lnSpc>
              <a:defRPr sz="2309">
                <a:solidFill>
                  <a:schemeClr val="tx1"/>
                </a:solidFill>
              </a:defRPr>
            </a:lvl1pPr>
            <a:lvl2pPr marL="285340" indent="-277485">
              <a:lnSpc>
                <a:spcPts val="2309"/>
              </a:lnSpc>
              <a:buClr>
                <a:schemeClr val="accent1"/>
              </a:buClr>
              <a:defRPr sz="1979">
                <a:solidFill>
                  <a:schemeClr val="tx1"/>
                </a:solidFill>
              </a:defRPr>
            </a:lvl2pPr>
            <a:lvl3pPr marL="573296" indent="-287957">
              <a:lnSpc>
                <a:spcPts val="2309"/>
              </a:lnSpc>
              <a:buClr>
                <a:schemeClr val="accent1"/>
              </a:buClr>
              <a:defRPr sz="1979">
                <a:solidFill>
                  <a:schemeClr val="tx1"/>
                </a:solidFill>
              </a:defRPr>
            </a:lvl3pPr>
            <a:lvl4pPr marL="840311" indent="-267014">
              <a:lnSpc>
                <a:spcPts val="1979"/>
              </a:lnSpc>
              <a:buClr>
                <a:schemeClr val="accent1"/>
              </a:buClr>
              <a:defRPr sz="1814">
                <a:solidFill>
                  <a:schemeClr val="tx1"/>
                </a:solidFill>
              </a:defRPr>
            </a:lvl4pPr>
            <a:lvl5pPr>
              <a:lnSpc>
                <a:spcPct val="100000"/>
              </a:lnSpc>
              <a:defRPr sz="1979">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24" name="Text Placeholder 7">
            <a:extLst>
              <a:ext uri="{FF2B5EF4-FFF2-40B4-BE49-F238E27FC236}">
                <a16:creationId xmlns:a16="http://schemas.microsoft.com/office/drawing/2014/main" id="{9228FC83-C11D-47F2-8BDE-B10D125E5E87}"/>
              </a:ext>
            </a:extLst>
          </p:cNvPr>
          <p:cNvSpPr>
            <a:spLocks noGrp="1"/>
          </p:cNvSpPr>
          <p:nvPr>
            <p:ph type="body" sz="quarter" idx="33" hasCustomPrompt="1"/>
          </p:nvPr>
        </p:nvSpPr>
        <p:spPr>
          <a:xfrm>
            <a:off x="13257696" y="3144157"/>
            <a:ext cx="6173651" cy="2761297"/>
          </a:xfrm>
          <a:prstGeom prst="rect">
            <a:avLst/>
          </a:prstGeom>
        </p:spPr>
        <p:txBody>
          <a:bodyPr>
            <a:noAutofit/>
          </a:bodyPr>
          <a:lstStyle>
            <a:lvl1pPr>
              <a:lnSpc>
                <a:spcPts val="2638"/>
              </a:lnSpc>
              <a:defRPr sz="2309">
                <a:solidFill>
                  <a:schemeClr val="tx1"/>
                </a:solidFill>
              </a:defRPr>
            </a:lvl1pPr>
            <a:lvl2pPr marL="285340" indent="-277485">
              <a:lnSpc>
                <a:spcPts val="2309"/>
              </a:lnSpc>
              <a:buClr>
                <a:schemeClr val="accent1"/>
              </a:buClr>
              <a:defRPr sz="1979">
                <a:solidFill>
                  <a:schemeClr val="tx1"/>
                </a:solidFill>
              </a:defRPr>
            </a:lvl2pPr>
            <a:lvl3pPr marL="573296" indent="-287957">
              <a:lnSpc>
                <a:spcPts val="2309"/>
              </a:lnSpc>
              <a:buClr>
                <a:schemeClr val="accent1"/>
              </a:buClr>
              <a:defRPr sz="1979">
                <a:solidFill>
                  <a:schemeClr val="tx1"/>
                </a:solidFill>
              </a:defRPr>
            </a:lvl3pPr>
            <a:lvl4pPr marL="840311" indent="-267014">
              <a:lnSpc>
                <a:spcPts val="1979"/>
              </a:lnSpc>
              <a:buClr>
                <a:schemeClr val="accent1"/>
              </a:buClr>
              <a:defRPr sz="1814">
                <a:solidFill>
                  <a:schemeClr val="tx1"/>
                </a:solidFill>
              </a:defRPr>
            </a:lvl4pPr>
            <a:lvl5pPr>
              <a:lnSpc>
                <a:spcPct val="100000"/>
              </a:lnSpc>
              <a:defRPr sz="1979">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27" name="Text Placeholder 7">
            <a:extLst>
              <a:ext uri="{FF2B5EF4-FFF2-40B4-BE49-F238E27FC236}">
                <a16:creationId xmlns:a16="http://schemas.microsoft.com/office/drawing/2014/main" id="{9228FC83-C11D-47F2-8BDE-B10D125E5E87}"/>
              </a:ext>
            </a:extLst>
          </p:cNvPr>
          <p:cNvSpPr>
            <a:spLocks noGrp="1"/>
          </p:cNvSpPr>
          <p:nvPr>
            <p:ph type="body" sz="quarter" idx="34" hasCustomPrompt="1"/>
          </p:nvPr>
        </p:nvSpPr>
        <p:spPr>
          <a:xfrm>
            <a:off x="3640187" y="7234208"/>
            <a:ext cx="6173651" cy="2761297"/>
          </a:xfrm>
          <a:prstGeom prst="rect">
            <a:avLst/>
          </a:prstGeom>
        </p:spPr>
        <p:txBody>
          <a:bodyPr>
            <a:noAutofit/>
          </a:bodyPr>
          <a:lstStyle>
            <a:lvl1pPr>
              <a:lnSpc>
                <a:spcPts val="2638"/>
              </a:lnSpc>
              <a:defRPr sz="2309">
                <a:solidFill>
                  <a:schemeClr val="tx1"/>
                </a:solidFill>
              </a:defRPr>
            </a:lvl1pPr>
            <a:lvl2pPr marL="285340" indent="-277485">
              <a:lnSpc>
                <a:spcPts val="2309"/>
              </a:lnSpc>
              <a:buClr>
                <a:schemeClr val="accent1"/>
              </a:buClr>
              <a:defRPr sz="1979">
                <a:solidFill>
                  <a:schemeClr val="tx1"/>
                </a:solidFill>
              </a:defRPr>
            </a:lvl2pPr>
            <a:lvl3pPr marL="573296" indent="-287957">
              <a:lnSpc>
                <a:spcPts val="2309"/>
              </a:lnSpc>
              <a:buClr>
                <a:schemeClr val="accent1"/>
              </a:buClr>
              <a:defRPr sz="1979">
                <a:solidFill>
                  <a:schemeClr val="tx1"/>
                </a:solidFill>
              </a:defRPr>
            </a:lvl3pPr>
            <a:lvl4pPr marL="840311" indent="-267014">
              <a:lnSpc>
                <a:spcPts val="1979"/>
              </a:lnSpc>
              <a:buClr>
                <a:schemeClr val="accent1"/>
              </a:buClr>
              <a:defRPr sz="1814">
                <a:solidFill>
                  <a:schemeClr val="tx1"/>
                </a:solidFill>
              </a:defRPr>
            </a:lvl4pPr>
            <a:lvl5pPr>
              <a:lnSpc>
                <a:spcPct val="100000"/>
              </a:lnSpc>
              <a:defRPr sz="1979">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sp>
        <p:nvSpPr>
          <p:cNvPr id="28" name="Text Placeholder 7">
            <a:extLst>
              <a:ext uri="{FF2B5EF4-FFF2-40B4-BE49-F238E27FC236}">
                <a16:creationId xmlns:a16="http://schemas.microsoft.com/office/drawing/2014/main" id="{9228FC83-C11D-47F2-8BDE-B10D125E5E87}"/>
              </a:ext>
            </a:extLst>
          </p:cNvPr>
          <p:cNvSpPr>
            <a:spLocks noGrp="1"/>
          </p:cNvSpPr>
          <p:nvPr>
            <p:ph type="body" sz="quarter" idx="35" hasCustomPrompt="1"/>
          </p:nvPr>
        </p:nvSpPr>
        <p:spPr>
          <a:xfrm>
            <a:off x="13257696" y="7234208"/>
            <a:ext cx="6173651" cy="2761297"/>
          </a:xfrm>
          <a:prstGeom prst="rect">
            <a:avLst/>
          </a:prstGeom>
        </p:spPr>
        <p:txBody>
          <a:bodyPr>
            <a:noAutofit/>
          </a:bodyPr>
          <a:lstStyle>
            <a:lvl1pPr>
              <a:lnSpc>
                <a:spcPts val="2638"/>
              </a:lnSpc>
              <a:defRPr sz="2309">
                <a:solidFill>
                  <a:schemeClr val="tx1"/>
                </a:solidFill>
              </a:defRPr>
            </a:lvl1pPr>
            <a:lvl2pPr marL="285340" indent="-277485">
              <a:lnSpc>
                <a:spcPts val="2309"/>
              </a:lnSpc>
              <a:buClr>
                <a:schemeClr val="accent1"/>
              </a:buClr>
              <a:defRPr sz="1979">
                <a:solidFill>
                  <a:schemeClr val="tx1"/>
                </a:solidFill>
              </a:defRPr>
            </a:lvl2pPr>
            <a:lvl3pPr marL="573296" indent="-287957">
              <a:lnSpc>
                <a:spcPts val="2309"/>
              </a:lnSpc>
              <a:buClr>
                <a:schemeClr val="accent1"/>
              </a:buClr>
              <a:defRPr sz="1979">
                <a:solidFill>
                  <a:schemeClr val="tx1"/>
                </a:solidFill>
              </a:defRPr>
            </a:lvl3pPr>
            <a:lvl4pPr marL="840311" indent="-267014">
              <a:lnSpc>
                <a:spcPts val="1979"/>
              </a:lnSpc>
              <a:buClr>
                <a:schemeClr val="accent1"/>
              </a:buClr>
              <a:defRPr sz="1814">
                <a:solidFill>
                  <a:schemeClr val="tx1"/>
                </a:solidFill>
              </a:defRPr>
            </a:lvl4pPr>
            <a:lvl5pPr>
              <a:lnSpc>
                <a:spcPct val="100000"/>
              </a:lnSpc>
              <a:defRPr sz="1979">
                <a:solidFill>
                  <a:schemeClr val="tx1"/>
                </a:solidFill>
              </a:defRPr>
            </a:lvl5pPr>
          </a:lstStyle>
          <a:p>
            <a:pPr lvl="0"/>
            <a:r>
              <a:rPr lang="en-US"/>
              <a:t>Click to insert text</a:t>
            </a:r>
          </a:p>
          <a:p>
            <a:pPr lvl="1"/>
            <a:r>
              <a:rPr lang="en-US"/>
              <a:t>Second level</a:t>
            </a:r>
          </a:p>
          <a:p>
            <a:pPr lvl="2"/>
            <a:r>
              <a:rPr lang="en-US"/>
              <a:t>Third level</a:t>
            </a:r>
          </a:p>
          <a:p>
            <a:pPr lvl="3"/>
            <a:r>
              <a:rPr lang="en-US"/>
              <a:t>Fourth level</a:t>
            </a:r>
          </a:p>
        </p:txBody>
      </p:sp>
      <p:cxnSp>
        <p:nvCxnSpPr>
          <p:cNvPr id="31"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2362232" y="10882253"/>
            <a:ext cx="0" cy="256989"/>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32" name="Rectangle 27">
            <a:hlinkClick r:id="rId2"/>
            <a:extLst>
              <a:ext uri="{FF2B5EF4-FFF2-40B4-BE49-F238E27FC236}">
                <a16:creationId xmlns:a16="http://schemas.microsoft.com/office/drawing/2014/main" id="{F376ABD1-4930-42EB-9A73-9A9C7C6BF2D3}"/>
              </a:ext>
            </a:extLst>
          </p:cNvPr>
          <p:cNvSpPr/>
          <p:nvPr userDrawn="1"/>
        </p:nvSpPr>
        <p:spPr>
          <a:xfrm>
            <a:off x="658187" y="10829493"/>
            <a:ext cx="4664915" cy="362509"/>
          </a:xfrm>
          <a:prstGeom prst="rect">
            <a:avLst/>
          </a:prstGeom>
        </p:spPr>
        <p:txBody>
          <a:bodyPr wrap="square" lIns="0" tIns="0" rIns="0" bIns="0" anchor="ctr" anchorCtr="0">
            <a:noAutofit/>
          </a:bodyPr>
          <a:lstStyle/>
          <a:p>
            <a:pPr lvl="0" algn="l" defTabSz="1507846">
              <a:lnSpc>
                <a:spcPct val="100000"/>
              </a:lnSpc>
              <a:defRPr/>
            </a:pPr>
            <a:r>
              <a:rPr lang="en-US" sz="1319" kern="0">
                <a:solidFill>
                  <a:schemeClr val="tx2"/>
                </a:solidFill>
                <a:latin typeface="+mj-lt"/>
                <a:cs typeface="Arial" panose="020B0604020202020204" pitchFamily="34" charset="0"/>
              </a:rPr>
              <a:t>Presentation Title</a:t>
            </a:r>
          </a:p>
        </p:txBody>
      </p:sp>
      <p:sp>
        <p:nvSpPr>
          <p:cNvPr id="33" name="Rectangle 27">
            <a:hlinkClick r:id="rId2"/>
            <a:extLst>
              <a:ext uri="{FF2B5EF4-FFF2-40B4-BE49-F238E27FC236}">
                <a16:creationId xmlns:a16="http://schemas.microsoft.com/office/drawing/2014/main" id="{F376ABD1-4930-42EB-9A73-9A9C7C6BF2D3}"/>
              </a:ext>
            </a:extLst>
          </p:cNvPr>
          <p:cNvSpPr/>
          <p:nvPr userDrawn="1"/>
        </p:nvSpPr>
        <p:spPr>
          <a:xfrm>
            <a:off x="2601711" y="10829494"/>
            <a:ext cx="1714607" cy="355530"/>
          </a:xfrm>
          <a:prstGeom prst="rect">
            <a:avLst/>
          </a:prstGeom>
        </p:spPr>
        <p:txBody>
          <a:bodyPr wrap="square" lIns="0" tIns="0" rIns="0" bIns="0" anchor="ctr" anchorCtr="0">
            <a:noAutofit/>
          </a:bodyPr>
          <a:lstStyle/>
          <a:p>
            <a:pPr lvl="0" algn="l" defTabSz="1507846">
              <a:lnSpc>
                <a:spcPct val="100000"/>
              </a:lnSpc>
              <a:defRPr/>
            </a:pPr>
            <a:r>
              <a:rPr lang="en-US" sz="1319" kern="0">
                <a:solidFill>
                  <a:schemeClr val="tx1"/>
                </a:solidFill>
                <a:latin typeface="+mj-lt"/>
                <a:cs typeface="Arial" panose="020B0604020202020204" pitchFamily="34" charset="0"/>
              </a:rPr>
              <a:t>Date</a:t>
            </a:r>
          </a:p>
        </p:txBody>
      </p:sp>
      <p:sp>
        <p:nvSpPr>
          <p:cNvPr id="34" name="Retângulo 43">
            <a:extLst>
              <a:ext uri="{FF2B5EF4-FFF2-40B4-BE49-F238E27FC236}">
                <a16:creationId xmlns:a16="http://schemas.microsoft.com/office/drawing/2014/main" id="{834ADCB4-BFB1-450D-8F6D-64217F4CD92C}"/>
              </a:ext>
            </a:extLst>
          </p:cNvPr>
          <p:cNvSpPr/>
          <p:nvPr userDrawn="1"/>
        </p:nvSpPr>
        <p:spPr>
          <a:xfrm>
            <a:off x="3453436" y="10829141"/>
            <a:ext cx="4274077" cy="362509"/>
          </a:xfrm>
          <a:prstGeom prst="rect">
            <a:avLst/>
          </a:prstGeom>
        </p:spPr>
        <p:txBody>
          <a:bodyPr wrap="none" lIns="0" tIns="0" rIns="0" bIns="0" anchor="ctr">
            <a:noAutofit/>
          </a:bodyPr>
          <a:lstStyle/>
          <a:p>
            <a:pPr>
              <a:lnSpc>
                <a:spcPct val="100000"/>
              </a:lnSpc>
            </a:pPr>
            <a:r>
              <a:rPr lang="en-US" sz="1319">
                <a:solidFill>
                  <a:schemeClr val="bg2">
                    <a:lumMod val="50000"/>
                  </a:schemeClr>
                </a:solidFill>
                <a:cs typeface="Arial" panose="020B0604020202020204" pitchFamily="34" charset="0"/>
              </a:rPr>
              <a:t>© 2018 </a:t>
            </a:r>
            <a:r>
              <a:rPr lang="en-US" sz="1319" err="1">
                <a:solidFill>
                  <a:schemeClr val="bg2">
                    <a:lumMod val="50000"/>
                  </a:schemeClr>
                </a:solidFill>
                <a:cs typeface="Arial" panose="020B0604020202020204" pitchFamily="34" charset="0"/>
              </a:rPr>
              <a:t>Sogeti</a:t>
            </a:r>
            <a:r>
              <a:rPr lang="en-US" sz="1319">
                <a:solidFill>
                  <a:schemeClr val="bg2">
                    <a:lumMod val="50000"/>
                  </a:schemeClr>
                </a:solidFill>
                <a:cs typeface="Arial" panose="020B0604020202020204" pitchFamily="34" charset="0"/>
              </a:rPr>
              <a:t>. All rights reserved.</a:t>
            </a:r>
          </a:p>
        </p:txBody>
      </p:sp>
      <p:cxnSp>
        <p:nvCxnSpPr>
          <p:cNvPr id="35"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3216656" y="10882253"/>
            <a:ext cx="0" cy="256989"/>
          </a:xfrm>
          <a:prstGeom prst="line">
            <a:avLst/>
          </a:prstGeom>
          <a:solidFill>
            <a:schemeClr val="tx1"/>
          </a:solidFill>
          <a:ln w="6350" cap="rnd">
            <a:solidFill>
              <a:schemeClr val="accent3"/>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6166447"/>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8_Cover2">
    <p:spTree>
      <p:nvGrpSpPr>
        <p:cNvPr id="1" name=""/>
        <p:cNvGrpSpPr/>
        <p:nvPr/>
      </p:nvGrpSpPr>
      <p:grpSpPr>
        <a:xfrm>
          <a:off x="0" y="0"/>
          <a:ext cx="0" cy="0"/>
          <a:chOff x="0" y="0"/>
          <a:chExt cx="0" cy="0"/>
        </a:xfrm>
      </p:grpSpPr>
      <p:sp>
        <p:nvSpPr>
          <p:cNvPr id="17" name="Freeform 16"/>
          <p:cNvSpPr/>
          <p:nvPr userDrawn="1"/>
        </p:nvSpPr>
        <p:spPr>
          <a:xfrm>
            <a:off x="-37904" y="0"/>
            <a:ext cx="10262960" cy="11328400"/>
          </a:xfrm>
          <a:custGeom>
            <a:avLst/>
            <a:gdLst>
              <a:gd name="connsiteX0" fmla="*/ 0 w 6223905"/>
              <a:gd name="connsiteY0" fmla="*/ 0 h 6858000"/>
              <a:gd name="connsiteX1" fmla="*/ 4186882 w 6223905"/>
              <a:gd name="connsiteY1" fmla="*/ 0 h 6858000"/>
              <a:gd name="connsiteX2" fmla="*/ 4197034 w 6223905"/>
              <a:gd name="connsiteY2" fmla="*/ 22340 h 6858000"/>
              <a:gd name="connsiteX3" fmla="*/ 5904357 w 6223905"/>
              <a:gd name="connsiteY3" fmla="*/ 3779388 h 6858000"/>
              <a:gd name="connsiteX4" fmla="*/ 5873730 w 6223905"/>
              <a:gd name="connsiteY4" fmla="*/ 6784163 h 6858000"/>
              <a:gd name="connsiteX5" fmla="*/ 5834113 w 6223905"/>
              <a:gd name="connsiteY5" fmla="*/ 6858000 h 6858000"/>
              <a:gd name="connsiteX6" fmla="*/ 0 w 6223905"/>
              <a:gd name="connsiteY6" fmla="*/ 6858000 h 6858000"/>
              <a:gd name="connsiteX7" fmla="*/ 0 w 6223905"/>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23905" h="6858000">
                <a:moveTo>
                  <a:pt x="0" y="0"/>
                </a:moveTo>
                <a:lnTo>
                  <a:pt x="4186882" y="0"/>
                </a:lnTo>
                <a:lnTo>
                  <a:pt x="4197034" y="22340"/>
                </a:lnTo>
                <a:cubicBezTo>
                  <a:pt x="5904357" y="3779388"/>
                  <a:pt x="5904357" y="3779388"/>
                  <a:pt x="5904357" y="3779388"/>
                </a:cubicBezTo>
                <a:cubicBezTo>
                  <a:pt x="6352858" y="4766336"/>
                  <a:pt x="6316954" y="5863968"/>
                  <a:pt x="5873730" y="6784163"/>
                </a:cubicBezTo>
                <a:lnTo>
                  <a:pt x="5834113" y="6858000"/>
                </a:lnTo>
                <a:lnTo>
                  <a:pt x="0" y="6858000"/>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6890336" y="679706"/>
            <a:ext cx="2600965" cy="1355257"/>
          </a:xfrm>
          <a:prstGeom prst="rect">
            <a:avLst/>
          </a:prstGeom>
        </p:spPr>
      </p:pic>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966249" y="2130905"/>
            <a:ext cx="10740474" cy="7987551"/>
          </a:xfrm>
          <a:prstGeom prst="rect">
            <a:avLst/>
          </a:prstGeom>
        </p:spPr>
      </p:pic>
      <p:sp>
        <p:nvSpPr>
          <p:cNvPr id="20" name="Title 1"/>
          <p:cNvSpPr>
            <a:spLocks noGrp="1"/>
          </p:cNvSpPr>
          <p:nvPr>
            <p:ph type="ctrTitle" hasCustomPrompt="1"/>
          </p:nvPr>
        </p:nvSpPr>
        <p:spPr>
          <a:xfrm>
            <a:off x="672755" y="4153749"/>
            <a:ext cx="8191913" cy="11905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4947"/>
              </a:lnSpc>
              <a:defRPr lang="en-US" sz="4287" b="0" dirty="0">
                <a:solidFill>
                  <a:schemeClr val="bg1"/>
                </a:solidFill>
              </a:defRPr>
            </a:lvl1pPr>
          </a:lstStyle>
          <a:p>
            <a:pPr marL="0" lvl="0"/>
            <a:r>
              <a:rPr lang="en-US"/>
              <a:t>Title of Presentation</a:t>
            </a:r>
          </a:p>
        </p:txBody>
      </p:sp>
      <p:sp>
        <p:nvSpPr>
          <p:cNvPr id="21" name="Subtitle 2"/>
          <p:cNvSpPr>
            <a:spLocks noGrp="1"/>
          </p:cNvSpPr>
          <p:nvPr>
            <p:ph type="subTitle" idx="1" hasCustomPrompt="1"/>
          </p:nvPr>
        </p:nvSpPr>
        <p:spPr>
          <a:xfrm>
            <a:off x="672755" y="5664201"/>
            <a:ext cx="8191913" cy="20218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1507846" rtl="0" eaLnBrk="1" fontAlgn="auto" latinLnBrk="0" hangingPunct="1">
              <a:lnSpc>
                <a:spcPts val="2968"/>
              </a:lnSpc>
              <a:spcBef>
                <a:spcPts val="0"/>
              </a:spcBef>
              <a:spcAft>
                <a:spcPts val="0"/>
              </a:spcAft>
              <a:buClrTx/>
              <a:buSzTx/>
              <a:buFont typeface="Arial" panose="020B0604020202020204" pitchFamily="34" charset="0"/>
              <a:buNone/>
              <a:tabLst/>
              <a:defRPr lang="en-US" sz="2638" dirty="0">
                <a:solidFill>
                  <a:schemeClr val="bg1"/>
                </a:solidFill>
              </a:defRPr>
            </a:lvl1pPr>
          </a:lstStyle>
          <a:p>
            <a:pPr marL="0" lvl="0"/>
            <a:r>
              <a:rPr lang="en-US"/>
              <a:t>Subtitle</a:t>
            </a:r>
          </a:p>
        </p:txBody>
      </p:sp>
    </p:spTree>
    <p:extLst>
      <p:ext uri="{BB962C8B-B14F-4D97-AF65-F5344CB8AC3E}">
        <p14:creationId xmlns:p14="http://schemas.microsoft.com/office/powerpoint/2010/main" val="58765930"/>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2618" y="2624"/>
          <a:ext cx="2617" cy="2621"/>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18" y="2624"/>
                        <a:ext cx="2617" cy="262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s-ES"/>
              <a:t>Haga clic para modificar el estilo de título del patrón</a:t>
            </a:r>
            <a:endParaRPr lang="en-GB"/>
          </a:p>
        </p:txBody>
      </p:sp>
    </p:spTree>
    <p:extLst>
      <p:ext uri="{BB962C8B-B14F-4D97-AF65-F5344CB8AC3E}">
        <p14:creationId xmlns:p14="http://schemas.microsoft.com/office/powerpoint/2010/main" val="419553144"/>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Title Only-whit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2618" y="2624"/>
          <a:ext cx="2617" cy="2621"/>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18" y="2624"/>
                        <a:ext cx="2617" cy="262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672755" y="668692"/>
            <a:ext cx="11012753" cy="1426541"/>
          </a:xfrm>
        </p:spPr>
        <p:txBody>
          <a:bodyPr vert="horz" lIns="0" tIns="0" rIns="0" bIns="0" rtlCol="0" anchor="t">
            <a:noAutofit/>
          </a:bodyPr>
          <a:lstStyle>
            <a:lvl1pPr>
              <a:defRPr lang="en-GB" sz="5277" dirty="0">
                <a:latin typeface="Ubuntu Light" panose="020B0604030602030204" pitchFamily="34" charset="0"/>
              </a:defRPr>
            </a:lvl1pPr>
          </a:lstStyle>
          <a:p>
            <a:pPr marL="0" lvl="0"/>
            <a:r>
              <a:rPr lang="en-US" dirty="0"/>
              <a:t>Click to edit Master title style</a:t>
            </a:r>
            <a:endParaRPr lang="en-GB" dirty="0"/>
          </a:p>
        </p:txBody>
      </p:sp>
    </p:spTree>
    <p:extLst>
      <p:ext uri="{BB962C8B-B14F-4D97-AF65-F5344CB8AC3E}">
        <p14:creationId xmlns:p14="http://schemas.microsoft.com/office/powerpoint/2010/main" val="1105166199"/>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1_Title Only-whit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2618" y="2624"/>
          <a:ext cx="2617" cy="2621"/>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18" y="2624"/>
                        <a:ext cx="2617" cy="262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672755" y="668692"/>
            <a:ext cx="11012753" cy="1426541"/>
          </a:xfrm>
        </p:spPr>
        <p:txBody>
          <a:bodyPr vert="horz" lIns="0" tIns="0" rIns="0" bIns="0" rtlCol="0" anchor="t">
            <a:noAutofit/>
          </a:bodyPr>
          <a:lstStyle>
            <a:lvl1pPr>
              <a:defRPr lang="en-GB" sz="5277" dirty="0">
                <a:latin typeface="Ubuntu Light" panose="020B0604030602030204" pitchFamily="34" charset="0"/>
              </a:defRPr>
            </a:lvl1pPr>
          </a:lstStyle>
          <a:p>
            <a:pPr marL="0" lvl="0"/>
            <a:r>
              <a:rPr lang="en-US" dirty="0"/>
              <a:t>Click to edit Master title style</a:t>
            </a:r>
            <a:endParaRPr lang="en-GB" dirty="0"/>
          </a:p>
        </p:txBody>
      </p:sp>
      <p:sp>
        <p:nvSpPr>
          <p:cNvPr id="4" name="Freeform 5">
            <a:extLst>
              <a:ext uri="{FF2B5EF4-FFF2-40B4-BE49-F238E27FC236}">
                <a16:creationId xmlns:a16="http://schemas.microsoft.com/office/drawing/2014/main" id="{72F3E047-7FA8-D044-B2A5-23CFE94335FC}"/>
              </a:ext>
            </a:extLst>
          </p:cNvPr>
          <p:cNvSpPr/>
          <p:nvPr userDrawn="1"/>
        </p:nvSpPr>
        <p:spPr>
          <a:xfrm>
            <a:off x="1" y="-1"/>
            <a:ext cx="20120209" cy="6669017"/>
          </a:xfrm>
          <a:custGeom>
            <a:avLst/>
            <a:gdLst>
              <a:gd name="connsiteX0" fmla="*/ 0 w 12193224"/>
              <a:gd name="connsiteY0" fmla="*/ 0 h 3895500"/>
              <a:gd name="connsiteX1" fmla="*/ 12193224 w 12193224"/>
              <a:gd name="connsiteY1" fmla="*/ 0 h 3895500"/>
              <a:gd name="connsiteX2" fmla="*/ 12193224 w 12193224"/>
              <a:gd name="connsiteY2" fmla="*/ 246767 h 3895500"/>
              <a:gd name="connsiteX3" fmla="*/ 12193224 w 12193224"/>
              <a:gd name="connsiteY3" fmla="*/ 3895500 h 3895500"/>
              <a:gd name="connsiteX4" fmla="*/ 11695542 w 12193224"/>
              <a:gd name="connsiteY4" fmla="*/ 3812356 h 3895500"/>
              <a:gd name="connsiteX5" fmla="*/ 0 w 12193224"/>
              <a:gd name="connsiteY5" fmla="*/ 1297276 h 3895500"/>
              <a:gd name="connsiteX6" fmla="*/ 0 w 12193224"/>
              <a:gd name="connsiteY6" fmla="*/ 68316 h 3895500"/>
              <a:gd name="connsiteX7" fmla="*/ 0 w 12193224"/>
              <a:gd name="connsiteY7" fmla="*/ 0 h 3895500"/>
              <a:gd name="connsiteX0" fmla="*/ 0 w 12193224"/>
              <a:gd name="connsiteY0" fmla="*/ 0 h 3905668"/>
              <a:gd name="connsiteX1" fmla="*/ 12193224 w 12193224"/>
              <a:gd name="connsiteY1" fmla="*/ 0 h 3905668"/>
              <a:gd name="connsiteX2" fmla="*/ 12193224 w 12193224"/>
              <a:gd name="connsiteY2" fmla="*/ 246767 h 3905668"/>
              <a:gd name="connsiteX3" fmla="*/ 12193224 w 12193224"/>
              <a:gd name="connsiteY3" fmla="*/ 3895500 h 3905668"/>
              <a:gd name="connsiteX4" fmla="*/ 0 w 12193224"/>
              <a:gd name="connsiteY4" fmla="*/ 1297276 h 3905668"/>
              <a:gd name="connsiteX5" fmla="*/ 0 w 12193224"/>
              <a:gd name="connsiteY5" fmla="*/ 68316 h 3905668"/>
              <a:gd name="connsiteX6" fmla="*/ 0 w 12193224"/>
              <a:gd name="connsiteY6" fmla="*/ 0 h 3905668"/>
              <a:gd name="connsiteX0" fmla="*/ 0 w 12201769"/>
              <a:gd name="connsiteY0" fmla="*/ 0 h 3096269"/>
              <a:gd name="connsiteX1" fmla="*/ 12193224 w 12201769"/>
              <a:gd name="connsiteY1" fmla="*/ 0 h 3096269"/>
              <a:gd name="connsiteX2" fmla="*/ 12193224 w 12201769"/>
              <a:gd name="connsiteY2" fmla="*/ 246767 h 3096269"/>
              <a:gd name="connsiteX3" fmla="*/ 12201769 w 12201769"/>
              <a:gd name="connsiteY3" fmla="*/ 3080428 h 3096269"/>
              <a:gd name="connsiteX4" fmla="*/ 0 w 12201769"/>
              <a:gd name="connsiteY4" fmla="*/ 1297276 h 3096269"/>
              <a:gd name="connsiteX5" fmla="*/ 0 w 12201769"/>
              <a:gd name="connsiteY5" fmla="*/ 68316 h 3096269"/>
              <a:gd name="connsiteX6" fmla="*/ 0 w 12201769"/>
              <a:gd name="connsiteY6" fmla="*/ 0 h 3096269"/>
              <a:gd name="connsiteX0" fmla="*/ 0 w 12201769"/>
              <a:gd name="connsiteY0" fmla="*/ 0 h 3080521"/>
              <a:gd name="connsiteX1" fmla="*/ 12193224 w 12201769"/>
              <a:gd name="connsiteY1" fmla="*/ 0 h 3080521"/>
              <a:gd name="connsiteX2" fmla="*/ 12193224 w 12201769"/>
              <a:gd name="connsiteY2" fmla="*/ 246767 h 3080521"/>
              <a:gd name="connsiteX3" fmla="*/ 12201769 w 12201769"/>
              <a:gd name="connsiteY3" fmla="*/ 3080428 h 3080521"/>
              <a:gd name="connsiteX4" fmla="*/ 0 w 12201769"/>
              <a:gd name="connsiteY4" fmla="*/ 1297276 h 3080521"/>
              <a:gd name="connsiteX5" fmla="*/ 0 w 12201769"/>
              <a:gd name="connsiteY5" fmla="*/ 68316 h 3080521"/>
              <a:gd name="connsiteX6" fmla="*/ 0 w 12201769"/>
              <a:gd name="connsiteY6" fmla="*/ 0 h 3080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01769" h="3080521">
                <a:moveTo>
                  <a:pt x="0" y="0"/>
                </a:moveTo>
                <a:lnTo>
                  <a:pt x="12193224" y="0"/>
                </a:lnTo>
                <a:lnTo>
                  <a:pt x="12193224" y="246767"/>
                </a:lnTo>
                <a:cubicBezTo>
                  <a:pt x="12196072" y="1191321"/>
                  <a:pt x="12198921" y="2135874"/>
                  <a:pt x="12201769" y="3080428"/>
                </a:cubicBezTo>
                <a:cubicBezTo>
                  <a:pt x="7238357" y="3092499"/>
                  <a:pt x="2032204" y="1935140"/>
                  <a:pt x="0" y="1297276"/>
                </a:cubicBezTo>
                <a:lnTo>
                  <a:pt x="0" y="68316"/>
                </a:lnTo>
                <a:lnTo>
                  <a:pt x="0" y="0"/>
                </a:lnTo>
                <a:close/>
              </a:path>
            </a:pathLst>
          </a:cu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34921670"/>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2618" y="2624"/>
          <a:ext cx="2617" cy="2621"/>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18" y="2624"/>
                        <a:ext cx="2617" cy="262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a:t>Modifiez le style du titre</a:t>
            </a:r>
            <a:endParaRPr lang="en-GB" dirty="0"/>
          </a:p>
        </p:txBody>
      </p:sp>
    </p:spTree>
    <p:extLst>
      <p:ext uri="{BB962C8B-B14F-4D97-AF65-F5344CB8AC3E}">
        <p14:creationId xmlns:p14="http://schemas.microsoft.com/office/powerpoint/2010/main" val="42109043"/>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6_Cover2">
    <p:spTree>
      <p:nvGrpSpPr>
        <p:cNvPr id="1" name=""/>
        <p:cNvGrpSpPr/>
        <p:nvPr/>
      </p:nvGrpSpPr>
      <p:grpSpPr>
        <a:xfrm>
          <a:off x="0" y="0"/>
          <a:ext cx="0" cy="0"/>
          <a:chOff x="0" y="0"/>
          <a:chExt cx="0" cy="0"/>
        </a:xfrm>
      </p:grpSpPr>
      <p:sp>
        <p:nvSpPr>
          <p:cNvPr id="2" name="Rectangle 1"/>
          <p:cNvSpPr/>
          <p:nvPr userDrawn="1"/>
        </p:nvSpPr>
        <p:spPr>
          <a:xfrm>
            <a:off x="0" y="0"/>
            <a:ext cx="20104100" cy="113284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09" dirty="0">
              <a:solidFill>
                <a:schemeClr val="tx1"/>
              </a:solidFill>
            </a:endParaRPr>
          </a:p>
        </p:txBody>
      </p:sp>
      <p:sp>
        <p:nvSpPr>
          <p:cNvPr id="5" name="Oval 4"/>
          <p:cNvSpPr/>
          <p:nvPr userDrawn="1"/>
        </p:nvSpPr>
        <p:spPr>
          <a:xfrm>
            <a:off x="8820676" y="383463"/>
            <a:ext cx="10635801" cy="1065446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sz="2309" dirty="0">
              <a:solidFill>
                <a:schemeClr val="tx1"/>
              </a:solidFill>
            </a:endParaRPr>
          </a:p>
        </p:txBody>
      </p:sp>
      <p:sp>
        <p:nvSpPr>
          <p:cNvPr id="8" name="Title 1"/>
          <p:cNvSpPr>
            <a:spLocks noGrp="1"/>
          </p:cNvSpPr>
          <p:nvPr>
            <p:ph type="ctrTitle" hasCustomPrompt="1"/>
          </p:nvPr>
        </p:nvSpPr>
        <p:spPr>
          <a:xfrm>
            <a:off x="9400600" y="4589859"/>
            <a:ext cx="9533942" cy="11905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r">
              <a:lnSpc>
                <a:spcPts val="4947"/>
              </a:lnSpc>
              <a:defRPr lang="en-US" sz="4287" b="0" dirty="0">
                <a:solidFill>
                  <a:schemeClr val="accent3"/>
                </a:solidFill>
              </a:defRPr>
            </a:lvl1pPr>
          </a:lstStyle>
          <a:p>
            <a:pPr marL="0" lvl="0"/>
            <a:r>
              <a:rPr lang="en-US" dirty="0"/>
              <a:t>Title of Presentation</a:t>
            </a:r>
          </a:p>
        </p:txBody>
      </p:sp>
      <p:sp>
        <p:nvSpPr>
          <p:cNvPr id="9" name="Subtitle 2"/>
          <p:cNvSpPr>
            <a:spLocks noGrp="1"/>
          </p:cNvSpPr>
          <p:nvPr>
            <p:ph type="subTitle" idx="1" hasCustomPrompt="1"/>
          </p:nvPr>
        </p:nvSpPr>
        <p:spPr>
          <a:xfrm>
            <a:off x="9400600" y="6100311"/>
            <a:ext cx="9533942" cy="20218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1507846" rtl="0" eaLnBrk="1" fontAlgn="auto" latinLnBrk="0" hangingPunct="1">
              <a:lnSpc>
                <a:spcPts val="2968"/>
              </a:lnSpc>
              <a:spcBef>
                <a:spcPts val="0"/>
              </a:spcBef>
              <a:spcAft>
                <a:spcPts val="0"/>
              </a:spcAft>
              <a:buClrTx/>
              <a:buSzTx/>
              <a:buFont typeface="Arial" panose="020B0604020202020204" pitchFamily="34" charset="0"/>
              <a:buNone/>
              <a:tabLst/>
              <a:defRPr lang="en-US" sz="2638" dirty="0">
                <a:solidFill>
                  <a:schemeClr val="accent3"/>
                </a:solidFill>
              </a:defRPr>
            </a:lvl1pPr>
          </a:lstStyle>
          <a:p>
            <a:pPr marL="0" lvl="0"/>
            <a:r>
              <a:rPr lang="en-US" dirty="0"/>
              <a:t>Subtitle</a:t>
            </a:r>
          </a:p>
        </p:txBody>
      </p:sp>
      <p:pic>
        <p:nvPicPr>
          <p:cNvPr id="10" name="Picture 9"/>
          <p:cNvPicPr>
            <a:picLocks noChangeAspect="1"/>
          </p:cNvPicPr>
          <p:nvPr userDrawn="1"/>
        </p:nvPicPr>
        <p:blipFill>
          <a:blip r:embed="rId2"/>
          <a:stretch>
            <a:fillRect/>
          </a:stretch>
        </p:blipFill>
        <p:spPr>
          <a:xfrm>
            <a:off x="672755" y="9426154"/>
            <a:ext cx="4306924" cy="1390853"/>
          </a:xfrm>
          <a:prstGeom prst="rect">
            <a:avLst/>
          </a:prstGeom>
        </p:spPr>
      </p:pic>
    </p:spTree>
    <p:extLst>
      <p:ext uri="{BB962C8B-B14F-4D97-AF65-F5344CB8AC3E}">
        <p14:creationId xmlns:p14="http://schemas.microsoft.com/office/powerpoint/2010/main" val="2513517719"/>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2_Cover2">
    <p:spTree>
      <p:nvGrpSpPr>
        <p:cNvPr id="1" name=""/>
        <p:cNvGrpSpPr/>
        <p:nvPr/>
      </p:nvGrpSpPr>
      <p:grpSpPr>
        <a:xfrm>
          <a:off x="0" y="0"/>
          <a:ext cx="0" cy="0"/>
          <a:chOff x="0" y="0"/>
          <a:chExt cx="0" cy="0"/>
        </a:xfrm>
      </p:grpSpPr>
      <p:sp>
        <p:nvSpPr>
          <p:cNvPr id="10" name="Freeform 9"/>
          <p:cNvSpPr/>
          <p:nvPr userDrawn="1"/>
        </p:nvSpPr>
        <p:spPr>
          <a:xfrm>
            <a:off x="2136061" y="2"/>
            <a:ext cx="17968039" cy="9197685"/>
          </a:xfrm>
          <a:custGeom>
            <a:avLst/>
            <a:gdLst>
              <a:gd name="connsiteX0" fmla="*/ 0 w 10896600"/>
              <a:gd name="connsiteY0" fmla="*/ 0 h 5568105"/>
              <a:gd name="connsiteX1" fmla="*/ 10896600 w 10896600"/>
              <a:gd name="connsiteY1" fmla="*/ 0 h 5568105"/>
              <a:gd name="connsiteX2" fmla="*/ 10896600 w 10896600"/>
              <a:gd name="connsiteY2" fmla="*/ 80960 h 5568105"/>
              <a:gd name="connsiteX3" fmla="*/ 10896600 w 10896600"/>
              <a:gd name="connsiteY3" fmla="*/ 5568105 h 5568105"/>
              <a:gd name="connsiteX4" fmla="*/ 10451841 w 10896600"/>
              <a:gd name="connsiteY4" fmla="*/ 5493803 h 5568105"/>
              <a:gd name="connsiteX5" fmla="*/ 0 w 10896600"/>
              <a:gd name="connsiteY5" fmla="*/ 3246176 h 5568105"/>
              <a:gd name="connsiteX6" fmla="*/ 0 w 10896600"/>
              <a:gd name="connsiteY6" fmla="*/ 191975 h 5568105"/>
              <a:gd name="connsiteX7" fmla="*/ 0 w 10896600"/>
              <a:gd name="connsiteY7" fmla="*/ 0 h 5568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96600" h="5568105">
                <a:moveTo>
                  <a:pt x="0" y="0"/>
                </a:moveTo>
                <a:lnTo>
                  <a:pt x="10896600" y="0"/>
                </a:lnTo>
                <a:lnTo>
                  <a:pt x="10896600" y="80960"/>
                </a:lnTo>
                <a:cubicBezTo>
                  <a:pt x="10896600" y="1513754"/>
                  <a:pt x="10896600" y="3311770"/>
                  <a:pt x="10896600" y="5568105"/>
                </a:cubicBezTo>
                <a:cubicBezTo>
                  <a:pt x="10748347" y="5549530"/>
                  <a:pt x="10600094" y="5530954"/>
                  <a:pt x="10451841" y="5493803"/>
                </a:cubicBezTo>
                <a:cubicBezTo>
                  <a:pt x="6356350" y="4787937"/>
                  <a:pt x="2872403" y="4026344"/>
                  <a:pt x="0" y="3246176"/>
                </a:cubicBezTo>
                <a:cubicBezTo>
                  <a:pt x="0" y="3246176"/>
                  <a:pt x="0" y="3246176"/>
                  <a:pt x="0" y="191975"/>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Title 1"/>
          <p:cNvSpPr>
            <a:spLocks noGrp="1"/>
          </p:cNvSpPr>
          <p:nvPr>
            <p:ph type="ctrTitle" hasCustomPrompt="1"/>
          </p:nvPr>
        </p:nvSpPr>
        <p:spPr>
          <a:xfrm>
            <a:off x="11239434" y="2382273"/>
            <a:ext cx="8191913" cy="11905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r">
              <a:lnSpc>
                <a:spcPts val="4947"/>
              </a:lnSpc>
              <a:defRPr lang="en-US" sz="4287" b="0" dirty="0">
                <a:solidFill>
                  <a:schemeClr val="bg1"/>
                </a:solidFill>
              </a:defRPr>
            </a:lvl1pPr>
          </a:lstStyle>
          <a:p>
            <a:pPr marL="0" lvl="0"/>
            <a:r>
              <a:rPr lang="en-US"/>
              <a:t>Title of Presentation</a:t>
            </a:r>
          </a:p>
        </p:txBody>
      </p:sp>
      <p:sp>
        <p:nvSpPr>
          <p:cNvPr id="9" name="Subtitle 2"/>
          <p:cNvSpPr>
            <a:spLocks noGrp="1"/>
          </p:cNvSpPr>
          <p:nvPr>
            <p:ph type="subTitle" idx="1" hasCustomPrompt="1"/>
          </p:nvPr>
        </p:nvSpPr>
        <p:spPr>
          <a:xfrm>
            <a:off x="11239434" y="3892725"/>
            <a:ext cx="8191913" cy="20218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1507846" rtl="0" eaLnBrk="1" fontAlgn="auto" latinLnBrk="0" hangingPunct="1">
              <a:lnSpc>
                <a:spcPts val="2968"/>
              </a:lnSpc>
              <a:spcBef>
                <a:spcPts val="0"/>
              </a:spcBef>
              <a:spcAft>
                <a:spcPts val="0"/>
              </a:spcAft>
              <a:buClrTx/>
              <a:buSzTx/>
              <a:buFont typeface="Arial" panose="020B0604020202020204" pitchFamily="34" charset="0"/>
              <a:buNone/>
              <a:tabLst/>
              <a:defRPr lang="en-US" sz="2638" dirty="0">
                <a:solidFill>
                  <a:schemeClr val="bg1"/>
                </a:solidFill>
              </a:defRPr>
            </a:lvl1pPr>
          </a:lstStyle>
          <a:p>
            <a:pPr marL="0" lvl="0"/>
            <a:r>
              <a:rPr lang="en-US"/>
              <a:t>Sub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65951" y="9417002"/>
            <a:ext cx="2600965" cy="1355257"/>
          </a:xfrm>
          <a:prstGeom prst="rect">
            <a:avLst/>
          </a:prstGeom>
        </p:spPr>
      </p:pic>
    </p:spTree>
    <p:extLst>
      <p:ext uri="{BB962C8B-B14F-4D97-AF65-F5344CB8AC3E}">
        <p14:creationId xmlns:p14="http://schemas.microsoft.com/office/powerpoint/2010/main" val="1735436560"/>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Cover6">
    <p:spTree>
      <p:nvGrpSpPr>
        <p:cNvPr id="1" name=""/>
        <p:cNvGrpSpPr/>
        <p:nvPr/>
      </p:nvGrpSpPr>
      <p:grpSpPr>
        <a:xfrm>
          <a:off x="0" y="0"/>
          <a:ext cx="0" cy="0"/>
          <a:chOff x="0" y="0"/>
          <a:chExt cx="0" cy="0"/>
        </a:xfrm>
      </p:grpSpPr>
      <p:sp>
        <p:nvSpPr>
          <p:cNvPr id="17" name="Freeform 16"/>
          <p:cNvSpPr/>
          <p:nvPr userDrawn="1"/>
        </p:nvSpPr>
        <p:spPr>
          <a:xfrm>
            <a:off x="-37904" y="0"/>
            <a:ext cx="10262960" cy="11328400"/>
          </a:xfrm>
          <a:custGeom>
            <a:avLst/>
            <a:gdLst>
              <a:gd name="connsiteX0" fmla="*/ 0 w 6223905"/>
              <a:gd name="connsiteY0" fmla="*/ 0 h 6858000"/>
              <a:gd name="connsiteX1" fmla="*/ 4186882 w 6223905"/>
              <a:gd name="connsiteY1" fmla="*/ 0 h 6858000"/>
              <a:gd name="connsiteX2" fmla="*/ 4197034 w 6223905"/>
              <a:gd name="connsiteY2" fmla="*/ 22340 h 6858000"/>
              <a:gd name="connsiteX3" fmla="*/ 5904357 w 6223905"/>
              <a:gd name="connsiteY3" fmla="*/ 3779388 h 6858000"/>
              <a:gd name="connsiteX4" fmla="*/ 5873730 w 6223905"/>
              <a:gd name="connsiteY4" fmla="*/ 6784163 h 6858000"/>
              <a:gd name="connsiteX5" fmla="*/ 5834113 w 6223905"/>
              <a:gd name="connsiteY5" fmla="*/ 6858000 h 6858000"/>
              <a:gd name="connsiteX6" fmla="*/ 0 w 6223905"/>
              <a:gd name="connsiteY6" fmla="*/ 6858000 h 6858000"/>
              <a:gd name="connsiteX7" fmla="*/ 0 w 6223905"/>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23905" h="6858000">
                <a:moveTo>
                  <a:pt x="0" y="0"/>
                </a:moveTo>
                <a:lnTo>
                  <a:pt x="4186882" y="0"/>
                </a:lnTo>
                <a:lnTo>
                  <a:pt x="4197034" y="22340"/>
                </a:lnTo>
                <a:cubicBezTo>
                  <a:pt x="5904357" y="3779388"/>
                  <a:pt x="5904357" y="3779388"/>
                  <a:pt x="5904357" y="3779388"/>
                </a:cubicBezTo>
                <a:cubicBezTo>
                  <a:pt x="6352858" y="4766336"/>
                  <a:pt x="6316954" y="5863968"/>
                  <a:pt x="5873730" y="6784163"/>
                </a:cubicBezTo>
                <a:lnTo>
                  <a:pt x="5834113" y="6858000"/>
                </a:lnTo>
                <a:lnTo>
                  <a:pt x="0" y="6858000"/>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6890336" y="679706"/>
            <a:ext cx="2600965" cy="1355257"/>
          </a:xfrm>
          <a:prstGeom prst="rect">
            <a:avLst/>
          </a:prstGeom>
        </p:spPr>
      </p:pic>
      <p:sp>
        <p:nvSpPr>
          <p:cNvPr id="20" name="Title 1"/>
          <p:cNvSpPr>
            <a:spLocks noGrp="1"/>
          </p:cNvSpPr>
          <p:nvPr>
            <p:ph type="ctrTitle" hasCustomPrompt="1"/>
          </p:nvPr>
        </p:nvSpPr>
        <p:spPr>
          <a:xfrm>
            <a:off x="672755" y="4153749"/>
            <a:ext cx="8191913" cy="11905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4947"/>
              </a:lnSpc>
              <a:defRPr lang="en-US" sz="4287" b="0" dirty="0">
                <a:solidFill>
                  <a:schemeClr val="bg1"/>
                </a:solidFill>
              </a:defRPr>
            </a:lvl1pPr>
          </a:lstStyle>
          <a:p>
            <a:pPr marL="0" lvl="0"/>
            <a:r>
              <a:rPr lang="en-US"/>
              <a:t>Title of Presentation</a:t>
            </a:r>
          </a:p>
        </p:txBody>
      </p:sp>
      <p:sp>
        <p:nvSpPr>
          <p:cNvPr id="21" name="Subtitle 2"/>
          <p:cNvSpPr>
            <a:spLocks noGrp="1"/>
          </p:cNvSpPr>
          <p:nvPr>
            <p:ph type="subTitle" idx="1" hasCustomPrompt="1"/>
          </p:nvPr>
        </p:nvSpPr>
        <p:spPr>
          <a:xfrm>
            <a:off x="672755" y="5664201"/>
            <a:ext cx="8191913" cy="20218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1507846" rtl="0" eaLnBrk="1" fontAlgn="auto" latinLnBrk="0" hangingPunct="1">
              <a:lnSpc>
                <a:spcPts val="2968"/>
              </a:lnSpc>
              <a:spcBef>
                <a:spcPts val="0"/>
              </a:spcBef>
              <a:spcAft>
                <a:spcPts val="0"/>
              </a:spcAft>
              <a:buClrTx/>
              <a:buSzTx/>
              <a:buFont typeface="Arial" panose="020B0604020202020204" pitchFamily="34" charset="0"/>
              <a:buNone/>
              <a:tabLst/>
              <a:defRPr lang="en-US" sz="2638" dirty="0">
                <a:solidFill>
                  <a:schemeClr val="bg1"/>
                </a:solidFill>
              </a:defRPr>
            </a:lvl1pPr>
          </a:lstStyle>
          <a:p>
            <a:pPr marL="0" lvl="0"/>
            <a:r>
              <a:rPr lang="en-US"/>
              <a:t>Subtitle</a:t>
            </a:r>
          </a:p>
        </p:txBody>
      </p:sp>
    </p:spTree>
    <p:extLst>
      <p:ext uri="{BB962C8B-B14F-4D97-AF65-F5344CB8AC3E}">
        <p14:creationId xmlns:p14="http://schemas.microsoft.com/office/powerpoint/2010/main" val="24844890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10" name="object 8">
            <a:extLst>
              <a:ext uri="{FF2B5EF4-FFF2-40B4-BE49-F238E27FC236}">
                <a16:creationId xmlns:a16="http://schemas.microsoft.com/office/drawing/2014/main" id="{64FDD5CB-BB2B-9182-C394-A648D0A36298}"/>
              </a:ext>
            </a:extLst>
          </p:cNvPr>
          <p:cNvSpPr/>
          <p:nvPr userDrawn="1"/>
        </p:nvSpPr>
        <p:spPr>
          <a:xfrm>
            <a:off x="14700250" y="2387600"/>
            <a:ext cx="2245995" cy="1282065"/>
          </a:xfrm>
          <a:custGeom>
            <a:avLst/>
            <a:gdLst/>
            <a:ahLst/>
            <a:cxnLst/>
            <a:rect l="l" t="t" r="r" b="b"/>
            <a:pathLst>
              <a:path w="2245994" h="1282064">
                <a:moveTo>
                  <a:pt x="1131978" y="0"/>
                </a:moveTo>
                <a:lnTo>
                  <a:pt x="1084968" y="5934"/>
                </a:lnTo>
                <a:lnTo>
                  <a:pt x="1040423" y="23737"/>
                </a:lnTo>
                <a:lnTo>
                  <a:pt x="30516" y="576516"/>
                </a:lnTo>
                <a:lnTo>
                  <a:pt x="0" y="627670"/>
                </a:lnTo>
                <a:lnTo>
                  <a:pt x="7629" y="656443"/>
                </a:lnTo>
                <a:lnTo>
                  <a:pt x="30516" y="678824"/>
                </a:lnTo>
                <a:lnTo>
                  <a:pt x="1024206" y="1258154"/>
                </a:lnTo>
                <a:lnTo>
                  <a:pt x="1068753" y="1275957"/>
                </a:lnTo>
                <a:lnTo>
                  <a:pt x="1115767" y="1281892"/>
                </a:lnTo>
                <a:lnTo>
                  <a:pt x="1162780" y="1275957"/>
                </a:lnTo>
                <a:lnTo>
                  <a:pt x="1207327" y="1258154"/>
                </a:lnTo>
                <a:lnTo>
                  <a:pt x="2215061" y="681635"/>
                </a:lnTo>
                <a:lnTo>
                  <a:pt x="2237948" y="659254"/>
                </a:lnTo>
                <a:lnTo>
                  <a:pt x="2245577" y="630481"/>
                </a:lnTo>
                <a:lnTo>
                  <a:pt x="2237948" y="601708"/>
                </a:lnTo>
                <a:lnTo>
                  <a:pt x="2215061" y="579327"/>
                </a:lnTo>
                <a:lnTo>
                  <a:pt x="1223534" y="23737"/>
                </a:lnTo>
                <a:lnTo>
                  <a:pt x="1178988" y="5934"/>
                </a:lnTo>
                <a:lnTo>
                  <a:pt x="1131978" y="0"/>
                </a:lnTo>
                <a:close/>
              </a:path>
            </a:pathLst>
          </a:custGeom>
          <a:solidFill>
            <a:srgbClr val="FFFFFF">
              <a:alpha val="69999"/>
            </a:srgbClr>
          </a:solidFill>
        </p:spPr>
        <p:txBody>
          <a:bodyPr wrap="square" lIns="0" tIns="0" rIns="0" bIns="0" rtlCol="0"/>
          <a:lstStyle/>
          <a:p>
            <a:endParaRPr/>
          </a:p>
        </p:txBody>
      </p:sp>
      <p:sp>
        <p:nvSpPr>
          <p:cNvPr id="5" name="object 4">
            <a:extLst>
              <a:ext uri="{FF2B5EF4-FFF2-40B4-BE49-F238E27FC236}">
                <a16:creationId xmlns:a16="http://schemas.microsoft.com/office/drawing/2014/main" id="{3E62F7C3-1F1B-4AA0-DD89-16F8379348E7}"/>
              </a:ext>
            </a:extLst>
          </p:cNvPr>
          <p:cNvSpPr/>
          <p:nvPr/>
        </p:nvSpPr>
        <p:spPr>
          <a:xfrm>
            <a:off x="16066193" y="2112058"/>
            <a:ext cx="4037965" cy="3899535"/>
          </a:xfrm>
          <a:custGeom>
            <a:avLst/>
            <a:gdLst/>
            <a:ahLst/>
            <a:cxnLst/>
            <a:rect l="l" t="t" r="r" b="b"/>
            <a:pathLst>
              <a:path w="4037965" h="3899535">
                <a:moveTo>
                  <a:pt x="3441969" y="0"/>
                </a:moveTo>
                <a:lnTo>
                  <a:pt x="3393889" y="2003"/>
                </a:lnTo>
                <a:lnTo>
                  <a:pt x="3346133" y="8021"/>
                </a:lnTo>
                <a:lnTo>
                  <a:pt x="3298932" y="18050"/>
                </a:lnTo>
                <a:lnTo>
                  <a:pt x="3252564" y="32090"/>
                </a:lnTo>
                <a:lnTo>
                  <a:pt x="3207307" y="50142"/>
                </a:lnTo>
                <a:lnTo>
                  <a:pt x="3163439" y="72206"/>
                </a:lnTo>
                <a:lnTo>
                  <a:pt x="91681" y="1753563"/>
                </a:lnTo>
                <a:lnTo>
                  <a:pt x="55008" y="1780171"/>
                </a:lnTo>
                <a:lnTo>
                  <a:pt x="27504" y="1812754"/>
                </a:lnTo>
                <a:lnTo>
                  <a:pt x="9168" y="1849605"/>
                </a:lnTo>
                <a:lnTo>
                  <a:pt x="0" y="1889017"/>
                </a:lnTo>
                <a:lnTo>
                  <a:pt x="0" y="1929283"/>
                </a:lnTo>
                <a:lnTo>
                  <a:pt x="9168" y="1968696"/>
                </a:lnTo>
                <a:lnTo>
                  <a:pt x="27504" y="2005547"/>
                </a:lnTo>
                <a:lnTo>
                  <a:pt x="55008" y="2038130"/>
                </a:lnTo>
                <a:lnTo>
                  <a:pt x="91681" y="2064738"/>
                </a:lnTo>
                <a:lnTo>
                  <a:pt x="3114129" y="3826856"/>
                </a:lnTo>
                <a:lnTo>
                  <a:pt x="3157998" y="3848920"/>
                </a:lnTo>
                <a:lnTo>
                  <a:pt x="3203255" y="3866972"/>
                </a:lnTo>
                <a:lnTo>
                  <a:pt x="3249623" y="3881012"/>
                </a:lnTo>
                <a:lnTo>
                  <a:pt x="3296824" y="3891041"/>
                </a:lnTo>
                <a:lnTo>
                  <a:pt x="3344580" y="3897059"/>
                </a:lnTo>
                <a:lnTo>
                  <a:pt x="3392614" y="3899064"/>
                </a:lnTo>
                <a:lnTo>
                  <a:pt x="3440648" y="3897059"/>
                </a:lnTo>
                <a:lnTo>
                  <a:pt x="3488404" y="3891041"/>
                </a:lnTo>
                <a:lnTo>
                  <a:pt x="3535605" y="3881012"/>
                </a:lnTo>
                <a:lnTo>
                  <a:pt x="3581973" y="3866972"/>
                </a:lnTo>
                <a:lnTo>
                  <a:pt x="3627230" y="3848920"/>
                </a:lnTo>
                <a:lnTo>
                  <a:pt x="3671099" y="3826856"/>
                </a:lnTo>
                <a:lnTo>
                  <a:pt x="4037905" y="3617012"/>
                </a:lnTo>
                <a:lnTo>
                  <a:pt x="4037905" y="250111"/>
                </a:lnTo>
                <a:lnTo>
                  <a:pt x="3720408" y="72206"/>
                </a:lnTo>
                <a:lnTo>
                  <a:pt x="3676540" y="50142"/>
                </a:lnTo>
                <a:lnTo>
                  <a:pt x="3631283" y="32090"/>
                </a:lnTo>
                <a:lnTo>
                  <a:pt x="3584915" y="18050"/>
                </a:lnTo>
                <a:lnTo>
                  <a:pt x="3537714" y="8021"/>
                </a:lnTo>
                <a:lnTo>
                  <a:pt x="3489958" y="2003"/>
                </a:lnTo>
                <a:lnTo>
                  <a:pt x="3441969" y="0"/>
                </a:lnTo>
                <a:close/>
              </a:path>
            </a:pathLst>
          </a:custGeom>
          <a:solidFill>
            <a:srgbClr val="FFFFFF">
              <a:alpha val="69999"/>
            </a:srgbClr>
          </a:solidFill>
        </p:spPr>
        <p:txBody>
          <a:bodyPr wrap="square" lIns="0" tIns="0" rIns="0" bIns="0" rtlCol="0"/>
          <a:lstStyle/>
          <a:p>
            <a:endParaRPr/>
          </a:p>
        </p:txBody>
      </p:sp>
      <p:sp>
        <p:nvSpPr>
          <p:cNvPr id="2" name="Holder 2"/>
          <p:cNvSpPr>
            <a:spLocks noGrp="1"/>
          </p:cNvSpPr>
          <p:nvPr>
            <p:ph type="title"/>
          </p:nvPr>
        </p:nvSpPr>
        <p:spPr/>
        <p:txBody>
          <a:bodyPr lIns="0" tIns="0" rIns="0" bIns="0"/>
          <a:lstStyle>
            <a:lvl1pPr>
              <a:defRPr sz="4900" b="0" i="0">
                <a:solidFill>
                  <a:srgbClr val="2B0A3D"/>
                </a:solidFill>
                <a:latin typeface="Ubuntu Light"/>
                <a:cs typeface="Ubuntu Light"/>
              </a:defRPr>
            </a:lvl1pPr>
          </a:lstStyle>
          <a:p>
            <a:endParaRPr/>
          </a:p>
        </p:txBody>
      </p:sp>
      <p:sp>
        <p:nvSpPr>
          <p:cNvPr id="12" name="Marcador de pie de página 11">
            <a:extLst>
              <a:ext uri="{FF2B5EF4-FFF2-40B4-BE49-F238E27FC236}">
                <a16:creationId xmlns:a16="http://schemas.microsoft.com/office/drawing/2014/main" id="{1ACC5C5B-5E0C-897F-54C9-1D842CC0A6D9}"/>
              </a:ext>
            </a:extLst>
          </p:cNvPr>
          <p:cNvSpPr>
            <a:spLocks noGrp="1"/>
          </p:cNvSpPr>
          <p:nvPr>
            <p:ph type="ftr" sz="quarter" idx="10"/>
          </p:nvPr>
        </p:nvSpPr>
        <p:spPr>
          <a:xfrm>
            <a:off x="16376651" y="10759212"/>
            <a:ext cx="3233768" cy="238988"/>
          </a:xfrm>
          <a:prstGeom prst="rect">
            <a:avLst/>
          </a:prstGeom>
        </p:spPr>
        <p:txBody>
          <a:bodyPr/>
          <a:lstStyle/>
          <a:p>
            <a:pPr marL="26034">
              <a:lnSpc>
                <a:spcPct val="100000"/>
              </a:lnSpc>
              <a:spcBef>
                <a:spcPts val="30"/>
              </a:spcBef>
            </a:pPr>
            <a:r>
              <a:rPr lang="es-ES">
                <a:solidFill>
                  <a:srgbClr val="666666"/>
                </a:solidFill>
              </a:rPr>
              <a:t>Public © 2023 Sogeti. </a:t>
            </a:r>
            <a:r>
              <a:rPr lang="es-ES" err="1">
                <a:solidFill>
                  <a:srgbClr val="666666"/>
                </a:solidFill>
              </a:rPr>
              <a:t>All</a:t>
            </a:r>
            <a:r>
              <a:rPr lang="es-ES">
                <a:solidFill>
                  <a:srgbClr val="666666"/>
                </a:solidFill>
              </a:rPr>
              <a:t> </a:t>
            </a:r>
            <a:r>
              <a:rPr lang="es-ES" err="1">
                <a:solidFill>
                  <a:srgbClr val="666666"/>
                </a:solidFill>
              </a:rPr>
              <a:t>rights</a:t>
            </a:r>
            <a:r>
              <a:rPr lang="es-ES">
                <a:solidFill>
                  <a:srgbClr val="666666"/>
                </a:solidFill>
              </a:rPr>
              <a:t> </a:t>
            </a:r>
            <a:r>
              <a:rPr lang="es-ES" err="1">
                <a:solidFill>
                  <a:srgbClr val="666666"/>
                </a:solidFill>
              </a:rPr>
              <a:t>reserved</a:t>
            </a:r>
            <a:endParaRPr lang="es-ES" spc="-10">
              <a:solidFill>
                <a:srgbClr val="666666"/>
              </a:solidFill>
            </a:endParaRPr>
          </a:p>
        </p:txBody>
      </p:sp>
      <p:sp>
        <p:nvSpPr>
          <p:cNvPr id="4" name="object 4">
            <a:extLst>
              <a:ext uri="{FF2B5EF4-FFF2-40B4-BE49-F238E27FC236}">
                <a16:creationId xmlns:a16="http://schemas.microsoft.com/office/drawing/2014/main" id="{F1E0D2C0-7253-311B-A3A5-564550AD37D5}"/>
              </a:ext>
            </a:extLst>
          </p:cNvPr>
          <p:cNvSpPr/>
          <p:nvPr userDrawn="1"/>
        </p:nvSpPr>
        <p:spPr>
          <a:xfrm flipH="1">
            <a:off x="0" y="4978400"/>
            <a:ext cx="5033819" cy="3899535"/>
          </a:xfrm>
          <a:custGeom>
            <a:avLst/>
            <a:gdLst/>
            <a:ahLst/>
            <a:cxnLst/>
            <a:rect l="l" t="t" r="r" b="b"/>
            <a:pathLst>
              <a:path w="4037965" h="3899535">
                <a:moveTo>
                  <a:pt x="3441969" y="0"/>
                </a:moveTo>
                <a:lnTo>
                  <a:pt x="3393889" y="2003"/>
                </a:lnTo>
                <a:lnTo>
                  <a:pt x="3346133" y="8021"/>
                </a:lnTo>
                <a:lnTo>
                  <a:pt x="3298932" y="18050"/>
                </a:lnTo>
                <a:lnTo>
                  <a:pt x="3252564" y="32090"/>
                </a:lnTo>
                <a:lnTo>
                  <a:pt x="3207307" y="50142"/>
                </a:lnTo>
                <a:lnTo>
                  <a:pt x="3163439" y="72206"/>
                </a:lnTo>
                <a:lnTo>
                  <a:pt x="91681" y="1753563"/>
                </a:lnTo>
                <a:lnTo>
                  <a:pt x="55008" y="1780171"/>
                </a:lnTo>
                <a:lnTo>
                  <a:pt x="27504" y="1812754"/>
                </a:lnTo>
                <a:lnTo>
                  <a:pt x="9168" y="1849605"/>
                </a:lnTo>
                <a:lnTo>
                  <a:pt x="0" y="1889017"/>
                </a:lnTo>
                <a:lnTo>
                  <a:pt x="0" y="1929283"/>
                </a:lnTo>
                <a:lnTo>
                  <a:pt x="9168" y="1968696"/>
                </a:lnTo>
                <a:lnTo>
                  <a:pt x="27504" y="2005547"/>
                </a:lnTo>
                <a:lnTo>
                  <a:pt x="55008" y="2038130"/>
                </a:lnTo>
                <a:lnTo>
                  <a:pt x="91681" y="2064738"/>
                </a:lnTo>
                <a:lnTo>
                  <a:pt x="3114129" y="3826856"/>
                </a:lnTo>
                <a:lnTo>
                  <a:pt x="3157998" y="3848920"/>
                </a:lnTo>
                <a:lnTo>
                  <a:pt x="3203255" y="3866972"/>
                </a:lnTo>
                <a:lnTo>
                  <a:pt x="3249623" y="3881012"/>
                </a:lnTo>
                <a:lnTo>
                  <a:pt x="3296824" y="3891041"/>
                </a:lnTo>
                <a:lnTo>
                  <a:pt x="3344580" y="3897059"/>
                </a:lnTo>
                <a:lnTo>
                  <a:pt x="3392614" y="3899064"/>
                </a:lnTo>
                <a:lnTo>
                  <a:pt x="3440648" y="3897059"/>
                </a:lnTo>
                <a:lnTo>
                  <a:pt x="3488404" y="3891041"/>
                </a:lnTo>
                <a:lnTo>
                  <a:pt x="3535605" y="3881012"/>
                </a:lnTo>
                <a:lnTo>
                  <a:pt x="3581973" y="3866972"/>
                </a:lnTo>
                <a:lnTo>
                  <a:pt x="3627230" y="3848920"/>
                </a:lnTo>
                <a:lnTo>
                  <a:pt x="3671099" y="3826856"/>
                </a:lnTo>
                <a:lnTo>
                  <a:pt x="4037905" y="3617012"/>
                </a:lnTo>
                <a:lnTo>
                  <a:pt x="4037905" y="250111"/>
                </a:lnTo>
                <a:lnTo>
                  <a:pt x="3720408" y="72206"/>
                </a:lnTo>
                <a:lnTo>
                  <a:pt x="3676540" y="50142"/>
                </a:lnTo>
                <a:lnTo>
                  <a:pt x="3631283" y="32090"/>
                </a:lnTo>
                <a:lnTo>
                  <a:pt x="3584915" y="18050"/>
                </a:lnTo>
                <a:lnTo>
                  <a:pt x="3537714" y="8021"/>
                </a:lnTo>
                <a:lnTo>
                  <a:pt x="3489958" y="2003"/>
                </a:lnTo>
                <a:lnTo>
                  <a:pt x="3441969" y="0"/>
                </a:lnTo>
                <a:close/>
              </a:path>
            </a:pathLst>
          </a:custGeom>
          <a:solidFill>
            <a:srgbClr val="FFFFFF">
              <a:alpha val="69999"/>
            </a:srgbClr>
          </a:solidFill>
        </p:spPr>
        <p:txBody>
          <a:bodyPr wrap="square" lIns="0" tIns="0" rIns="0" bIns="0" rtlCol="0"/>
          <a:lstStyle/>
          <a:p>
            <a:endParaRPr/>
          </a:p>
        </p:txBody>
      </p:sp>
    </p:spTree>
    <p:extLst>
      <p:ext uri="{BB962C8B-B14F-4D97-AF65-F5344CB8AC3E}">
        <p14:creationId xmlns:p14="http://schemas.microsoft.com/office/powerpoint/2010/main" val="2876712170"/>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4_Title Only-white">
    <p:spTree>
      <p:nvGrpSpPr>
        <p:cNvPr id="1" name=""/>
        <p:cNvGrpSpPr/>
        <p:nvPr/>
      </p:nvGrpSpPr>
      <p:grpSpPr>
        <a:xfrm>
          <a:off x="0" y="0"/>
          <a:ext cx="0" cy="0"/>
          <a:chOff x="0" y="0"/>
          <a:chExt cx="0" cy="0"/>
        </a:xfrm>
      </p:grpSpPr>
      <p:sp>
        <p:nvSpPr>
          <p:cNvPr id="12" name="Freeform 11"/>
          <p:cNvSpPr>
            <a:spLocks noChangeAspect="1"/>
          </p:cNvSpPr>
          <p:nvPr userDrawn="1"/>
        </p:nvSpPr>
        <p:spPr bwMode="gray">
          <a:xfrm rot="10800000" flipH="1">
            <a:off x="2" y="2352548"/>
            <a:ext cx="9423797" cy="8975851"/>
          </a:xfrm>
          <a:custGeom>
            <a:avLst/>
            <a:gdLst>
              <a:gd name="connsiteX0" fmla="*/ 0 w 6096000"/>
              <a:gd name="connsiteY0" fmla="*/ 0 h 5796064"/>
              <a:gd name="connsiteX1" fmla="*/ 6096000 w 6096000"/>
              <a:gd name="connsiteY1" fmla="*/ 0 h 5796064"/>
              <a:gd name="connsiteX2" fmla="*/ 6096000 w 6096000"/>
              <a:gd name="connsiteY2" fmla="*/ 133757 h 5796064"/>
              <a:gd name="connsiteX3" fmla="*/ 6096000 w 6096000"/>
              <a:gd name="connsiteY3" fmla="*/ 4034055 h 5796064"/>
              <a:gd name="connsiteX4" fmla="*/ 0 w 6096000"/>
              <a:gd name="connsiteY4" fmla="*/ 5309105 h 5796064"/>
              <a:gd name="connsiteX5" fmla="*/ 0 w 6096000"/>
              <a:gd name="connsiteY5" fmla="*/ 8972 h 5796064"/>
              <a:gd name="connsiteX6" fmla="*/ 0 w 6096000"/>
              <a:gd name="connsiteY6" fmla="*/ 0 h 579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0" h="5796064">
                <a:moveTo>
                  <a:pt x="0" y="0"/>
                </a:moveTo>
                <a:lnTo>
                  <a:pt x="6096000" y="0"/>
                </a:lnTo>
                <a:lnTo>
                  <a:pt x="6096000" y="133757"/>
                </a:lnTo>
                <a:cubicBezTo>
                  <a:pt x="6096000" y="1105896"/>
                  <a:pt x="6096000" y="2375629"/>
                  <a:pt x="6096000" y="4034055"/>
                </a:cubicBezTo>
                <a:cubicBezTo>
                  <a:pt x="6096000" y="6848354"/>
                  <a:pt x="721895" y="5492896"/>
                  <a:pt x="0" y="5309105"/>
                </a:cubicBezTo>
                <a:cubicBezTo>
                  <a:pt x="0" y="5309105"/>
                  <a:pt x="0" y="5309105"/>
                  <a:pt x="0" y="897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09" dirty="0">
              <a:solidFill>
                <a:schemeClr val="tx1"/>
              </a:solidFill>
            </a:endParaRPr>
          </a:p>
        </p:txBody>
      </p:sp>
      <p:graphicFrame>
        <p:nvGraphicFramePr>
          <p:cNvPr id="5" name="Object 4" hidden="1"/>
          <p:cNvGraphicFramePr>
            <a:graphicFrameLocks noChangeAspect="1"/>
          </p:cNvGraphicFramePr>
          <p:nvPr>
            <p:custDataLst>
              <p:tags r:id="rId1"/>
            </p:custDataLst>
          </p:nvPr>
        </p:nvGraphicFramePr>
        <p:xfrm>
          <a:off x="2618" y="2624"/>
          <a:ext cx="2617" cy="2621"/>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18" y="2624"/>
                        <a:ext cx="2617" cy="262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vert="horz" lIns="0" tIns="0" rIns="0" bIns="0" rtlCol="0" anchor="t">
            <a:normAutofit/>
          </a:bodyPr>
          <a:lstStyle>
            <a:lvl1pPr>
              <a:defRPr lang="en-GB" dirty="0">
                <a:solidFill>
                  <a:schemeClr val="tx2"/>
                </a:solidFill>
              </a:defRPr>
            </a:lvl1pPr>
          </a:lstStyle>
          <a:p>
            <a:pPr lvl="0">
              <a:lnSpc>
                <a:spcPts val="4947"/>
              </a:lnSpc>
            </a:pPr>
            <a:r>
              <a:rPr lang="en-US" dirty="0"/>
              <a:t>Click to edit Master title style</a:t>
            </a:r>
            <a:endParaRPr lang="en-GB" dirty="0"/>
          </a:p>
        </p:txBody>
      </p:sp>
      <p:sp>
        <p:nvSpPr>
          <p:cNvPr id="4" name="Retângulo 43">
            <a:extLst>
              <a:ext uri="{FF2B5EF4-FFF2-40B4-BE49-F238E27FC236}">
                <a16:creationId xmlns:a16="http://schemas.microsoft.com/office/drawing/2014/main" id="{25FC8637-25BD-4C09-AF25-56B4243DAB3D}"/>
              </a:ext>
            </a:extLst>
          </p:cNvPr>
          <p:cNvSpPr/>
          <p:nvPr userDrawn="1"/>
        </p:nvSpPr>
        <p:spPr>
          <a:xfrm>
            <a:off x="19349792" y="10829142"/>
            <a:ext cx="481221" cy="295337"/>
          </a:xfrm>
          <a:prstGeom prst="rect">
            <a:avLst/>
          </a:prstGeom>
        </p:spPr>
        <p:txBody>
          <a:bodyPr wrap="none">
            <a:spAutoFit/>
          </a:bodyPr>
          <a:lstStyle/>
          <a:p>
            <a:pPr algn="r"/>
            <a:fld id="{0502E5A9-B53C-401E-A0E0-4A359BB0A9E5}" type="slidenum">
              <a:rPr lang="en-US" sz="1319" smtClean="0">
                <a:solidFill>
                  <a:prstClr val="black">
                    <a:lumMod val="50000"/>
                    <a:lumOff val="50000"/>
                  </a:prstClr>
                </a:solidFill>
                <a:cs typeface="Arial" panose="020B0604020202020204" pitchFamily="34" charset="0"/>
              </a:rPr>
              <a:t>‹#›</a:t>
            </a:fld>
            <a:endParaRPr lang="en-US" sz="1319" dirty="0">
              <a:solidFill>
                <a:prstClr val="black">
                  <a:lumMod val="50000"/>
                  <a:lumOff val="50000"/>
                </a:prstClr>
              </a:solidFill>
              <a:cs typeface="Arial" panose="020B0604020202020204" pitchFamily="34" charset="0"/>
            </a:endParaRPr>
          </a:p>
        </p:txBody>
      </p:sp>
    </p:spTree>
    <p:extLst>
      <p:ext uri="{BB962C8B-B14F-4D97-AF65-F5344CB8AC3E}">
        <p14:creationId xmlns:p14="http://schemas.microsoft.com/office/powerpoint/2010/main" val="1155800231"/>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5_Blank-White">
    <p:spTree>
      <p:nvGrpSpPr>
        <p:cNvPr id="1" name=""/>
        <p:cNvGrpSpPr/>
        <p:nvPr/>
      </p:nvGrpSpPr>
      <p:grpSpPr>
        <a:xfrm>
          <a:off x="0" y="0"/>
          <a:ext cx="0" cy="0"/>
          <a:chOff x="0" y="0"/>
          <a:chExt cx="0" cy="0"/>
        </a:xfrm>
      </p:grpSpPr>
      <p:sp>
        <p:nvSpPr>
          <p:cNvPr id="3" name="Retângulo 43">
            <a:extLst>
              <a:ext uri="{FF2B5EF4-FFF2-40B4-BE49-F238E27FC236}">
                <a16:creationId xmlns:a16="http://schemas.microsoft.com/office/drawing/2014/main" id="{25FC8637-25BD-4C09-AF25-56B4243DAB3D}"/>
              </a:ext>
            </a:extLst>
          </p:cNvPr>
          <p:cNvSpPr/>
          <p:nvPr userDrawn="1"/>
        </p:nvSpPr>
        <p:spPr>
          <a:xfrm>
            <a:off x="19349792" y="10829142"/>
            <a:ext cx="481221" cy="295337"/>
          </a:xfrm>
          <a:prstGeom prst="rect">
            <a:avLst/>
          </a:prstGeom>
        </p:spPr>
        <p:txBody>
          <a:bodyPr wrap="none">
            <a:spAutoFit/>
          </a:bodyPr>
          <a:lstStyle/>
          <a:p>
            <a:pPr algn="r"/>
            <a:fld id="{0502E5A9-B53C-401E-A0E0-4A359BB0A9E5}" type="slidenum">
              <a:rPr lang="en-US" sz="1319" smtClean="0">
                <a:solidFill>
                  <a:prstClr val="black">
                    <a:lumMod val="50000"/>
                    <a:lumOff val="50000"/>
                  </a:prstClr>
                </a:solidFill>
                <a:cs typeface="Verdana" panose="020B0604030504040204" pitchFamily="34" charset="0"/>
              </a:rPr>
              <a:pPr algn="r"/>
              <a:t>‹#›</a:t>
            </a:fld>
            <a:endParaRPr lang="en-US" sz="1319" dirty="0">
              <a:solidFill>
                <a:prstClr val="black">
                  <a:lumMod val="50000"/>
                  <a:lumOff val="50000"/>
                </a:prstClr>
              </a:solidFill>
              <a:cs typeface="Verdana" panose="020B0604030504040204" pitchFamily="34" charset="0"/>
            </a:endParaRPr>
          </a:p>
        </p:txBody>
      </p:sp>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672755" y="668691"/>
            <a:ext cx="18165921" cy="1426539"/>
          </a:xfrm>
          <a:prstGeom prst="rect">
            <a:avLst/>
          </a:prstGeom>
        </p:spPr>
        <p:txBody>
          <a:bodyPr vert="horz" lIns="0" tIns="0" rIns="0" bIns="0" rtlCol="0" anchor="t">
            <a:normAutofit/>
          </a:bodyPr>
          <a:lstStyle>
            <a:lvl1pPr>
              <a:defRPr lang="pt-PT" dirty="0">
                <a:latin typeface="Ubuntu" panose="020B0504030602030204" pitchFamily="34" charset="0"/>
              </a:defRPr>
            </a:lvl1pPr>
          </a:lstStyle>
          <a:p>
            <a:pPr lvl="0">
              <a:lnSpc>
                <a:spcPts val="4947"/>
              </a:lnSpc>
            </a:pPr>
            <a:r>
              <a:rPr lang="en-US" dirty="0"/>
              <a:t>Click to add title</a:t>
            </a:r>
            <a:endParaRPr lang="pt-PT" dirty="0"/>
          </a:p>
        </p:txBody>
      </p:sp>
      <p:sp>
        <p:nvSpPr>
          <p:cNvPr id="8" name="Retângulo 43">
            <a:extLst>
              <a:ext uri="{FF2B5EF4-FFF2-40B4-BE49-F238E27FC236}">
                <a16:creationId xmlns:a16="http://schemas.microsoft.com/office/drawing/2014/main" id="{834ADCB4-BFB1-450D-8F6D-64217F4CD92C}"/>
              </a:ext>
            </a:extLst>
          </p:cNvPr>
          <p:cNvSpPr/>
          <p:nvPr userDrawn="1"/>
        </p:nvSpPr>
        <p:spPr>
          <a:xfrm>
            <a:off x="5321826" y="10829316"/>
            <a:ext cx="3666766" cy="362509"/>
          </a:xfrm>
          <a:prstGeom prst="rect">
            <a:avLst/>
          </a:prstGeom>
        </p:spPr>
        <p:txBody>
          <a:bodyPr wrap="none" lIns="0" tIns="0" rIns="0" bIns="0" anchor="ctr" anchorCtr="0">
            <a:noAutofit/>
          </a:bodyPr>
          <a:lstStyle/>
          <a:p>
            <a:pPr algn="l"/>
            <a:r>
              <a:rPr lang="en-US" sz="1319" dirty="0">
                <a:solidFill>
                  <a:schemeClr val="bg2">
                    <a:lumMod val="50000"/>
                  </a:schemeClr>
                </a:solidFill>
                <a:cs typeface="Verdana" panose="020B0604030504040204" pitchFamily="34" charset="0"/>
              </a:rPr>
              <a:t>© 2019 Sogeti. All rights reserved.</a:t>
            </a:r>
          </a:p>
        </p:txBody>
      </p:sp>
      <p:cxnSp>
        <p:nvCxnSpPr>
          <p:cNvPr id="9" name="Conector reto 49">
            <a:extLst>
              <a:ext uri="{FF2B5EF4-FFF2-40B4-BE49-F238E27FC236}">
                <a16:creationId xmlns:a16="http://schemas.microsoft.com/office/drawing/2014/main" id="{6B6D7F6B-C184-4C2B-8EB7-067E0C1E8DF2}"/>
              </a:ext>
            </a:extLst>
          </p:cNvPr>
          <p:cNvCxnSpPr>
            <a:cxnSpLocks/>
          </p:cNvCxnSpPr>
          <p:nvPr userDrawn="1"/>
        </p:nvCxnSpPr>
        <p:spPr>
          <a:xfrm flipV="1">
            <a:off x="4985451" y="10882076"/>
            <a:ext cx="0" cy="256989"/>
          </a:xfrm>
          <a:prstGeom prst="line">
            <a:avLst/>
          </a:prstGeom>
          <a:solidFill>
            <a:schemeClr val="tx1"/>
          </a:solidFill>
          <a:ln w="1270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10" name="Rectangle 27">
            <a:hlinkClick r:id="rId2"/>
            <a:extLst>
              <a:ext uri="{FF2B5EF4-FFF2-40B4-BE49-F238E27FC236}">
                <a16:creationId xmlns:a16="http://schemas.microsoft.com/office/drawing/2014/main" id="{26716525-7335-4AAA-9A52-E6DEFB8971D9}"/>
              </a:ext>
            </a:extLst>
          </p:cNvPr>
          <p:cNvSpPr/>
          <p:nvPr userDrawn="1"/>
        </p:nvSpPr>
        <p:spPr>
          <a:xfrm>
            <a:off x="672754" y="10829316"/>
            <a:ext cx="3976320" cy="362509"/>
          </a:xfrm>
          <a:prstGeom prst="rect">
            <a:avLst/>
          </a:prstGeom>
        </p:spPr>
        <p:txBody>
          <a:bodyPr wrap="square" lIns="0" tIns="0" rIns="0" bIns="0" anchor="ctr" anchorCtr="0">
            <a:noAutofit/>
          </a:bodyPr>
          <a:lstStyle/>
          <a:p>
            <a:pPr lvl="0" algn="l" defTabSz="1507846">
              <a:lnSpc>
                <a:spcPct val="100000"/>
              </a:lnSpc>
              <a:defRPr/>
            </a:pPr>
            <a:r>
              <a:rPr lang="en-US" sz="1319" kern="0" dirty="0">
                <a:solidFill>
                  <a:schemeClr val="accent1"/>
                </a:solidFill>
                <a:latin typeface="+mj-lt"/>
                <a:cs typeface="Verdana" panose="020B0604030504040204" pitchFamily="34" charset="0"/>
              </a:rPr>
              <a:t>Testing &amp; Quality Assurance</a:t>
            </a:r>
          </a:p>
        </p:txBody>
      </p:sp>
      <p:pic>
        <p:nvPicPr>
          <p:cNvPr id="5" name="Imagen 4">
            <a:extLst>
              <a:ext uri="{FF2B5EF4-FFF2-40B4-BE49-F238E27FC236}">
                <a16:creationId xmlns:a16="http://schemas.microsoft.com/office/drawing/2014/main" id="{3EF89219-534B-804B-9F1F-B2249C909F0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7394699" y="9932097"/>
            <a:ext cx="2436315" cy="1265049"/>
          </a:xfrm>
          <a:prstGeom prst="rect">
            <a:avLst/>
          </a:prstGeom>
        </p:spPr>
      </p:pic>
    </p:spTree>
    <p:extLst>
      <p:ext uri="{BB962C8B-B14F-4D97-AF65-F5344CB8AC3E}">
        <p14:creationId xmlns:p14="http://schemas.microsoft.com/office/powerpoint/2010/main" val="3054613813"/>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Solo el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3E5D3C9-0567-764B-B5AB-5B6359092AA2}"/>
              </a:ext>
            </a:extLst>
          </p:cNvPr>
          <p:cNvSpPr>
            <a:spLocks noGrp="1"/>
          </p:cNvSpPr>
          <p:nvPr>
            <p:ph type="title"/>
          </p:nvPr>
        </p:nvSpPr>
        <p:spPr>
          <a:xfrm>
            <a:off x="9675097" y="400692"/>
            <a:ext cx="9926401" cy="1436961"/>
          </a:xfrm>
          <a:prstGeom prst="rect">
            <a:avLst/>
          </a:prstGeom>
        </p:spPr>
        <p:txBody>
          <a:bodyPr/>
          <a:lstStyle>
            <a:lvl1pPr algn="r">
              <a:defRPr sz="4617" b="0" i="0">
                <a:solidFill>
                  <a:schemeClr val="tx1">
                    <a:lumMod val="50000"/>
                    <a:lumOff val="50000"/>
                  </a:schemeClr>
                </a:solidFill>
                <a:latin typeface="Gill Sans MT" panose="020B0502020104020203" pitchFamily="34" charset="77"/>
              </a:defRPr>
            </a:lvl1pPr>
          </a:lstStyle>
          <a:p>
            <a:r>
              <a:rPr lang="es-ES" dirty="0"/>
              <a:t>Haga clic para modificar el estilo de título del patrón</a:t>
            </a:r>
            <a:endParaRPr lang="en-US" dirty="0"/>
          </a:p>
        </p:txBody>
      </p:sp>
      <p:sp>
        <p:nvSpPr>
          <p:cNvPr id="7" name="Rectangle 2">
            <a:extLst>
              <a:ext uri="{FF2B5EF4-FFF2-40B4-BE49-F238E27FC236}">
                <a16:creationId xmlns:a16="http://schemas.microsoft.com/office/drawing/2014/main" id="{5933062E-7EC6-2B4C-81C5-07E4D3791CE3}"/>
              </a:ext>
            </a:extLst>
          </p:cNvPr>
          <p:cNvSpPr>
            <a:spLocks noChangeArrowheads="1"/>
          </p:cNvSpPr>
          <p:nvPr userDrawn="1"/>
        </p:nvSpPr>
        <p:spPr bwMode="auto">
          <a:xfrm>
            <a:off x="0" y="-149228"/>
            <a:ext cx="304572" cy="4292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50781" tIns="75390" rIns="150781" bIns="75390" numCol="1" anchor="ctr" anchorCtr="0" compatLnSpc="1">
            <a:prstTxWarp prst="textNoShape">
              <a:avLst/>
            </a:prstTxWarp>
            <a:spAutoFit/>
          </a:bodyPr>
          <a:lstStyle/>
          <a:p>
            <a:endParaRPr lang="en-US"/>
          </a:p>
        </p:txBody>
      </p:sp>
      <p:pic>
        <p:nvPicPr>
          <p:cNvPr id="24" name="Imagen 23">
            <a:extLst>
              <a:ext uri="{FF2B5EF4-FFF2-40B4-BE49-F238E27FC236}">
                <a16:creationId xmlns:a16="http://schemas.microsoft.com/office/drawing/2014/main" id="{5CFB6048-AB32-A942-A7C7-6CB9EF19C71D}"/>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8219342" y="10263941"/>
            <a:ext cx="1400976" cy="727451"/>
          </a:xfrm>
          <a:prstGeom prst="rect">
            <a:avLst/>
          </a:prstGeom>
        </p:spPr>
      </p:pic>
      <p:sp>
        <p:nvSpPr>
          <p:cNvPr id="11" name="Título 10">
            <a:extLst>
              <a:ext uri="{FF2B5EF4-FFF2-40B4-BE49-F238E27FC236}">
                <a16:creationId xmlns:a16="http://schemas.microsoft.com/office/drawing/2014/main" id="{3F03D4E6-FFE8-8447-A6E6-2CFEF2586CA4}"/>
              </a:ext>
            </a:extLst>
          </p:cNvPr>
          <p:cNvSpPr txBox="1">
            <a:spLocks/>
          </p:cNvSpPr>
          <p:nvPr userDrawn="1"/>
        </p:nvSpPr>
        <p:spPr>
          <a:xfrm>
            <a:off x="578979" y="-125871"/>
            <a:ext cx="3776909" cy="1276733"/>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a:lnSpc>
                <a:spcPts val="9564"/>
              </a:lnSpc>
            </a:pPr>
            <a:r>
              <a:rPr lang="en-US" sz="2638" b="1" dirty="0">
                <a:solidFill>
                  <a:srgbClr val="88D5ED"/>
                </a:solidFill>
                <a:latin typeface="Ubuntu" panose="020B0504030602030204" pitchFamily="34" charset="0"/>
              </a:rPr>
              <a:t>Cognitive</a:t>
            </a:r>
            <a:r>
              <a:rPr lang="en-US" sz="2638" b="1" dirty="0">
                <a:solidFill>
                  <a:srgbClr val="0071AA"/>
                </a:solidFill>
                <a:latin typeface="Ubuntu" panose="020B0504030602030204" pitchFamily="34" charset="0"/>
              </a:rPr>
              <a:t>QA</a:t>
            </a:r>
            <a:r>
              <a:rPr lang="en-US" sz="2638" b="1" dirty="0">
                <a:solidFill>
                  <a:srgbClr val="FF6327"/>
                </a:solidFill>
                <a:latin typeface="Ubuntu" panose="020B0504030602030204" pitchFamily="34" charset="0"/>
              </a:rPr>
              <a:t>.</a:t>
            </a:r>
          </a:p>
          <a:p>
            <a:pPr>
              <a:lnSpc>
                <a:spcPts val="9564"/>
              </a:lnSpc>
            </a:pPr>
            <a:endParaRPr lang="en-US" sz="2638" b="1" dirty="0">
              <a:solidFill>
                <a:srgbClr val="FF6327"/>
              </a:solidFill>
              <a:latin typeface="Ubuntu" panose="020B0504030602030204" pitchFamily="34" charset="0"/>
            </a:endParaRPr>
          </a:p>
        </p:txBody>
      </p:sp>
      <p:sp>
        <p:nvSpPr>
          <p:cNvPr id="3" name="Rectángulo 2">
            <a:extLst>
              <a:ext uri="{FF2B5EF4-FFF2-40B4-BE49-F238E27FC236}">
                <a16:creationId xmlns:a16="http://schemas.microsoft.com/office/drawing/2014/main" id="{8224B1D0-B001-0343-84A6-0CF30EFCA8EF}"/>
              </a:ext>
            </a:extLst>
          </p:cNvPr>
          <p:cNvSpPr/>
          <p:nvPr userDrawn="1"/>
        </p:nvSpPr>
        <p:spPr>
          <a:xfrm>
            <a:off x="464615" y="824240"/>
            <a:ext cx="11182906" cy="358688"/>
          </a:xfrm>
          <a:prstGeom prst="rect">
            <a:avLst/>
          </a:prstGeom>
        </p:spPr>
        <p:txBody>
          <a:bodyPr wrap="square">
            <a:spAutoFit/>
          </a:bodyPr>
          <a:lstStyle/>
          <a:p>
            <a:r>
              <a:rPr lang="es-ES_tradnl" sz="1731" b="1" noProof="0" dirty="0">
                <a:solidFill>
                  <a:srgbClr val="2D0439"/>
                </a:solidFill>
                <a:latin typeface="Ubuntu" panose="020B0504030602030204" pitchFamily="34" charset="0"/>
              </a:rPr>
              <a:t>Inteligencia Artificial </a:t>
            </a:r>
            <a:r>
              <a:rPr lang="es-ES_tradnl" sz="1731" noProof="0" dirty="0">
                <a:solidFill>
                  <a:srgbClr val="2D0439"/>
                </a:solidFill>
                <a:latin typeface="Ubuntu" panose="020B0504030602030204" pitchFamily="34" charset="0"/>
              </a:rPr>
              <a:t>para el testing y QA</a:t>
            </a:r>
            <a:r>
              <a:rPr lang="es-ES_tradnl" sz="1731" b="1" noProof="0" dirty="0">
                <a:solidFill>
                  <a:srgbClr val="2D0439"/>
                </a:solidFill>
                <a:latin typeface="Ubuntu" panose="020B0504030602030204" pitchFamily="34" charset="0"/>
              </a:rPr>
              <a:t>.</a:t>
            </a:r>
            <a:endParaRPr lang="es-ES_tradnl" sz="1731" noProof="0" dirty="0">
              <a:solidFill>
                <a:srgbClr val="2D0439"/>
              </a:solidFill>
              <a:latin typeface="Ubuntu" panose="020B0504030602030204" pitchFamily="34" charset="0"/>
            </a:endParaRPr>
          </a:p>
        </p:txBody>
      </p:sp>
    </p:spTree>
    <p:extLst>
      <p:ext uri="{BB962C8B-B14F-4D97-AF65-F5344CB8AC3E}">
        <p14:creationId xmlns:p14="http://schemas.microsoft.com/office/powerpoint/2010/main" val="2448922089"/>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868785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26" name="bg object 16">
            <a:extLst>
              <a:ext uri="{FF2B5EF4-FFF2-40B4-BE49-F238E27FC236}">
                <a16:creationId xmlns:a16="http://schemas.microsoft.com/office/drawing/2014/main" id="{2C70D2E3-A58A-2E37-9237-F881FE9AC974}"/>
              </a:ext>
            </a:extLst>
          </p:cNvPr>
          <p:cNvSpPr/>
          <p:nvPr userDrawn="1"/>
        </p:nvSpPr>
        <p:spPr>
          <a:xfrm>
            <a:off x="-23840" y="0"/>
            <a:ext cx="20127939" cy="11328091"/>
          </a:xfrm>
          <a:custGeom>
            <a:avLst/>
            <a:gdLst/>
            <a:ahLst/>
            <a:cxnLst/>
            <a:rect l="l" t="t" r="r" b="b"/>
            <a:pathLst>
              <a:path w="20104100" h="11308715">
                <a:moveTo>
                  <a:pt x="20104099" y="0"/>
                </a:moveTo>
                <a:lnTo>
                  <a:pt x="0" y="0"/>
                </a:lnTo>
                <a:lnTo>
                  <a:pt x="0" y="11308556"/>
                </a:lnTo>
                <a:lnTo>
                  <a:pt x="20104099" y="11308556"/>
                </a:lnTo>
                <a:lnTo>
                  <a:pt x="20104099" y="0"/>
                </a:lnTo>
                <a:close/>
              </a:path>
            </a:pathLst>
          </a:custGeom>
          <a:solidFill>
            <a:srgbClr val="0070AD"/>
          </a:solidFill>
        </p:spPr>
        <p:txBody>
          <a:bodyPr wrap="square" lIns="0" tIns="0" rIns="0" bIns="0" rtlCol="0"/>
          <a:lstStyle/>
          <a:p>
            <a:endParaRPr/>
          </a:p>
        </p:txBody>
      </p:sp>
      <p:sp>
        <p:nvSpPr>
          <p:cNvPr id="2" name="Holder 2"/>
          <p:cNvSpPr>
            <a:spLocks noGrp="1"/>
          </p:cNvSpPr>
          <p:nvPr>
            <p:ph type="title"/>
          </p:nvPr>
        </p:nvSpPr>
        <p:spPr>
          <a:xfrm>
            <a:off x="1003191" y="618303"/>
            <a:ext cx="12405643" cy="754053"/>
          </a:xfrm>
        </p:spPr>
        <p:txBody>
          <a:bodyPr lIns="0" tIns="0" rIns="0" bIns="0"/>
          <a:lstStyle>
            <a:lvl1pPr>
              <a:defRPr sz="4900" b="0" i="0">
                <a:solidFill>
                  <a:schemeClr val="bg1"/>
                </a:solidFill>
                <a:latin typeface="Ubuntu Light"/>
                <a:cs typeface="Ubuntu Light"/>
              </a:defRPr>
            </a:lvl1pPr>
          </a:lstStyle>
          <a:p>
            <a:endParaRPr/>
          </a:p>
        </p:txBody>
      </p:sp>
      <p:sp>
        <p:nvSpPr>
          <p:cNvPr id="153" name="object 3">
            <a:extLst>
              <a:ext uri="{FF2B5EF4-FFF2-40B4-BE49-F238E27FC236}">
                <a16:creationId xmlns:a16="http://schemas.microsoft.com/office/drawing/2014/main" id="{A326EBF6-1D24-0046-23A9-97F52C5B3A98}"/>
              </a:ext>
            </a:extLst>
          </p:cNvPr>
          <p:cNvSpPr/>
          <p:nvPr userDrawn="1"/>
        </p:nvSpPr>
        <p:spPr>
          <a:xfrm>
            <a:off x="0" y="8698896"/>
            <a:ext cx="6692265" cy="2609850"/>
          </a:xfrm>
          <a:custGeom>
            <a:avLst/>
            <a:gdLst/>
            <a:ahLst/>
            <a:cxnLst/>
            <a:rect l="l" t="t" r="r" b="b"/>
            <a:pathLst>
              <a:path w="6692265" h="2609850">
                <a:moveTo>
                  <a:pt x="1076896" y="528345"/>
                </a:moveTo>
                <a:lnTo>
                  <a:pt x="1051318" y="485470"/>
                </a:lnTo>
                <a:lnTo>
                  <a:pt x="220433" y="19888"/>
                </a:lnTo>
                <a:lnTo>
                  <a:pt x="183095" y="4965"/>
                </a:lnTo>
                <a:lnTo>
                  <a:pt x="143738" y="0"/>
                </a:lnTo>
                <a:lnTo>
                  <a:pt x="104305" y="4965"/>
                </a:lnTo>
                <a:lnTo>
                  <a:pt x="66979" y="19888"/>
                </a:lnTo>
                <a:lnTo>
                  <a:pt x="0" y="56553"/>
                </a:lnTo>
                <a:lnTo>
                  <a:pt x="0" y="1023200"/>
                </a:lnTo>
                <a:lnTo>
                  <a:pt x="53390" y="1054328"/>
                </a:lnTo>
                <a:lnTo>
                  <a:pt x="90716" y="1069251"/>
                </a:lnTo>
                <a:lnTo>
                  <a:pt x="130111" y="1074216"/>
                </a:lnTo>
                <a:lnTo>
                  <a:pt x="169506" y="1069251"/>
                </a:lnTo>
                <a:lnTo>
                  <a:pt x="206832" y="1054328"/>
                </a:lnTo>
                <a:lnTo>
                  <a:pt x="1051318" y="571207"/>
                </a:lnTo>
                <a:lnTo>
                  <a:pt x="1070495" y="552450"/>
                </a:lnTo>
                <a:lnTo>
                  <a:pt x="1076896" y="528345"/>
                </a:lnTo>
                <a:close/>
              </a:path>
              <a:path w="6692265" h="2609850">
                <a:moveTo>
                  <a:pt x="6692227" y="1758657"/>
                </a:moveTo>
                <a:lnTo>
                  <a:pt x="6687248" y="1720088"/>
                </a:lnTo>
                <a:lnTo>
                  <a:pt x="6672326" y="1683600"/>
                </a:lnTo>
                <a:lnTo>
                  <a:pt x="6647447" y="1651292"/>
                </a:lnTo>
                <a:lnTo>
                  <a:pt x="6612610" y="1625231"/>
                </a:lnTo>
                <a:lnTo>
                  <a:pt x="4026154" y="175920"/>
                </a:lnTo>
                <a:lnTo>
                  <a:pt x="3980853" y="153631"/>
                </a:lnTo>
                <a:lnTo>
                  <a:pt x="3933914" y="136283"/>
                </a:lnTo>
                <a:lnTo>
                  <a:pt x="3885730" y="123901"/>
                </a:lnTo>
                <a:lnTo>
                  <a:pt x="3836733" y="116471"/>
                </a:lnTo>
                <a:lnTo>
                  <a:pt x="3787343" y="113995"/>
                </a:lnTo>
                <a:lnTo>
                  <a:pt x="3737902" y="116471"/>
                </a:lnTo>
                <a:lnTo>
                  <a:pt x="3688905" y="123901"/>
                </a:lnTo>
                <a:lnTo>
                  <a:pt x="3640721" y="136283"/>
                </a:lnTo>
                <a:lnTo>
                  <a:pt x="3593782" y="153631"/>
                </a:lnTo>
                <a:lnTo>
                  <a:pt x="3548481" y="175920"/>
                </a:lnTo>
                <a:lnTo>
                  <a:pt x="914069" y="1617903"/>
                </a:lnTo>
                <a:lnTo>
                  <a:pt x="879246" y="1643964"/>
                </a:lnTo>
                <a:lnTo>
                  <a:pt x="854367" y="1676273"/>
                </a:lnTo>
                <a:lnTo>
                  <a:pt x="839431" y="1712760"/>
                </a:lnTo>
                <a:lnTo>
                  <a:pt x="834466" y="1751304"/>
                </a:lnTo>
                <a:lnTo>
                  <a:pt x="839431" y="1789899"/>
                </a:lnTo>
                <a:lnTo>
                  <a:pt x="854367" y="1826387"/>
                </a:lnTo>
                <a:lnTo>
                  <a:pt x="879246" y="1858695"/>
                </a:lnTo>
                <a:lnTo>
                  <a:pt x="914069" y="1884756"/>
                </a:lnTo>
                <a:lnTo>
                  <a:pt x="2157463" y="2609659"/>
                </a:lnTo>
                <a:lnTo>
                  <a:pt x="5358320" y="2609659"/>
                </a:lnTo>
                <a:lnTo>
                  <a:pt x="6612610" y="1892084"/>
                </a:lnTo>
                <a:lnTo>
                  <a:pt x="6647447" y="1866036"/>
                </a:lnTo>
                <a:lnTo>
                  <a:pt x="6672326" y="1833714"/>
                </a:lnTo>
                <a:lnTo>
                  <a:pt x="6687248" y="1797227"/>
                </a:lnTo>
                <a:lnTo>
                  <a:pt x="6692227" y="1758657"/>
                </a:lnTo>
                <a:close/>
              </a:path>
            </a:pathLst>
          </a:custGeom>
          <a:solidFill>
            <a:srgbClr val="00ADE0">
              <a:alpha val="19999"/>
            </a:srgbClr>
          </a:solidFill>
        </p:spPr>
        <p:txBody>
          <a:bodyPr wrap="square" lIns="0" tIns="0" rIns="0" bIns="0" rtlCol="0"/>
          <a:lstStyle/>
          <a:p>
            <a:endParaRPr/>
          </a:p>
        </p:txBody>
      </p:sp>
      <p:sp>
        <p:nvSpPr>
          <p:cNvPr id="154" name="object 4">
            <a:extLst>
              <a:ext uri="{FF2B5EF4-FFF2-40B4-BE49-F238E27FC236}">
                <a16:creationId xmlns:a16="http://schemas.microsoft.com/office/drawing/2014/main" id="{68B535AE-632F-BA28-05F5-A49184199312}"/>
              </a:ext>
            </a:extLst>
          </p:cNvPr>
          <p:cNvSpPr/>
          <p:nvPr userDrawn="1"/>
        </p:nvSpPr>
        <p:spPr>
          <a:xfrm>
            <a:off x="15500745" y="0"/>
            <a:ext cx="2857500" cy="774700"/>
          </a:xfrm>
          <a:custGeom>
            <a:avLst/>
            <a:gdLst/>
            <a:ahLst/>
            <a:cxnLst/>
            <a:rect l="l" t="t" r="r" b="b"/>
            <a:pathLst>
              <a:path w="2857500" h="774700">
                <a:moveTo>
                  <a:pt x="2857272" y="0"/>
                </a:moveTo>
                <a:lnTo>
                  <a:pt x="0" y="0"/>
                </a:lnTo>
                <a:lnTo>
                  <a:pt x="1259421" y="734253"/>
                </a:lnTo>
                <a:lnTo>
                  <a:pt x="1302360" y="754220"/>
                </a:lnTo>
                <a:lnTo>
                  <a:pt x="1347275" y="767531"/>
                </a:lnTo>
                <a:lnTo>
                  <a:pt x="1393374" y="774187"/>
                </a:lnTo>
                <a:lnTo>
                  <a:pt x="1439869" y="774187"/>
                </a:lnTo>
                <a:lnTo>
                  <a:pt x="1485969" y="767531"/>
                </a:lnTo>
                <a:lnTo>
                  <a:pt x="1530886" y="754220"/>
                </a:lnTo>
                <a:lnTo>
                  <a:pt x="1573830" y="734253"/>
                </a:lnTo>
                <a:lnTo>
                  <a:pt x="2857272" y="0"/>
                </a:lnTo>
                <a:close/>
              </a:path>
            </a:pathLst>
          </a:custGeom>
          <a:solidFill>
            <a:srgbClr val="00ADE0">
              <a:alpha val="19999"/>
            </a:srgbClr>
          </a:solidFill>
        </p:spPr>
        <p:txBody>
          <a:bodyPr wrap="square" lIns="0" tIns="0" rIns="0" bIns="0" rtlCol="0"/>
          <a:lstStyle/>
          <a:p>
            <a:endParaRPr/>
          </a:p>
        </p:txBody>
      </p:sp>
      <p:grpSp>
        <p:nvGrpSpPr>
          <p:cNvPr id="157" name="object 7">
            <a:extLst>
              <a:ext uri="{FF2B5EF4-FFF2-40B4-BE49-F238E27FC236}">
                <a16:creationId xmlns:a16="http://schemas.microsoft.com/office/drawing/2014/main" id="{4E1B8032-ABA1-F4BD-F2C2-8C2D8329A9BE}"/>
              </a:ext>
            </a:extLst>
          </p:cNvPr>
          <p:cNvGrpSpPr/>
          <p:nvPr userDrawn="1"/>
        </p:nvGrpSpPr>
        <p:grpSpPr>
          <a:xfrm>
            <a:off x="9607486" y="1451850"/>
            <a:ext cx="9508490" cy="8793480"/>
            <a:chOff x="9607486" y="1451850"/>
            <a:chExt cx="9508490" cy="8793480"/>
          </a:xfrm>
        </p:grpSpPr>
        <p:sp>
          <p:nvSpPr>
            <p:cNvPr id="158" name="object 8">
              <a:extLst>
                <a:ext uri="{FF2B5EF4-FFF2-40B4-BE49-F238E27FC236}">
                  <a16:creationId xmlns:a16="http://schemas.microsoft.com/office/drawing/2014/main" id="{41A8ECAA-3B9D-F511-E532-1FD9451AA005}"/>
                </a:ext>
              </a:extLst>
            </p:cNvPr>
            <p:cNvSpPr/>
            <p:nvPr/>
          </p:nvSpPr>
          <p:spPr>
            <a:xfrm>
              <a:off x="12424330" y="3174904"/>
              <a:ext cx="1868805" cy="3784600"/>
            </a:xfrm>
            <a:custGeom>
              <a:avLst/>
              <a:gdLst/>
              <a:ahLst/>
              <a:cxnLst/>
              <a:rect l="l" t="t" r="r" b="b"/>
              <a:pathLst>
                <a:path w="1868805" h="3784600">
                  <a:moveTo>
                    <a:pt x="0" y="0"/>
                  </a:moveTo>
                  <a:lnTo>
                    <a:pt x="680" y="2640725"/>
                  </a:lnTo>
                  <a:lnTo>
                    <a:pt x="4042" y="2690342"/>
                  </a:lnTo>
                  <a:lnTo>
                    <a:pt x="13861" y="2738415"/>
                  </a:lnTo>
                  <a:lnTo>
                    <a:pt x="29810" y="2784390"/>
                  </a:lnTo>
                  <a:lnTo>
                    <a:pt x="51562" y="2827707"/>
                  </a:lnTo>
                  <a:lnTo>
                    <a:pt x="78789" y="2867809"/>
                  </a:lnTo>
                  <a:lnTo>
                    <a:pt x="111164" y="2904138"/>
                  </a:lnTo>
                  <a:lnTo>
                    <a:pt x="148359" y="2936138"/>
                  </a:lnTo>
                  <a:lnTo>
                    <a:pt x="190046" y="2963250"/>
                  </a:lnTo>
                  <a:lnTo>
                    <a:pt x="1509566" y="3700442"/>
                  </a:lnTo>
                  <a:lnTo>
                    <a:pt x="1557966" y="3724936"/>
                  </a:lnTo>
                  <a:lnTo>
                    <a:pt x="1607766" y="3745215"/>
                  </a:lnTo>
                  <a:lnTo>
                    <a:pt x="1658705" y="3761276"/>
                  </a:lnTo>
                  <a:lnTo>
                    <a:pt x="1710522" y="3773119"/>
                  </a:lnTo>
                  <a:lnTo>
                    <a:pt x="1762955" y="3780741"/>
                  </a:lnTo>
                  <a:lnTo>
                    <a:pt x="1815742" y="3784142"/>
                  </a:lnTo>
                  <a:lnTo>
                    <a:pt x="1868623" y="3783319"/>
                  </a:lnTo>
                  <a:lnTo>
                    <a:pt x="1868623" y="993561"/>
                  </a:lnTo>
                  <a:lnTo>
                    <a:pt x="1822112" y="1017979"/>
                  </a:lnTo>
                  <a:lnTo>
                    <a:pt x="0" y="0"/>
                  </a:lnTo>
                  <a:close/>
                </a:path>
              </a:pathLst>
            </a:custGeom>
            <a:solidFill>
              <a:srgbClr val="F4F4F4"/>
            </a:solidFill>
          </p:spPr>
          <p:txBody>
            <a:bodyPr wrap="square" lIns="0" tIns="0" rIns="0" bIns="0" rtlCol="0"/>
            <a:lstStyle/>
            <a:p>
              <a:endParaRPr/>
            </a:p>
          </p:txBody>
        </p:sp>
        <p:pic>
          <p:nvPicPr>
            <p:cNvPr id="159" name="object 9">
              <a:extLst>
                <a:ext uri="{FF2B5EF4-FFF2-40B4-BE49-F238E27FC236}">
                  <a16:creationId xmlns:a16="http://schemas.microsoft.com/office/drawing/2014/main" id="{DEA18023-253B-B217-9937-8D85C07C1ABE}"/>
                </a:ext>
              </a:extLst>
            </p:cNvPr>
            <p:cNvPicPr/>
            <p:nvPr/>
          </p:nvPicPr>
          <p:blipFill>
            <a:blip r:embed="rId2" cstate="print"/>
            <a:stretch>
              <a:fillRect/>
            </a:stretch>
          </p:blipFill>
          <p:spPr>
            <a:xfrm>
              <a:off x="12421202" y="2110909"/>
              <a:ext cx="3741477" cy="4847308"/>
            </a:xfrm>
            <a:prstGeom prst="rect">
              <a:avLst/>
            </a:prstGeom>
          </p:spPr>
        </p:pic>
        <p:pic>
          <p:nvPicPr>
            <p:cNvPr id="160" name="object 10">
              <a:extLst>
                <a:ext uri="{FF2B5EF4-FFF2-40B4-BE49-F238E27FC236}">
                  <a16:creationId xmlns:a16="http://schemas.microsoft.com/office/drawing/2014/main" id="{E75C408D-0F5E-1CD0-87C4-4347A33D2590}"/>
                </a:ext>
              </a:extLst>
            </p:cNvPr>
            <p:cNvPicPr/>
            <p:nvPr/>
          </p:nvPicPr>
          <p:blipFill>
            <a:blip r:embed="rId3" cstate="print"/>
            <a:stretch>
              <a:fillRect/>
            </a:stretch>
          </p:blipFill>
          <p:spPr>
            <a:xfrm>
              <a:off x="12422176" y="1922108"/>
              <a:ext cx="3739682" cy="2192514"/>
            </a:xfrm>
            <a:prstGeom prst="rect">
              <a:avLst/>
            </a:prstGeom>
          </p:spPr>
        </p:pic>
        <p:sp>
          <p:nvSpPr>
            <p:cNvPr id="161" name="object 11">
              <a:extLst>
                <a:ext uri="{FF2B5EF4-FFF2-40B4-BE49-F238E27FC236}">
                  <a16:creationId xmlns:a16="http://schemas.microsoft.com/office/drawing/2014/main" id="{BE61B007-3736-D9C2-1956-D798AF43DABF}"/>
                </a:ext>
              </a:extLst>
            </p:cNvPr>
            <p:cNvSpPr/>
            <p:nvPr/>
          </p:nvSpPr>
          <p:spPr>
            <a:xfrm>
              <a:off x="9608176" y="7399629"/>
              <a:ext cx="4969510" cy="2845435"/>
            </a:xfrm>
            <a:custGeom>
              <a:avLst/>
              <a:gdLst/>
              <a:ahLst/>
              <a:cxnLst/>
              <a:rect l="l" t="t" r="r" b="b"/>
              <a:pathLst>
                <a:path w="4969509" h="2845434">
                  <a:moveTo>
                    <a:pt x="2522720" y="0"/>
                  </a:moveTo>
                  <a:lnTo>
                    <a:pt x="2474343" y="1211"/>
                  </a:lnTo>
                  <a:lnTo>
                    <a:pt x="2426067" y="4845"/>
                  </a:lnTo>
                  <a:lnTo>
                    <a:pt x="2377992" y="10902"/>
                  </a:lnTo>
                  <a:lnTo>
                    <a:pt x="2330219" y="19381"/>
                  </a:lnTo>
                  <a:lnTo>
                    <a:pt x="2282849" y="30283"/>
                  </a:lnTo>
                  <a:lnTo>
                    <a:pt x="2235981" y="43608"/>
                  </a:lnTo>
                  <a:lnTo>
                    <a:pt x="2189718" y="59356"/>
                  </a:lnTo>
                  <a:lnTo>
                    <a:pt x="2144159" y="77526"/>
                  </a:lnTo>
                  <a:lnTo>
                    <a:pt x="2099405" y="98119"/>
                  </a:lnTo>
                  <a:lnTo>
                    <a:pt x="2055556" y="121135"/>
                  </a:lnTo>
                  <a:lnTo>
                    <a:pt x="155028" y="1182914"/>
                  </a:lnTo>
                  <a:lnTo>
                    <a:pt x="116271" y="1208330"/>
                  </a:lnTo>
                  <a:lnTo>
                    <a:pt x="83050" y="1237768"/>
                  </a:lnTo>
                  <a:lnTo>
                    <a:pt x="55367" y="1270608"/>
                  </a:lnTo>
                  <a:lnTo>
                    <a:pt x="33220" y="1306233"/>
                  </a:lnTo>
                  <a:lnTo>
                    <a:pt x="16610" y="1344023"/>
                  </a:lnTo>
                  <a:lnTo>
                    <a:pt x="5536" y="1383359"/>
                  </a:lnTo>
                  <a:lnTo>
                    <a:pt x="0" y="1423624"/>
                  </a:lnTo>
                  <a:lnTo>
                    <a:pt x="0" y="1464198"/>
                  </a:lnTo>
                  <a:lnTo>
                    <a:pt x="5536" y="1504463"/>
                  </a:lnTo>
                  <a:lnTo>
                    <a:pt x="16610" y="1543799"/>
                  </a:lnTo>
                  <a:lnTo>
                    <a:pt x="33220" y="1581589"/>
                  </a:lnTo>
                  <a:lnTo>
                    <a:pt x="55367" y="1617214"/>
                  </a:lnTo>
                  <a:lnTo>
                    <a:pt x="83050" y="1650054"/>
                  </a:lnTo>
                  <a:lnTo>
                    <a:pt x="116271" y="1679492"/>
                  </a:lnTo>
                  <a:lnTo>
                    <a:pt x="155028" y="1704908"/>
                  </a:lnTo>
                  <a:lnTo>
                    <a:pt x="1979077" y="2723966"/>
                  </a:lnTo>
                  <a:lnTo>
                    <a:pt x="2022925" y="2746980"/>
                  </a:lnTo>
                  <a:lnTo>
                    <a:pt x="2067679" y="2767572"/>
                  </a:lnTo>
                  <a:lnTo>
                    <a:pt x="2113239" y="2785741"/>
                  </a:lnTo>
                  <a:lnTo>
                    <a:pt x="2159502" y="2801488"/>
                  </a:lnTo>
                  <a:lnTo>
                    <a:pt x="2206369" y="2814812"/>
                  </a:lnTo>
                  <a:lnTo>
                    <a:pt x="2253740" y="2825713"/>
                  </a:lnTo>
                  <a:lnTo>
                    <a:pt x="2301513" y="2834192"/>
                  </a:lnTo>
                  <a:lnTo>
                    <a:pt x="2349588" y="2840248"/>
                  </a:lnTo>
                  <a:lnTo>
                    <a:pt x="2397864" y="2843882"/>
                  </a:lnTo>
                  <a:lnTo>
                    <a:pt x="2446241" y="2845093"/>
                  </a:lnTo>
                  <a:lnTo>
                    <a:pt x="2494618" y="2843882"/>
                  </a:lnTo>
                  <a:lnTo>
                    <a:pt x="2542894" y="2840248"/>
                  </a:lnTo>
                  <a:lnTo>
                    <a:pt x="2590969" y="2834192"/>
                  </a:lnTo>
                  <a:lnTo>
                    <a:pt x="2638742" y="2825713"/>
                  </a:lnTo>
                  <a:lnTo>
                    <a:pt x="2686112" y="2814812"/>
                  </a:lnTo>
                  <a:lnTo>
                    <a:pt x="2732979" y="2801488"/>
                  </a:lnTo>
                  <a:lnTo>
                    <a:pt x="2779243" y="2785741"/>
                  </a:lnTo>
                  <a:lnTo>
                    <a:pt x="2824802" y="2767572"/>
                  </a:lnTo>
                  <a:lnTo>
                    <a:pt x="2869556" y="2746980"/>
                  </a:lnTo>
                  <a:lnTo>
                    <a:pt x="2913405" y="2723966"/>
                  </a:lnTo>
                  <a:lnTo>
                    <a:pt x="4813933" y="1662177"/>
                  </a:lnTo>
                  <a:lnTo>
                    <a:pt x="4852690" y="1636761"/>
                  </a:lnTo>
                  <a:lnTo>
                    <a:pt x="4885910" y="1607323"/>
                  </a:lnTo>
                  <a:lnTo>
                    <a:pt x="4913594" y="1574483"/>
                  </a:lnTo>
                  <a:lnTo>
                    <a:pt x="4935741" y="1538860"/>
                  </a:lnTo>
                  <a:lnTo>
                    <a:pt x="4952351" y="1501070"/>
                  </a:lnTo>
                  <a:lnTo>
                    <a:pt x="4963425" y="1461735"/>
                  </a:lnTo>
                  <a:lnTo>
                    <a:pt x="4968961" y="1421471"/>
                  </a:lnTo>
                  <a:lnTo>
                    <a:pt x="4968961" y="1380898"/>
                  </a:lnTo>
                  <a:lnTo>
                    <a:pt x="4963425" y="1340634"/>
                  </a:lnTo>
                  <a:lnTo>
                    <a:pt x="4952351" y="1301299"/>
                  </a:lnTo>
                  <a:lnTo>
                    <a:pt x="4935741" y="1263510"/>
                  </a:lnTo>
                  <a:lnTo>
                    <a:pt x="4913594" y="1227886"/>
                  </a:lnTo>
                  <a:lnTo>
                    <a:pt x="4885910" y="1195046"/>
                  </a:lnTo>
                  <a:lnTo>
                    <a:pt x="4852690" y="1165609"/>
                  </a:lnTo>
                  <a:lnTo>
                    <a:pt x="4813933" y="1140193"/>
                  </a:lnTo>
                  <a:lnTo>
                    <a:pt x="2989884" y="121135"/>
                  </a:lnTo>
                  <a:lnTo>
                    <a:pt x="2946035" y="98119"/>
                  </a:lnTo>
                  <a:lnTo>
                    <a:pt x="2901281" y="77526"/>
                  </a:lnTo>
                  <a:lnTo>
                    <a:pt x="2855722" y="59356"/>
                  </a:lnTo>
                  <a:lnTo>
                    <a:pt x="2809459" y="43608"/>
                  </a:lnTo>
                  <a:lnTo>
                    <a:pt x="2762591" y="30283"/>
                  </a:lnTo>
                  <a:lnTo>
                    <a:pt x="2715221" y="19381"/>
                  </a:lnTo>
                  <a:lnTo>
                    <a:pt x="2667448" y="10902"/>
                  </a:lnTo>
                  <a:lnTo>
                    <a:pt x="2619373" y="4845"/>
                  </a:lnTo>
                  <a:lnTo>
                    <a:pt x="2571097" y="1211"/>
                  </a:lnTo>
                  <a:lnTo>
                    <a:pt x="2522720" y="0"/>
                  </a:lnTo>
                  <a:close/>
                </a:path>
              </a:pathLst>
            </a:custGeom>
            <a:solidFill>
              <a:srgbClr val="80B8D6">
                <a:alpha val="14999"/>
              </a:srgbClr>
            </a:solidFill>
          </p:spPr>
          <p:txBody>
            <a:bodyPr wrap="square" lIns="0" tIns="0" rIns="0" bIns="0" rtlCol="0"/>
            <a:lstStyle/>
            <a:p>
              <a:endParaRPr/>
            </a:p>
          </p:txBody>
        </p:sp>
        <p:sp>
          <p:nvSpPr>
            <p:cNvPr id="162" name="object 12">
              <a:extLst>
                <a:ext uri="{FF2B5EF4-FFF2-40B4-BE49-F238E27FC236}">
                  <a16:creationId xmlns:a16="http://schemas.microsoft.com/office/drawing/2014/main" id="{27E70C26-2084-9189-29E3-246BAB7F8E93}"/>
                </a:ext>
              </a:extLst>
            </p:cNvPr>
            <p:cNvSpPr/>
            <p:nvPr/>
          </p:nvSpPr>
          <p:spPr>
            <a:xfrm>
              <a:off x="9611636" y="6344624"/>
              <a:ext cx="2420620" cy="3432810"/>
            </a:xfrm>
            <a:custGeom>
              <a:avLst/>
              <a:gdLst/>
              <a:ahLst/>
              <a:cxnLst/>
              <a:rect l="l" t="t" r="r" b="b"/>
              <a:pathLst>
                <a:path w="2420620" h="3432809">
                  <a:moveTo>
                    <a:pt x="0" y="0"/>
                  </a:moveTo>
                  <a:lnTo>
                    <a:pt x="900" y="1913104"/>
                  </a:lnTo>
                  <a:lnTo>
                    <a:pt x="3279" y="1961209"/>
                  </a:lnTo>
                  <a:lnTo>
                    <a:pt x="10257" y="2008337"/>
                  </a:lnTo>
                  <a:lnTo>
                    <a:pt x="21669" y="2054204"/>
                  </a:lnTo>
                  <a:lnTo>
                    <a:pt x="37345" y="2098525"/>
                  </a:lnTo>
                  <a:lnTo>
                    <a:pt x="57119" y="2141014"/>
                  </a:lnTo>
                  <a:lnTo>
                    <a:pt x="80824" y="2181388"/>
                  </a:lnTo>
                  <a:lnTo>
                    <a:pt x="108291" y="2219360"/>
                  </a:lnTo>
                  <a:lnTo>
                    <a:pt x="139354" y="2254646"/>
                  </a:lnTo>
                  <a:lnTo>
                    <a:pt x="173846" y="2286962"/>
                  </a:lnTo>
                  <a:lnTo>
                    <a:pt x="211597" y="2316022"/>
                  </a:lnTo>
                  <a:lnTo>
                    <a:pt x="252442" y="2341541"/>
                  </a:lnTo>
                  <a:lnTo>
                    <a:pt x="2005300" y="3320820"/>
                  </a:lnTo>
                  <a:lnTo>
                    <a:pt x="2048803" y="3343556"/>
                  </a:lnTo>
                  <a:lnTo>
                    <a:pt x="2093219" y="3363704"/>
                  </a:lnTo>
                  <a:lnTo>
                    <a:pt x="2138437" y="3381262"/>
                  </a:lnTo>
                  <a:lnTo>
                    <a:pt x="2184349" y="3396229"/>
                  </a:lnTo>
                  <a:lnTo>
                    <a:pt x="2230845" y="3408606"/>
                  </a:lnTo>
                  <a:lnTo>
                    <a:pt x="2277815" y="3418391"/>
                  </a:lnTo>
                  <a:lnTo>
                    <a:pt x="2325151" y="3425583"/>
                  </a:lnTo>
                  <a:lnTo>
                    <a:pt x="2372742" y="3430183"/>
                  </a:lnTo>
                  <a:lnTo>
                    <a:pt x="2420481" y="3432188"/>
                  </a:lnTo>
                  <a:lnTo>
                    <a:pt x="2420481" y="1352272"/>
                  </a:lnTo>
                  <a:lnTo>
                    <a:pt x="0" y="0"/>
                  </a:lnTo>
                  <a:close/>
                </a:path>
              </a:pathLst>
            </a:custGeom>
            <a:solidFill>
              <a:srgbClr val="F4F4F4"/>
            </a:solidFill>
          </p:spPr>
          <p:txBody>
            <a:bodyPr wrap="square" lIns="0" tIns="0" rIns="0" bIns="0" rtlCol="0"/>
            <a:lstStyle/>
            <a:p>
              <a:endParaRPr/>
            </a:p>
          </p:txBody>
        </p:sp>
        <p:pic>
          <p:nvPicPr>
            <p:cNvPr id="163" name="object 13">
              <a:extLst>
                <a:ext uri="{FF2B5EF4-FFF2-40B4-BE49-F238E27FC236}">
                  <a16:creationId xmlns:a16="http://schemas.microsoft.com/office/drawing/2014/main" id="{156D2349-363E-7A07-FBB7-41F6158A410F}"/>
                </a:ext>
              </a:extLst>
            </p:cNvPr>
            <p:cNvPicPr/>
            <p:nvPr/>
          </p:nvPicPr>
          <p:blipFill>
            <a:blip r:embed="rId4" cstate="print"/>
            <a:stretch>
              <a:fillRect/>
            </a:stretch>
          </p:blipFill>
          <p:spPr>
            <a:xfrm>
              <a:off x="9607486" y="4931201"/>
              <a:ext cx="4970151" cy="4845611"/>
            </a:xfrm>
            <a:prstGeom prst="rect">
              <a:avLst/>
            </a:prstGeom>
          </p:spPr>
        </p:pic>
        <p:pic>
          <p:nvPicPr>
            <p:cNvPr id="164" name="object 14">
              <a:extLst>
                <a:ext uri="{FF2B5EF4-FFF2-40B4-BE49-F238E27FC236}">
                  <a16:creationId xmlns:a16="http://schemas.microsoft.com/office/drawing/2014/main" id="{6A561B43-1412-F823-CD13-0999854B9D15}"/>
                </a:ext>
              </a:extLst>
            </p:cNvPr>
            <p:cNvPicPr/>
            <p:nvPr/>
          </p:nvPicPr>
          <p:blipFill>
            <a:blip r:embed="rId5" cstate="print"/>
            <a:stretch>
              <a:fillRect/>
            </a:stretch>
          </p:blipFill>
          <p:spPr>
            <a:xfrm>
              <a:off x="9608171" y="4680412"/>
              <a:ext cx="4968966" cy="2904168"/>
            </a:xfrm>
            <a:prstGeom prst="rect">
              <a:avLst/>
            </a:prstGeom>
          </p:spPr>
        </p:pic>
        <p:sp>
          <p:nvSpPr>
            <p:cNvPr id="165" name="object 15">
              <a:extLst>
                <a:ext uri="{FF2B5EF4-FFF2-40B4-BE49-F238E27FC236}">
                  <a16:creationId xmlns:a16="http://schemas.microsoft.com/office/drawing/2014/main" id="{8A05DFA8-D642-F41B-6658-FF0858680ABF}"/>
                </a:ext>
              </a:extLst>
            </p:cNvPr>
            <p:cNvSpPr/>
            <p:nvPr/>
          </p:nvSpPr>
          <p:spPr>
            <a:xfrm>
              <a:off x="13279232" y="2218998"/>
              <a:ext cx="2400935" cy="1507490"/>
            </a:xfrm>
            <a:custGeom>
              <a:avLst/>
              <a:gdLst/>
              <a:ahLst/>
              <a:cxnLst/>
              <a:rect l="l" t="t" r="r" b="b"/>
              <a:pathLst>
                <a:path w="2400934" h="1507489">
                  <a:moveTo>
                    <a:pt x="925639" y="0"/>
                  </a:moveTo>
                  <a:lnTo>
                    <a:pt x="875891" y="0"/>
                  </a:lnTo>
                  <a:lnTo>
                    <a:pt x="826972" y="10290"/>
                  </a:lnTo>
                  <a:lnTo>
                    <a:pt x="780539" y="30872"/>
                  </a:lnTo>
                  <a:lnTo>
                    <a:pt x="41064" y="457131"/>
                  </a:lnTo>
                  <a:lnTo>
                    <a:pt x="10266" y="488197"/>
                  </a:lnTo>
                  <a:lnTo>
                    <a:pt x="0" y="528141"/>
                  </a:lnTo>
                  <a:lnTo>
                    <a:pt x="10266" y="568086"/>
                  </a:lnTo>
                  <a:lnTo>
                    <a:pt x="41064" y="599158"/>
                  </a:lnTo>
                  <a:lnTo>
                    <a:pt x="489574" y="857580"/>
                  </a:lnTo>
                  <a:lnTo>
                    <a:pt x="432253" y="861763"/>
                  </a:lnTo>
                  <a:lnTo>
                    <a:pt x="377166" y="870434"/>
                  </a:lnTo>
                  <a:lnTo>
                    <a:pt x="324723" y="883313"/>
                  </a:lnTo>
                  <a:lnTo>
                    <a:pt x="275333" y="900123"/>
                  </a:lnTo>
                  <a:lnTo>
                    <a:pt x="229404" y="920583"/>
                  </a:lnTo>
                  <a:lnTo>
                    <a:pt x="187347" y="944415"/>
                  </a:lnTo>
                  <a:lnTo>
                    <a:pt x="149570" y="971340"/>
                  </a:lnTo>
                  <a:lnTo>
                    <a:pt x="116482" y="1001078"/>
                  </a:lnTo>
                  <a:lnTo>
                    <a:pt x="88492" y="1033351"/>
                  </a:lnTo>
                  <a:lnTo>
                    <a:pt x="66011" y="1067880"/>
                  </a:lnTo>
                  <a:lnTo>
                    <a:pt x="49446" y="1104385"/>
                  </a:lnTo>
                  <a:lnTo>
                    <a:pt x="39207" y="1142588"/>
                  </a:lnTo>
                  <a:lnTo>
                    <a:pt x="35703" y="1182209"/>
                  </a:lnTo>
                  <a:lnTo>
                    <a:pt x="38907" y="1220112"/>
                  </a:lnTo>
                  <a:lnTo>
                    <a:pt x="63472" y="1291823"/>
                  </a:lnTo>
                  <a:lnTo>
                    <a:pt x="84117" y="1325143"/>
                  </a:lnTo>
                  <a:lnTo>
                    <a:pt x="109862" y="1356446"/>
                  </a:lnTo>
                  <a:lnTo>
                    <a:pt x="140347" y="1385490"/>
                  </a:lnTo>
                  <a:lnTo>
                    <a:pt x="175217" y="1412030"/>
                  </a:lnTo>
                  <a:lnTo>
                    <a:pt x="214113" y="1435823"/>
                  </a:lnTo>
                  <a:lnTo>
                    <a:pt x="256678" y="1456624"/>
                  </a:lnTo>
                  <a:lnTo>
                    <a:pt x="302555" y="1474190"/>
                  </a:lnTo>
                  <a:lnTo>
                    <a:pt x="351387" y="1488277"/>
                  </a:lnTo>
                  <a:lnTo>
                    <a:pt x="402815" y="1498641"/>
                  </a:lnTo>
                  <a:lnTo>
                    <a:pt x="456483" y="1505038"/>
                  </a:lnTo>
                  <a:lnTo>
                    <a:pt x="512034" y="1507225"/>
                  </a:lnTo>
                  <a:lnTo>
                    <a:pt x="567584" y="1505038"/>
                  </a:lnTo>
                  <a:lnTo>
                    <a:pt x="621252" y="1498641"/>
                  </a:lnTo>
                  <a:lnTo>
                    <a:pt x="672681" y="1488277"/>
                  </a:lnTo>
                  <a:lnTo>
                    <a:pt x="721512" y="1474190"/>
                  </a:lnTo>
                  <a:lnTo>
                    <a:pt x="767389" y="1456624"/>
                  </a:lnTo>
                  <a:lnTo>
                    <a:pt x="809954" y="1435823"/>
                  </a:lnTo>
                  <a:lnTo>
                    <a:pt x="848851" y="1412030"/>
                  </a:lnTo>
                  <a:lnTo>
                    <a:pt x="883720" y="1385490"/>
                  </a:lnTo>
                  <a:lnTo>
                    <a:pt x="914206" y="1356446"/>
                  </a:lnTo>
                  <a:lnTo>
                    <a:pt x="939950" y="1325143"/>
                  </a:lnTo>
                  <a:lnTo>
                    <a:pt x="960595" y="1291823"/>
                  </a:lnTo>
                  <a:lnTo>
                    <a:pt x="975784" y="1256732"/>
                  </a:lnTo>
                  <a:lnTo>
                    <a:pt x="988365" y="1182209"/>
                  </a:lnTo>
                  <a:lnTo>
                    <a:pt x="988125" y="1172260"/>
                  </a:lnTo>
                  <a:lnTo>
                    <a:pt x="987426" y="1162394"/>
                  </a:lnTo>
                  <a:lnTo>
                    <a:pt x="986302" y="1152608"/>
                  </a:lnTo>
                  <a:lnTo>
                    <a:pt x="984784" y="1142901"/>
                  </a:lnTo>
                  <a:lnTo>
                    <a:pt x="1379431" y="1370287"/>
                  </a:lnTo>
                  <a:lnTo>
                    <a:pt x="1425864" y="1390873"/>
                  </a:lnTo>
                  <a:lnTo>
                    <a:pt x="1474784" y="1401166"/>
                  </a:lnTo>
                  <a:lnTo>
                    <a:pt x="1524532" y="1401166"/>
                  </a:lnTo>
                  <a:lnTo>
                    <a:pt x="1573452" y="1390873"/>
                  </a:lnTo>
                  <a:lnTo>
                    <a:pt x="1619885" y="1370287"/>
                  </a:lnTo>
                  <a:lnTo>
                    <a:pt x="2359360" y="944027"/>
                  </a:lnTo>
                  <a:lnTo>
                    <a:pt x="2390158" y="912961"/>
                  </a:lnTo>
                  <a:lnTo>
                    <a:pt x="2400424" y="873019"/>
                  </a:lnTo>
                  <a:lnTo>
                    <a:pt x="2390158" y="833077"/>
                  </a:lnTo>
                  <a:lnTo>
                    <a:pt x="2359360" y="802011"/>
                  </a:lnTo>
                  <a:lnTo>
                    <a:pt x="1020992" y="30872"/>
                  </a:lnTo>
                  <a:lnTo>
                    <a:pt x="974559" y="10290"/>
                  </a:lnTo>
                  <a:lnTo>
                    <a:pt x="925639" y="0"/>
                  </a:lnTo>
                  <a:close/>
                </a:path>
              </a:pathLst>
            </a:custGeom>
            <a:solidFill>
              <a:srgbClr val="80B8D6">
                <a:alpha val="29998"/>
              </a:srgbClr>
            </a:solidFill>
          </p:spPr>
          <p:txBody>
            <a:bodyPr wrap="square" lIns="0" tIns="0" rIns="0" bIns="0" rtlCol="0"/>
            <a:lstStyle/>
            <a:p>
              <a:endParaRPr/>
            </a:p>
          </p:txBody>
        </p:sp>
        <p:pic>
          <p:nvPicPr>
            <p:cNvPr id="166" name="object 16">
              <a:extLst>
                <a:ext uri="{FF2B5EF4-FFF2-40B4-BE49-F238E27FC236}">
                  <a16:creationId xmlns:a16="http://schemas.microsoft.com/office/drawing/2014/main" id="{BCDF399C-4016-9E43-8243-5CCEF19BA71F}"/>
                </a:ext>
              </a:extLst>
            </p:cNvPr>
            <p:cNvPicPr/>
            <p:nvPr/>
          </p:nvPicPr>
          <p:blipFill>
            <a:blip r:embed="rId6" cstate="print"/>
            <a:stretch>
              <a:fillRect/>
            </a:stretch>
          </p:blipFill>
          <p:spPr>
            <a:xfrm>
              <a:off x="14629751" y="3187007"/>
              <a:ext cx="184329" cy="237081"/>
            </a:xfrm>
            <a:prstGeom prst="rect">
              <a:avLst/>
            </a:prstGeom>
          </p:spPr>
        </p:pic>
        <p:pic>
          <p:nvPicPr>
            <p:cNvPr id="167" name="object 17">
              <a:extLst>
                <a:ext uri="{FF2B5EF4-FFF2-40B4-BE49-F238E27FC236}">
                  <a16:creationId xmlns:a16="http://schemas.microsoft.com/office/drawing/2014/main" id="{EBE47ADA-0781-D91C-F0EA-9F5C872379B0}"/>
                </a:ext>
              </a:extLst>
            </p:cNvPr>
            <p:cNvPicPr/>
            <p:nvPr/>
          </p:nvPicPr>
          <p:blipFill>
            <a:blip r:embed="rId7" cstate="print"/>
            <a:stretch>
              <a:fillRect/>
            </a:stretch>
          </p:blipFill>
          <p:spPr>
            <a:xfrm>
              <a:off x="13380982" y="2465025"/>
              <a:ext cx="184329" cy="237081"/>
            </a:xfrm>
            <a:prstGeom prst="rect">
              <a:avLst/>
            </a:prstGeom>
          </p:spPr>
        </p:pic>
        <p:pic>
          <p:nvPicPr>
            <p:cNvPr id="168" name="object 18">
              <a:extLst>
                <a:ext uri="{FF2B5EF4-FFF2-40B4-BE49-F238E27FC236}">
                  <a16:creationId xmlns:a16="http://schemas.microsoft.com/office/drawing/2014/main" id="{F955A2DC-6D17-0962-EFF8-8FE504F96D4F}"/>
                </a:ext>
              </a:extLst>
            </p:cNvPr>
            <p:cNvPicPr/>
            <p:nvPr/>
          </p:nvPicPr>
          <p:blipFill>
            <a:blip r:embed="rId8" cstate="print"/>
            <a:stretch>
              <a:fillRect/>
            </a:stretch>
          </p:blipFill>
          <p:spPr>
            <a:xfrm>
              <a:off x="15345329" y="2773869"/>
              <a:ext cx="184329" cy="237081"/>
            </a:xfrm>
            <a:prstGeom prst="rect">
              <a:avLst/>
            </a:prstGeom>
          </p:spPr>
        </p:pic>
        <p:sp>
          <p:nvSpPr>
            <p:cNvPr id="169" name="object 19">
              <a:extLst>
                <a:ext uri="{FF2B5EF4-FFF2-40B4-BE49-F238E27FC236}">
                  <a16:creationId xmlns:a16="http://schemas.microsoft.com/office/drawing/2014/main" id="{E3116C65-B8EF-452F-83A6-E256D7341E38}"/>
                </a:ext>
              </a:extLst>
            </p:cNvPr>
            <p:cNvSpPr/>
            <p:nvPr/>
          </p:nvSpPr>
          <p:spPr>
            <a:xfrm>
              <a:off x="13279222" y="2256541"/>
              <a:ext cx="2400935" cy="1061085"/>
            </a:xfrm>
            <a:custGeom>
              <a:avLst/>
              <a:gdLst/>
              <a:ahLst/>
              <a:cxnLst/>
              <a:rect l="l" t="t" r="r" b="b"/>
              <a:pathLst>
                <a:path w="2400934" h="1061085">
                  <a:moveTo>
                    <a:pt x="2400427" y="344881"/>
                  </a:moveTo>
                  <a:lnTo>
                    <a:pt x="1499666" y="864108"/>
                  </a:lnTo>
                  <a:lnTo>
                    <a:pt x="0" y="0"/>
                  </a:lnTo>
                  <a:lnTo>
                    <a:pt x="0" y="186397"/>
                  </a:lnTo>
                  <a:lnTo>
                    <a:pt x="10274" y="226339"/>
                  </a:lnTo>
                  <a:lnTo>
                    <a:pt x="41071" y="257403"/>
                  </a:lnTo>
                  <a:lnTo>
                    <a:pt x="1379435" y="1028547"/>
                  </a:lnTo>
                  <a:lnTo>
                    <a:pt x="1437932" y="1052664"/>
                  </a:lnTo>
                  <a:lnTo>
                    <a:pt x="1499654" y="1060704"/>
                  </a:lnTo>
                  <a:lnTo>
                    <a:pt x="1561388" y="1052664"/>
                  </a:lnTo>
                  <a:lnTo>
                    <a:pt x="1619885" y="1028547"/>
                  </a:lnTo>
                  <a:lnTo>
                    <a:pt x="2359355" y="602284"/>
                  </a:lnTo>
                  <a:lnTo>
                    <a:pt x="2390165" y="571220"/>
                  </a:lnTo>
                  <a:lnTo>
                    <a:pt x="2400427" y="531266"/>
                  </a:lnTo>
                  <a:lnTo>
                    <a:pt x="2400427" y="344881"/>
                  </a:lnTo>
                  <a:close/>
                </a:path>
              </a:pathLst>
            </a:custGeom>
            <a:solidFill>
              <a:srgbClr val="88D5ED"/>
            </a:solidFill>
          </p:spPr>
          <p:txBody>
            <a:bodyPr wrap="square" lIns="0" tIns="0" rIns="0" bIns="0" rtlCol="0"/>
            <a:lstStyle/>
            <a:p>
              <a:endParaRPr/>
            </a:p>
          </p:txBody>
        </p:sp>
        <p:sp>
          <p:nvSpPr>
            <p:cNvPr id="170" name="object 20">
              <a:extLst>
                <a:ext uri="{FF2B5EF4-FFF2-40B4-BE49-F238E27FC236}">
                  <a16:creationId xmlns:a16="http://schemas.microsoft.com/office/drawing/2014/main" id="{D9B92967-F949-B85A-5A91-F07826D06A85}"/>
                </a:ext>
              </a:extLst>
            </p:cNvPr>
            <p:cNvSpPr/>
            <p:nvPr/>
          </p:nvSpPr>
          <p:spPr>
            <a:xfrm>
              <a:off x="13283220" y="1728391"/>
              <a:ext cx="2400935" cy="1401445"/>
            </a:xfrm>
            <a:custGeom>
              <a:avLst/>
              <a:gdLst/>
              <a:ahLst/>
              <a:cxnLst/>
              <a:rect l="l" t="t" r="r" b="b"/>
              <a:pathLst>
                <a:path w="2400934" h="1401445">
                  <a:moveTo>
                    <a:pt x="925639" y="0"/>
                  </a:moveTo>
                  <a:lnTo>
                    <a:pt x="875891" y="0"/>
                  </a:lnTo>
                  <a:lnTo>
                    <a:pt x="826972" y="10293"/>
                  </a:lnTo>
                  <a:lnTo>
                    <a:pt x="780539" y="30879"/>
                  </a:lnTo>
                  <a:lnTo>
                    <a:pt x="41064" y="457139"/>
                  </a:lnTo>
                  <a:lnTo>
                    <a:pt x="10266" y="488205"/>
                  </a:lnTo>
                  <a:lnTo>
                    <a:pt x="0" y="528147"/>
                  </a:lnTo>
                  <a:lnTo>
                    <a:pt x="10266" y="568089"/>
                  </a:lnTo>
                  <a:lnTo>
                    <a:pt x="41064" y="599155"/>
                  </a:lnTo>
                  <a:lnTo>
                    <a:pt x="1379431" y="1370294"/>
                  </a:lnTo>
                  <a:lnTo>
                    <a:pt x="1425864" y="1390876"/>
                  </a:lnTo>
                  <a:lnTo>
                    <a:pt x="1474784" y="1401166"/>
                  </a:lnTo>
                  <a:lnTo>
                    <a:pt x="1524532" y="1401166"/>
                  </a:lnTo>
                  <a:lnTo>
                    <a:pt x="1573452" y="1390876"/>
                  </a:lnTo>
                  <a:lnTo>
                    <a:pt x="1619885" y="1370294"/>
                  </a:lnTo>
                  <a:lnTo>
                    <a:pt x="2359360" y="944035"/>
                  </a:lnTo>
                  <a:lnTo>
                    <a:pt x="2390158" y="912969"/>
                  </a:lnTo>
                  <a:lnTo>
                    <a:pt x="2400424" y="873025"/>
                  </a:lnTo>
                  <a:lnTo>
                    <a:pt x="2390158" y="833080"/>
                  </a:lnTo>
                  <a:lnTo>
                    <a:pt x="2359360" y="802008"/>
                  </a:lnTo>
                  <a:lnTo>
                    <a:pt x="1020992" y="30879"/>
                  </a:lnTo>
                  <a:lnTo>
                    <a:pt x="974559" y="10293"/>
                  </a:lnTo>
                  <a:lnTo>
                    <a:pt x="925639" y="0"/>
                  </a:lnTo>
                  <a:close/>
                </a:path>
              </a:pathLst>
            </a:custGeom>
            <a:solidFill>
              <a:srgbClr val="F4F4F4"/>
            </a:solidFill>
          </p:spPr>
          <p:txBody>
            <a:bodyPr wrap="square" lIns="0" tIns="0" rIns="0" bIns="0" rtlCol="0"/>
            <a:lstStyle/>
            <a:p>
              <a:endParaRPr/>
            </a:p>
          </p:txBody>
        </p:sp>
        <p:sp>
          <p:nvSpPr>
            <p:cNvPr id="171" name="object 21">
              <a:extLst>
                <a:ext uri="{FF2B5EF4-FFF2-40B4-BE49-F238E27FC236}">
                  <a16:creationId xmlns:a16="http://schemas.microsoft.com/office/drawing/2014/main" id="{933D76D7-E92C-3DB7-319D-F293C9F1C51E}"/>
                </a:ext>
              </a:extLst>
            </p:cNvPr>
            <p:cNvSpPr/>
            <p:nvPr/>
          </p:nvSpPr>
          <p:spPr>
            <a:xfrm>
              <a:off x="10842405" y="5586699"/>
              <a:ext cx="2400935" cy="1401445"/>
            </a:xfrm>
            <a:custGeom>
              <a:avLst/>
              <a:gdLst/>
              <a:ahLst/>
              <a:cxnLst/>
              <a:rect l="l" t="t" r="r" b="b"/>
              <a:pathLst>
                <a:path w="2400934" h="1401445">
                  <a:moveTo>
                    <a:pt x="925639" y="0"/>
                  </a:moveTo>
                  <a:lnTo>
                    <a:pt x="875891" y="0"/>
                  </a:lnTo>
                  <a:lnTo>
                    <a:pt x="826972" y="10293"/>
                  </a:lnTo>
                  <a:lnTo>
                    <a:pt x="780539" y="30879"/>
                  </a:lnTo>
                  <a:lnTo>
                    <a:pt x="41064" y="457128"/>
                  </a:lnTo>
                  <a:lnTo>
                    <a:pt x="10266" y="488200"/>
                  </a:lnTo>
                  <a:lnTo>
                    <a:pt x="0" y="528146"/>
                  </a:lnTo>
                  <a:lnTo>
                    <a:pt x="10266" y="568089"/>
                  </a:lnTo>
                  <a:lnTo>
                    <a:pt x="41064" y="599155"/>
                  </a:lnTo>
                  <a:lnTo>
                    <a:pt x="1379431" y="1370294"/>
                  </a:lnTo>
                  <a:lnTo>
                    <a:pt x="1425864" y="1390876"/>
                  </a:lnTo>
                  <a:lnTo>
                    <a:pt x="1474784" y="1401166"/>
                  </a:lnTo>
                  <a:lnTo>
                    <a:pt x="1524532" y="1401166"/>
                  </a:lnTo>
                  <a:lnTo>
                    <a:pt x="1573452" y="1390876"/>
                  </a:lnTo>
                  <a:lnTo>
                    <a:pt x="1619885" y="1370294"/>
                  </a:lnTo>
                  <a:lnTo>
                    <a:pt x="2359360" y="944035"/>
                  </a:lnTo>
                  <a:lnTo>
                    <a:pt x="2390158" y="912969"/>
                  </a:lnTo>
                  <a:lnTo>
                    <a:pt x="2400424" y="873025"/>
                  </a:lnTo>
                  <a:lnTo>
                    <a:pt x="2390158" y="833080"/>
                  </a:lnTo>
                  <a:lnTo>
                    <a:pt x="2359360" y="802008"/>
                  </a:lnTo>
                  <a:lnTo>
                    <a:pt x="1020992" y="30879"/>
                  </a:lnTo>
                  <a:lnTo>
                    <a:pt x="974559" y="10293"/>
                  </a:lnTo>
                  <a:lnTo>
                    <a:pt x="925639" y="0"/>
                  </a:lnTo>
                  <a:close/>
                </a:path>
              </a:pathLst>
            </a:custGeom>
            <a:solidFill>
              <a:srgbClr val="80B8D6">
                <a:alpha val="29998"/>
              </a:srgbClr>
            </a:solidFill>
          </p:spPr>
          <p:txBody>
            <a:bodyPr wrap="square" lIns="0" tIns="0" rIns="0" bIns="0" rtlCol="0"/>
            <a:lstStyle/>
            <a:p>
              <a:endParaRPr/>
            </a:p>
          </p:txBody>
        </p:sp>
        <p:sp>
          <p:nvSpPr>
            <p:cNvPr id="172" name="object 22">
              <a:extLst>
                <a:ext uri="{FF2B5EF4-FFF2-40B4-BE49-F238E27FC236}">
                  <a16:creationId xmlns:a16="http://schemas.microsoft.com/office/drawing/2014/main" id="{AFCAA189-CF00-B31C-A5BB-647D7AE9CB03}"/>
                </a:ext>
              </a:extLst>
            </p:cNvPr>
            <p:cNvSpPr/>
            <p:nvPr/>
          </p:nvSpPr>
          <p:spPr>
            <a:xfrm>
              <a:off x="11308715" y="4198765"/>
              <a:ext cx="2315845" cy="2816860"/>
            </a:xfrm>
            <a:custGeom>
              <a:avLst/>
              <a:gdLst/>
              <a:ahLst/>
              <a:cxnLst/>
              <a:rect l="l" t="t" r="r" b="b"/>
              <a:pathLst>
                <a:path w="2315844" h="2816859">
                  <a:moveTo>
                    <a:pt x="668045" y="859917"/>
                  </a:moveTo>
                  <a:lnTo>
                    <a:pt x="664044" y="0"/>
                  </a:lnTo>
                  <a:lnTo>
                    <a:pt x="0" y="383400"/>
                  </a:lnTo>
                  <a:lnTo>
                    <a:pt x="4191" y="1285138"/>
                  </a:lnTo>
                  <a:lnTo>
                    <a:pt x="13716" y="1328039"/>
                  </a:lnTo>
                  <a:lnTo>
                    <a:pt x="38620" y="1361046"/>
                  </a:lnTo>
                  <a:lnTo>
                    <a:pt x="74028" y="1381391"/>
                  </a:lnTo>
                  <a:lnTo>
                    <a:pt x="115087" y="1386255"/>
                  </a:lnTo>
                  <a:lnTo>
                    <a:pt x="156946" y="1372857"/>
                  </a:lnTo>
                  <a:lnTo>
                    <a:pt x="480872" y="1185837"/>
                  </a:lnTo>
                  <a:lnTo>
                    <a:pt x="522351" y="1158049"/>
                  </a:lnTo>
                  <a:lnTo>
                    <a:pt x="559295" y="1125461"/>
                  </a:lnTo>
                  <a:lnTo>
                    <a:pt x="591400" y="1088618"/>
                  </a:lnTo>
                  <a:lnTo>
                    <a:pt x="618324" y="1048067"/>
                  </a:lnTo>
                  <a:lnTo>
                    <a:pt x="639775" y="1004366"/>
                  </a:lnTo>
                  <a:lnTo>
                    <a:pt x="655421" y="958075"/>
                  </a:lnTo>
                  <a:lnTo>
                    <a:pt x="664959" y="909739"/>
                  </a:lnTo>
                  <a:lnTo>
                    <a:pt x="668045" y="859917"/>
                  </a:lnTo>
                  <a:close/>
                </a:path>
                <a:path w="2315844" h="2816859">
                  <a:moveTo>
                    <a:pt x="2315413" y="1020813"/>
                  </a:moveTo>
                  <a:lnTo>
                    <a:pt x="1138885" y="1717332"/>
                  </a:lnTo>
                  <a:lnTo>
                    <a:pt x="1116291" y="1704543"/>
                  </a:lnTo>
                  <a:lnTo>
                    <a:pt x="611428" y="1432369"/>
                  </a:lnTo>
                  <a:lnTo>
                    <a:pt x="611428" y="2416619"/>
                  </a:lnTo>
                  <a:lnTo>
                    <a:pt x="615899" y="2467089"/>
                  </a:lnTo>
                  <a:lnTo>
                    <a:pt x="628904" y="2515273"/>
                  </a:lnTo>
                  <a:lnTo>
                    <a:pt x="649897" y="2560167"/>
                  </a:lnTo>
                  <a:lnTo>
                    <a:pt x="678281" y="2600782"/>
                  </a:lnTo>
                  <a:lnTo>
                    <a:pt x="713498" y="2636139"/>
                  </a:lnTo>
                  <a:lnTo>
                    <a:pt x="754964" y="2665247"/>
                  </a:lnTo>
                  <a:lnTo>
                    <a:pt x="913612" y="2756839"/>
                  </a:lnTo>
                  <a:lnTo>
                    <a:pt x="961961" y="2781008"/>
                  </a:lnTo>
                  <a:lnTo>
                    <a:pt x="1012240" y="2799016"/>
                  </a:lnTo>
                  <a:lnTo>
                    <a:pt x="1063866" y="2810865"/>
                  </a:lnTo>
                  <a:lnTo>
                    <a:pt x="1116291" y="2816568"/>
                  </a:lnTo>
                  <a:lnTo>
                    <a:pt x="1167460" y="2816237"/>
                  </a:lnTo>
                  <a:lnTo>
                    <a:pt x="1218349" y="2810103"/>
                  </a:lnTo>
                  <a:lnTo>
                    <a:pt x="1268425" y="2798165"/>
                  </a:lnTo>
                  <a:lnTo>
                    <a:pt x="1317205" y="2780411"/>
                  </a:lnTo>
                  <a:lnTo>
                    <a:pt x="1364157" y="2756839"/>
                  </a:lnTo>
                  <a:lnTo>
                    <a:pt x="2090000" y="2337765"/>
                  </a:lnTo>
                  <a:lnTo>
                    <a:pt x="2130209" y="2311616"/>
                  </a:lnTo>
                  <a:lnTo>
                    <a:pt x="2167013" y="2281694"/>
                  </a:lnTo>
                  <a:lnTo>
                    <a:pt x="2200211" y="2248357"/>
                  </a:lnTo>
                  <a:lnTo>
                    <a:pt x="2229612" y="2211933"/>
                  </a:lnTo>
                  <a:lnTo>
                    <a:pt x="2255012" y="2172754"/>
                  </a:lnTo>
                  <a:lnTo>
                    <a:pt x="2276246" y="2131161"/>
                  </a:lnTo>
                  <a:lnTo>
                    <a:pt x="2293086" y="2087486"/>
                  </a:lnTo>
                  <a:lnTo>
                    <a:pt x="2305367" y="2042071"/>
                  </a:lnTo>
                  <a:lnTo>
                    <a:pt x="2312873" y="1995246"/>
                  </a:lnTo>
                  <a:lnTo>
                    <a:pt x="2315413" y="1947354"/>
                  </a:lnTo>
                  <a:lnTo>
                    <a:pt x="2315413" y="1020813"/>
                  </a:lnTo>
                  <a:close/>
                </a:path>
              </a:pathLst>
            </a:custGeom>
            <a:solidFill>
              <a:srgbClr val="12ABDB"/>
            </a:solidFill>
          </p:spPr>
          <p:txBody>
            <a:bodyPr wrap="square" lIns="0" tIns="0" rIns="0" bIns="0" rtlCol="0"/>
            <a:lstStyle/>
            <a:p>
              <a:endParaRPr/>
            </a:p>
          </p:txBody>
        </p:sp>
        <p:sp>
          <p:nvSpPr>
            <p:cNvPr id="173" name="object 23">
              <a:extLst>
                <a:ext uri="{FF2B5EF4-FFF2-40B4-BE49-F238E27FC236}">
                  <a16:creationId xmlns:a16="http://schemas.microsoft.com/office/drawing/2014/main" id="{25B6AD8B-8948-A6B2-DC84-16E08B9AECBB}"/>
                </a:ext>
              </a:extLst>
            </p:cNvPr>
            <p:cNvSpPr/>
            <p:nvPr/>
          </p:nvSpPr>
          <p:spPr>
            <a:xfrm>
              <a:off x="11227950" y="4240382"/>
              <a:ext cx="2441575" cy="1798955"/>
            </a:xfrm>
            <a:custGeom>
              <a:avLst/>
              <a:gdLst/>
              <a:ahLst/>
              <a:cxnLst/>
              <a:rect l="l" t="t" r="r" b="b"/>
              <a:pathLst>
                <a:path w="2441575" h="1798954">
                  <a:moveTo>
                    <a:pt x="659194" y="0"/>
                  </a:moveTo>
                  <a:lnTo>
                    <a:pt x="611675" y="2496"/>
                  </a:lnTo>
                  <a:lnTo>
                    <a:pt x="564554" y="9909"/>
                  </a:lnTo>
                  <a:lnTo>
                    <a:pt x="518225" y="22238"/>
                  </a:lnTo>
                  <a:lnTo>
                    <a:pt x="473085" y="39483"/>
                  </a:lnTo>
                  <a:lnTo>
                    <a:pt x="429526" y="61643"/>
                  </a:lnTo>
                  <a:lnTo>
                    <a:pt x="83201" y="261584"/>
                  </a:lnTo>
                  <a:lnTo>
                    <a:pt x="50755" y="274328"/>
                  </a:lnTo>
                  <a:lnTo>
                    <a:pt x="24535" y="279768"/>
                  </a:lnTo>
                  <a:lnTo>
                    <a:pt x="6848" y="288989"/>
                  </a:lnTo>
                  <a:lnTo>
                    <a:pt x="0" y="313070"/>
                  </a:lnTo>
                  <a:lnTo>
                    <a:pt x="1534" y="380694"/>
                  </a:lnTo>
                  <a:lnTo>
                    <a:pt x="9575" y="438418"/>
                  </a:lnTo>
                  <a:lnTo>
                    <a:pt x="25194" y="486175"/>
                  </a:lnTo>
                  <a:lnTo>
                    <a:pt x="49460" y="523896"/>
                  </a:lnTo>
                  <a:lnTo>
                    <a:pt x="83442" y="551513"/>
                  </a:lnTo>
                  <a:lnTo>
                    <a:pt x="843723" y="988798"/>
                  </a:lnTo>
                  <a:lnTo>
                    <a:pt x="877508" y="1014840"/>
                  </a:lnTo>
                  <a:lnTo>
                    <a:pt x="901653" y="1047161"/>
                  </a:lnTo>
                  <a:lnTo>
                    <a:pt x="916154" y="1083672"/>
                  </a:lnTo>
                  <a:lnTo>
                    <a:pt x="921009" y="1122282"/>
                  </a:lnTo>
                  <a:lnTo>
                    <a:pt x="916218" y="1160900"/>
                  </a:lnTo>
                  <a:lnTo>
                    <a:pt x="901778" y="1197436"/>
                  </a:lnTo>
                  <a:lnTo>
                    <a:pt x="877686" y="1229800"/>
                  </a:lnTo>
                  <a:lnTo>
                    <a:pt x="843942" y="1255900"/>
                  </a:lnTo>
                  <a:lnTo>
                    <a:pt x="708323" y="1255083"/>
                  </a:lnTo>
                  <a:lnTo>
                    <a:pt x="680420" y="1282071"/>
                  </a:lnTo>
                  <a:lnTo>
                    <a:pt x="659888" y="1318572"/>
                  </a:lnTo>
                  <a:lnTo>
                    <a:pt x="646807" y="1361871"/>
                  </a:lnTo>
                  <a:lnTo>
                    <a:pt x="641257" y="1409251"/>
                  </a:lnTo>
                  <a:lnTo>
                    <a:pt x="643318" y="1457998"/>
                  </a:lnTo>
                  <a:lnTo>
                    <a:pt x="653069" y="1505395"/>
                  </a:lnTo>
                  <a:lnTo>
                    <a:pt x="670591" y="1548726"/>
                  </a:lnTo>
                  <a:lnTo>
                    <a:pt x="695963" y="1585276"/>
                  </a:lnTo>
                  <a:lnTo>
                    <a:pt x="729265" y="1612329"/>
                  </a:lnTo>
                  <a:lnTo>
                    <a:pt x="948033" y="1737864"/>
                  </a:lnTo>
                  <a:lnTo>
                    <a:pt x="991606" y="1759886"/>
                  </a:lnTo>
                  <a:lnTo>
                    <a:pt x="1036746" y="1777000"/>
                  </a:lnTo>
                  <a:lnTo>
                    <a:pt x="1083059" y="1789205"/>
                  </a:lnTo>
                  <a:lnTo>
                    <a:pt x="1130152" y="1796503"/>
                  </a:lnTo>
                  <a:lnTo>
                    <a:pt x="1177632" y="1798894"/>
                  </a:lnTo>
                  <a:lnTo>
                    <a:pt x="1225106" y="1796378"/>
                  </a:lnTo>
                  <a:lnTo>
                    <a:pt x="1272179" y="1788955"/>
                  </a:lnTo>
                  <a:lnTo>
                    <a:pt x="1318460" y="1776628"/>
                  </a:lnTo>
                  <a:lnTo>
                    <a:pt x="1363553" y="1759394"/>
                  </a:lnTo>
                  <a:lnTo>
                    <a:pt x="1407067" y="1737257"/>
                  </a:lnTo>
                  <a:lnTo>
                    <a:pt x="1775349" y="1524635"/>
                  </a:lnTo>
                  <a:lnTo>
                    <a:pt x="1775746" y="1524865"/>
                  </a:lnTo>
                  <a:lnTo>
                    <a:pt x="2351677" y="1192352"/>
                  </a:lnTo>
                  <a:lnTo>
                    <a:pt x="2388048" y="1163426"/>
                  </a:lnTo>
                  <a:lnTo>
                    <a:pt x="2414128" y="1126666"/>
                  </a:lnTo>
                  <a:lnTo>
                    <a:pt x="2430959" y="1084579"/>
                  </a:lnTo>
                  <a:lnTo>
                    <a:pt x="2439581" y="1039675"/>
                  </a:lnTo>
                  <a:lnTo>
                    <a:pt x="2441038" y="994462"/>
                  </a:lnTo>
                  <a:lnTo>
                    <a:pt x="2436371" y="951449"/>
                  </a:lnTo>
                  <a:lnTo>
                    <a:pt x="2426624" y="913145"/>
                  </a:lnTo>
                  <a:lnTo>
                    <a:pt x="888957" y="61266"/>
                  </a:lnTo>
                  <a:lnTo>
                    <a:pt x="845364" y="39179"/>
                  </a:lnTo>
                  <a:lnTo>
                    <a:pt x="800197" y="22009"/>
                  </a:lnTo>
                  <a:lnTo>
                    <a:pt x="753850" y="9756"/>
                  </a:lnTo>
                  <a:lnTo>
                    <a:pt x="706717" y="2419"/>
                  </a:lnTo>
                  <a:lnTo>
                    <a:pt x="659194" y="0"/>
                  </a:lnTo>
                  <a:close/>
                </a:path>
              </a:pathLst>
            </a:custGeom>
            <a:solidFill>
              <a:srgbClr val="88D5ED"/>
            </a:solidFill>
          </p:spPr>
          <p:txBody>
            <a:bodyPr wrap="square" lIns="0" tIns="0" rIns="0" bIns="0" rtlCol="0"/>
            <a:lstStyle/>
            <a:p>
              <a:endParaRPr/>
            </a:p>
          </p:txBody>
        </p:sp>
        <p:sp>
          <p:nvSpPr>
            <p:cNvPr id="174" name="object 24">
              <a:extLst>
                <a:ext uri="{FF2B5EF4-FFF2-40B4-BE49-F238E27FC236}">
                  <a16:creationId xmlns:a16="http://schemas.microsoft.com/office/drawing/2014/main" id="{60F61DDB-84F2-169C-790C-AFF64CAEE909}"/>
                </a:ext>
              </a:extLst>
            </p:cNvPr>
            <p:cNvSpPr/>
            <p:nvPr/>
          </p:nvSpPr>
          <p:spPr>
            <a:xfrm>
              <a:off x="11227495" y="4159228"/>
              <a:ext cx="2435860" cy="1798955"/>
            </a:xfrm>
            <a:custGeom>
              <a:avLst/>
              <a:gdLst/>
              <a:ahLst/>
              <a:cxnLst/>
              <a:rect l="l" t="t" r="r" b="b"/>
              <a:pathLst>
                <a:path w="2435859" h="1798954">
                  <a:moveTo>
                    <a:pt x="659643" y="0"/>
                  </a:moveTo>
                  <a:lnTo>
                    <a:pt x="612123" y="2497"/>
                  </a:lnTo>
                  <a:lnTo>
                    <a:pt x="565002" y="9910"/>
                  </a:lnTo>
                  <a:lnTo>
                    <a:pt x="518673" y="22238"/>
                  </a:lnTo>
                  <a:lnTo>
                    <a:pt x="473532" y="39481"/>
                  </a:lnTo>
                  <a:lnTo>
                    <a:pt x="429973" y="61639"/>
                  </a:lnTo>
                  <a:lnTo>
                    <a:pt x="83649" y="261591"/>
                  </a:lnTo>
                  <a:lnTo>
                    <a:pt x="47023" y="289919"/>
                  </a:lnTo>
                  <a:lnTo>
                    <a:pt x="20874" y="325046"/>
                  </a:lnTo>
                  <a:lnTo>
                    <a:pt x="5200" y="364703"/>
                  </a:lnTo>
                  <a:lnTo>
                    <a:pt x="0" y="406621"/>
                  </a:lnTo>
                  <a:lnTo>
                    <a:pt x="5270" y="448529"/>
                  </a:lnTo>
                  <a:lnTo>
                    <a:pt x="21010" y="488160"/>
                  </a:lnTo>
                  <a:lnTo>
                    <a:pt x="47217" y="523243"/>
                  </a:lnTo>
                  <a:lnTo>
                    <a:pt x="83890" y="551509"/>
                  </a:lnTo>
                  <a:lnTo>
                    <a:pt x="844170" y="988794"/>
                  </a:lnTo>
                  <a:lnTo>
                    <a:pt x="877959" y="1014839"/>
                  </a:lnTo>
                  <a:lnTo>
                    <a:pt x="902105" y="1047163"/>
                  </a:lnTo>
                  <a:lnTo>
                    <a:pt x="916606" y="1083676"/>
                  </a:lnTo>
                  <a:lnTo>
                    <a:pt x="921461" y="1122286"/>
                  </a:lnTo>
                  <a:lnTo>
                    <a:pt x="916668" y="1160904"/>
                  </a:lnTo>
                  <a:lnTo>
                    <a:pt x="902227" y="1197438"/>
                  </a:lnTo>
                  <a:lnTo>
                    <a:pt x="878134" y="1229799"/>
                  </a:lnTo>
                  <a:lnTo>
                    <a:pt x="844390" y="1255896"/>
                  </a:lnTo>
                  <a:lnTo>
                    <a:pt x="729336" y="1322334"/>
                  </a:lnTo>
                  <a:lnTo>
                    <a:pt x="692690" y="1350677"/>
                  </a:lnTo>
                  <a:lnTo>
                    <a:pt x="666534" y="1385825"/>
                  </a:lnTo>
                  <a:lnTo>
                    <a:pt x="650866" y="1425505"/>
                  </a:lnTo>
                  <a:lnTo>
                    <a:pt x="645681" y="1467444"/>
                  </a:lnTo>
                  <a:lnTo>
                    <a:pt x="650978" y="1509370"/>
                  </a:lnTo>
                  <a:lnTo>
                    <a:pt x="666753" y="1549008"/>
                  </a:lnTo>
                  <a:lnTo>
                    <a:pt x="693002" y="1584088"/>
                  </a:lnTo>
                  <a:lnTo>
                    <a:pt x="729723" y="1612335"/>
                  </a:lnTo>
                  <a:lnTo>
                    <a:pt x="948481" y="1737871"/>
                  </a:lnTo>
                  <a:lnTo>
                    <a:pt x="992054" y="1759893"/>
                  </a:lnTo>
                  <a:lnTo>
                    <a:pt x="1037195" y="1777006"/>
                  </a:lnTo>
                  <a:lnTo>
                    <a:pt x="1083509" y="1789212"/>
                  </a:lnTo>
                  <a:lnTo>
                    <a:pt x="1130604" y="1796510"/>
                  </a:lnTo>
                  <a:lnTo>
                    <a:pt x="1178085" y="1798900"/>
                  </a:lnTo>
                  <a:lnTo>
                    <a:pt x="1225560" y="1796384"/>
                  </a:lnTo>
                  <a:lnTo>
                    <a:pt x="1272635" y="1788962"/>
                  </a:lnTo>
                  <a:lnTo>
                    <a:pt x="1318917" y="1776634"/>
                  </a:lnTo>
                  <a:lnTo>
                    <a:pt x="1364011" y="1759401"/>
                  </a:lnTo>
                  <a:lnTo>
                    <a:pt x="1407525" y="1737263"/>
                  </a:lnTo>
                  <a:lnTo>
                    <a:pt x="1775796" y="1524631"/>
                  </a:lnTo>
                  <a:lnTo>
                    <a:pt x="1776194" y="1524861"/>
                  </a:lnTo>
                  <a:lnTo>
                    <a:pt x="2352135" y="1192348"/>
                  </a:lnTo>
                  <a:lnTo>
                    <a:pt x="2388761" y="1164020"/>
                  </a:lnTo>
                  <a:lnTo>
                    <a:pt x="2414910" y="1128893"/>
                  </a:lnTo>
                  <a:lnTo>
                    <a:pt x="2430583" y="1089236"/>
                  </a:lnTo>
                  <a:lnTo>
                    <a:pt x="2435784" y="1047318"/>
                  </a:lnTo>
                  <a:lnTo>
                    <a:pt x="2430513" y="1005410"/>
                  </a:lnTo>
                  <a:lnTo>
                    <a:pt x="2414773" y="965779"/>
                  </a:lnTo>
                  <a:lnTo>
                    <a:pt x="2388566" y="930696"/>
                  </a:lnTo>
                  <a:lnTo>
                    <a:pt x="2351894" y="902430"/>
                  </a:lnTo>
                  <a:lnTo>
                    <a:pt x="889415" y="61262"/>
                  </a:lnTo>
                  <a:lnTo>
                    <a:pt x="845819" y="39175"/>
                  </a:lnTo>
                  <a:lnTo>
                    <a:pt x="800650" y="22006"/>
                  </a:lnTo>
                  <a:lnTo>
                    <a:pt x="754301" y="9754"/>
                  </a:lnTo>
                  <a:lnTo>
                    <a:pt x="707167" y="2418"/>
                  </a:lnTo>
                  <a:lnTo>
                    <a:pt x="659643" y="0"/>
                  </a:lnTo>
                  <a:close/>
                </a:path>
              </a:pathLst>
            </a:custGeom>
            <a:solidFill>
              <a:srgbClr val="F4F4F4"/>
            </a:solidFill>
          </p:spPr>
          <p:txBody>
            <a:bodyPr wrap="square" lIns="0" tIns="0" rIns="0" bIns="0" rtlCol="0"/>
            <a:lstStyle/>
            <a:p>
              <a:endParaRPr/>
            </a:p>
          </p:txBody>
        </p:sp>
        <p:pic>
          <p:nvPicPr>
            <p:cNvPr id="175" name="object 25">
              <a:extLst>
                <a:ext uri="{FF2B5EF4-FFF2-40B4-BE49-F238E27FC236}">
                  <a16:creationId xmlns:a16="http://schemas.microsoft.com/office/drawing/2014/main" id="{FAD2BCF5-CF8B-1269-D746-D061E318508C}"/>
                </a:ext>
              </a:extLst>
            </p:cNvPr>
            <p:cNvPicPr/>
            <p:nvPr/>
          </p:nvPicPr>
          <p:blipFill>
            <a:blip r:embed="rId9" cstate="print"/>
            <a:stretch>
              <a:fillRect/>
            </a:stretch>
          </p:blipFill>
          <p:spPr>
            <a:xfrm>
              <a:off x="12326836" y="4530302"/>
              <a:ext cx="465695" cy="283575"/>
            </a:xfrm>
            <a:prstGeom prst="rect">
              <a:avLst/>
            </a:prstGeom>
          </p:spPr>
        </p:pic>
        <p:sp>
          <p:nvSpPr>
            <p:cNvPr id="176" name="object 26">
              <a:extLst>
                <a:ext uri="{FF2B5EF4-FFF2-40B4-BE49-F238E27FC236}">
                  <a16:creationId xmlns:a16="http://schemas.microsoft.com/office/drawing/2014/main" id="{E554C960-7CC2-5617-E5D6-24C63C986C20}"/>
                </a:ext>
              </a:extLst>
            </p:cNvPr>
            <p:cNvSpPr/>
            <p:nvPr/>
          </p:nvSpPr>
          <p:spPr>
            <a:xfrm>
              <a:off x="12484043" y="4419719"/>
              <a:ext cx="198120" cy="280670"/>
            </a:xfrm>
            <a:custGeom>
              <a:avLst/>
              <a:gdLst/>
              <a:ahLst/>
              <a:cxnLst/>
              <a:rect l="l" t="t" r="r" b="b"/>
              <a:pathLst>
                <a:path w="198120" h="280670">
                  <a:moveTo>
                    <a:pt x="1528" y="0"/>
                  </a:moveTo>
                  <a:lnTo>
                    <a:pt x="0" y="150152"/>
                  </a:lnTo>
                  <a:lnTo>
                    <a:pt x="18581" y="196485"/>
                  </a:lnTo>
                  <a:lnTo>
                    <a:pt x="147848" y="275520"/>
                  </a:lnTo>
                  <a:lnTo>
                    <a:pt x="164441" y="280055"/>
                  </a:lnTo>
                  <a:lnTo>
                    <a:pt x="180117" y="275846"/>
                  </a:lnTo>
                  <a:lnTo>
                    <a:pt x="191831" y="264610"/>
                  </a:lnTo>
                  <a:lnTo>
                    <a:pt x="196538" y="248065"/>
                  </a:lnTo>
                  <a:lnTo>
                    <a:pt x="197878" y="116048"/>
                  </a:lnTo>
                  <a:lnTo>
                    <a:pt x="1528" y="0"/>
                  </a:lnTo>
                  <a:close/>
                </a:path>
              </a:pathLst>
            </a:custGeom>
            <a:solidFill>
              <a:srgbClr val="035A82"/>
            </a:solidFill>
          </p:spPr>
          <p:txBody>
            <a:bodyPr wrap="square" lIns="0" tIns="0" rIns="0" bIns="0" rtlCol="0"/>
            <a:lstStyle/>
            <a:p>
              <a:endParaRPr/>
            </a:p>
          </p:txBody>
        </p:sp>
        <p:sp>
          <p:nvSpPr>
            <p:cNvPr id="177" name="object 27">
              <a:extLst>
                <a:ext uri="{FF2B5EF4-FFF2-40B4-BE49-F238E27FC236}">
                  <a16:creationId xmlns:a16="http://schemas.microsoft.com/office/drawing/2014/main" id="{23D14E8F-A072-A008-A3F0-F6D8F892DF74}"/>
                </a:ext>
              </a:extLst>
            </p:cNvPr>
            <p:cNvSpPr/>
            <p:nvPr/>
          </p:nvSpPr>
          <p:spPr>
            <a:xfrm>
              <a:off x="12461829" y="4432544"/>
              <a:ext cx="198120" cy="280670"/>
            </a:xfrm>
            <a:custGeom>
              <a:avLst/>
              <a:gdLst/>
              <a:ahLst/>
              <a:cxnLst/>
              <a:rect l="l" t="t" r="r" b="b"/>
              <a:pathLst>
                <a:path w="198120" h="280670">
                  <a:moveTo>
                    <a:pt x="1528" y="0"/>
                  </a:moveTo>
                  <a:lnTo>
                    <a:pt x="0" y="150152"/>
                  </a:lnTo>
                  <a:lnTo>
                    <a:pt x="18581" y="196485"/>
                  </a:lnTo>
                  <a:lnTo>
                    <a:pt x="147848" y="275520"/>
                  </a:lnTo>
                  <a:lnTo>
                    <a:pt x="164440" y="280055"/>
                  </a:lnTo>
                  <a:lnTo>
                    <a:pt x="180113" y="275846"/>
                  </a:lnTo>
                  <a:lnTo>
                    <a:pt x="191827" y="264610"/>
                  </a:lnTo>
                  <a:lnTo>
                    <a:pt x="196538" y="248065"/>
                  </a:lnTo>
                  <a:lnTo>
                    <a:pt x="197878" y="116048"/>
                  </a:lnTo>
                  <a:lnTo>
                    <a:pt x="1528" y="0"/>
                  </a:lnTo>
                  <a:close/>
                </a:path>
              </a:pathLst>
            </a:custGeom>
            <a:solidFill>
              <a:srgbClr val="A2CDED"/>
            </a:solidFill>
          </p:spPr>
          <p:txBody>
            <a:bodyPr wrap="square" lIns="0" tIns="0" rIns="0" bIns="0" rtlCol="0"/>
            <a:lstStyle/>
            <a:p>
              <a:endParaRPr/>
            </a:p>
          </p:txBody>
        </p:sp>
        <p:sp>
          <p:nvSpPr>
            <p:cNvPr id="178" name="object 28">
              <a:extLst>
                <a:ext uri="{FF2B5EF4-FFF2-40B4-BE49-F238E27FC236}">
                  <a16:creationId xmlns:a16="http://schemas.microsoft.com/office/drawing/2014/main" id="{D378007C-B0D2-3738-7534-6B0C7E99DD77}"/>
                </a:ext>
              </a:extLst>
            </p:cNvPr>
            <p:cNvSpPr/>
            <p:nvPr/>
          </p:nvSpPr>
          <p:spPr>
            <a:xfrm>
              <a:off x="12149084" y="3568240"/>
              <a:ext cx="857250" cy="1144905"/>
            </a:xfrm>
            <a:custGeom>
              <a:avLst/>
              <a:gdLst/>
              <a:ahLst/>
              <a:cxnLst/>
              <a:rect l="l" t="t" r="r" b="b"/>
              <a:pathLst>
                <a:path w="857250" h="1144904">
                  <a:moveTo>
                    <a:pt x="92585" y="0"/>
                  </a:moveTo>
                  <a:lnTo>
                    <a:pt x="50152" y="12701"/>
                  </a:lnTo>
                  <a:lnTo>
                    <a:pt x="14901" y="38134"/>
                  </a:lnTo>
                  <a:lnTo>
                    <a:pt x="0" y="70420"/>
                  </a:lnTo>
                  <a:lnTo>
                    <a:pt x="34773" y="650078"/>
                  </a:lnTo>
                  <a:lnTo>
                    <a:pt x="51384" y="691504"/>
                  </a:lnTo>
                  <a:lnTo>
                    <a:pt x="726051" y="1140555"/>
                  </a:lnTo>
                  <a:lnTo>
                    <a:pt x="761917" y="1144708"/>
                  </a:lnTo>
                  <a:lnTo>
                    <a:pt x="803085" y="1128141"/>
                  </a:lnTo>
                  <a:lnTo>
                    <a:pt x="837075" y="1098842"/>
                  </a:lnTo>
                  <a:lnTo>
                    <a:pt x="851408" y="1064798"/>
                  </a:lnTo>
                  <a:lnTo>
                    <a:pt x="856989" y="516459"/>
                  </a:lnTo>
                  <a:lnTo>
                    <a:pt x="852569" y="480330"/>
                  </a:lnTo>
                  <a:lnTo>
                    <a:pt x="817692" y="418474"/>
                  </a:lnTo>
                  <a:lnTo>
                    <a:pt x="129032" y="5909"/>
                  </a:lnTo>
                  <a:lnTo>
                    <a:pt x="92585" y="0"/>
                  </a:lnTo>
                  <a:close/>
                </a:path>
              </a:pathLst>
            </a:custGeom>
            <a:solidFill>
              <a:srgbClr val="80B7D5"/>
            </a:solidFill>
          </p:spPr>
          <p:txBody>
            <a:bodyPr wrap="square" lIns="0" tIns="0" rIns="0" bIns="0" rtlCol="0"/>
            <a:lstStyle/>
            <a:p>
              <a:endParaRPr/>
            </a:p>
          </p:txBody>
        </p:sp>
        <p:sp>
          <p:nvSpPr>
            <p:cNvPr id="179" name="object 29">
              <a:extLst>
                <a:ext uri="{FF2B5EF4-FFF2-40B4-BE49-F238E27FC236}">
                  <a16:creationId xmlns:a16="http://schemas.microsoft.com/office/drawing/2014/main" id="{AEA158D3-FCBB-6702-89FC-0320618F5141}"/>
                </a:ext>
              </a:extLst>
            </p:cNvPr>
            <p:cNvSpPr/>
            <p:nvPr/>
          </p:nvSpPr>
          <p:spPr>
            <a:xfrm>
              <a:off x="12143606" y="3589353"/>
              <a:ext cx="821055" cy="1008380"/>
            </a:xfrm>
            <a:custGeom>
              <a:avLst/>
              <a:gdLst/>
              <a:ahLst/>
              <a:cxnLst/>
              <a:rect l="l" t="t" r="r" b="b"/>
              <a:pathLst>
                <a:path w="821054" h="1008379">
                  <a:moveTo>
                    <a:pt x="62909" y="0"/>
                  </a:moveTo>
                  <a:lnTo>
                    <a:pt x="34512" y="7622"/>
                  </a:lnTo>
                  <a:lnTo>
                    <a:pt x="13292" y="27977"/>
                  </a:lnTo>
                  <a:lnTo>
                    <a:pt x="4764" y="57954"/>
                  </a:lnTo>
                  <a:lnTo>
                    <a:pt x="0" y="525668"/>
                  </a:lnTo>
                  <a:lnTo>
                    <a:pt x="815954" y="1007905"/>
                  </a:lnTo>
                  <a:lnTo>
                    <a:pt x="820927" y="518768"/>
                  </a:lnTo>
                  <a:lnTo>
                    <a:pt x="816507" y="482639"/>
                  </a:lnTo>
                  <a:lnTo>
                    <a:pt x="781630" y="420782"/>
                  </a:lnTo>
                  <a:lnTo>
                    <a:pt x="92970" y="8218"/>
                  </a:lnTo>
                  <a:lnTo>
                    <a:pt x="62909" y="0"/>
                  </a:lnTo>
                  <a:close/>
                </a:path>
              </a:pathLst>
            </a:custGeom>
            <a:solidFill>
              <a:srgbClr val="402350"/>
            </a:solidFill>
          </p:spPr>
          <p:txBody>
            <a:bodyPr wrap="square" lIns="0" tIns="0" rIns="0" bIns="0" rtlCol="0"/>
            <a:lstStyle/>
            <a:p>
              <a:endParaRPr/>
            </a:p>
          </p:txBody>
        </p:sp>
        <p:pic>
          <p:nvPicPr>
            <p:cNvPr id="180" name="object 30">
              <a:extLst>
                <a:ext uri="{FF2B5EF4-FFF2-40B4-BE49-F238E27FC236}">
                  <a16:creationId xmlns:a16="http://schemas.microsoft.com/office/drawing/2014/main" id="{B9B4CBCE-79F4-F3D2-A573-E75700C97E40}"/>
                </a:ext>
              </a:extLst>
            </p:cNvPr>
            <p:cNvPicPr/>
            <p:nvPr/>
          </p:nvPicPr>
          <p:blipFill>
            <a:blip r:embed="rId10" cstate="print"/>
            <a:stretch>
              <a:fillRect/>
            </a:stretch>
          </p:blipFill>
          <p:spPr>
            <a:xfrm>
              <a:off x="12142320" y="4115026"/>
              <a:ext cx="817231" cy="599393"/>
            </a:xfrm>
            <a:prstGeom prst="rect">
              <a:avLst/>
            </a:prstGeom>
          </p:spPr>
        </p:pic>
        <p:pic>
          <p:nvPicPr>
            <p:cNvPr id="181" name="object 31">
              <a:extLst>
                <a:ext uri="{FF2B5EF4-FFF2-40B4-BE49-F238E27FC236}">
                  <a16:creationId xmlns:a16="http://schemas.microsoft.com/office/drawing/2014/main" id="{5C83BC4D-0F93-E445-2E4B-643A2D90681B}"/>
                </a:ext>
              </a:extLst>
            </p:cNvPr>
            <p:cNvPicPr/>
            <p:nvPr/>
          </p:nvPicPr>
          <p:blipFill>
            <a:blip r:embed="rId11" cstate="print"/>
            <a:stretch>
              <a:fillRect/>
            </a:stretch>
          </p:blipFill>
          <p:spPr>
            <a:xfrm>
              <a:off x="11754257" y="4700106"/>
              <a:ext cx="678269" cy="400872"/>
            </a:xfrm>
            <a:prstGeom prst="rect">
              <a:avLst/>
            </a:prstGeom>
          </p:spPr>
        </p:pic>
        <p:pic>
          <p:nvPicPr>
            <p:cNvPr id="182" name="object 32">
              <a:extLst>
                <a:ext uri="{FF2B5EF4-FFF2-40B4-BE49-F238E27FC236}">
                  <a16:creationId xmlns:a16="http://schemas.microsoft.com/office/drawing/2014/main" id="{200DF813-61E0-F89F-8E1D-9C7FBC63A4CB}"/>
                </a:ext>
              </a:extLst>
            </p:cNvPr>
            <p:cNvPicPr/>
            <p:nvPr/>
          </p:nvPicPr>
          <p:blipFill>
            <a:blip r:embed="rId12" cstate="print"/>
            <a:stretch>
              <a:fillRect/>
            </a:stretch>
          </p:blipFill>
          <p:spPr>
            <a:xfrm>
              <a:off x="11007678" y="3964121"/>
              <a:ext cx="2661482" cy="3051218"/>
            </a:xfrm>
            <a:prstGeom prst="rect">
              <a:avLst/>
            </a:prstGeom>
          </p:spPr>
        </p:pic>
        <p:pic>
          <p:nvPicPr>
            <p:cNvPr id="183" name="object 33">
              <a:extLst>
                <a:ext uri="{FF2B5EF4-FFF2-40B4-BE49-F238E27FC236}">
                  <a16:creationId xmlns:a16="http://schemas.microsoft.com/office/drawing/2014/main" id="{C6001C65-C463-480D-6A32-1FA1F13DC6C6}"/>
                </a:ext>
              </a:extLst>
            </p:cNvPr>
            <p:cNvPicPr/>
            <p:nvPr/>
          </p:nvPicPr>
          <p:blipFill>
            <a:blip r:embed="rId13" cstate="print"/>
            <a:stretch>
              <a:fillRect/>
            </a:stretch>
          </p:blipFill>
          <p:spPr>
            <a:xfrm>
              <a:off x="13410696" y="3437938"/>
              <a:ext cx="238673" cy="140680"/>
            </a:xfrm>
            <a:prstGeom prst="rect">
              <a:avLst/>
            </a:prstGeom>
          </p:spPr>
        </p:pic>
        <p:pic>
          <p:nvPicPr>
            <p:cNvPr id="184" name="object 34">
              <a:extLst>
                <a:ext uri="{FF2B5EF4-FFF2-40B4-BE49-F238E27FC236}">
                  <a16:creationId xmlns:a16="http://schemas.microsoft.com/office/drawing/2014/main" id="{5E0542A3-253E-A297-C762-14D602FC17A1}"/>
                </a:ext>
              </a:extLst>
            </p:cNvPr>
            <p:cNvPicPr/>
            <p:nvPr/>
          </p:nvPicPr>
          <p:blipFill>
            <a:blip r:embed="rId14" cstate="print"/>
            <a:stretch>
              <a:fillRect/>
            </a:stretch>
          </p:blipFill>
          <p:spPr>
            <a:xfrm>
              <a:off x="13999402" y="3261554"/>
              <a:ext cx="221641" cy="187916"/>
            </a:xfrm>
            <a:prstGeom prst="rect">
              <a:avLst/>
            </a:prstGeom>
          </p:spPr>
        </p:pic>
        <p:sp>
          <p:nvSpPr>
            <p:cNvPr id="185" name="object 35">
              <a:extLst>
                <a:ext uri="{FF2B5EF4-FFF2-40B4-BE49-F238E27FC236}">
                  <a16:creationId xmlns:a16="http://schemas.microsoft.com/office/drawing/2014/main" id="{10A54B25-EAEF-615B-F0E9-D001B58651E8}"/>
                </a:ext>
              </a:extLst>
            </p:cNvPr>
            <p:cNvSpPr/>
            <p:nvPr/>
          </p:nvSpPr>
          <p:spPr>
            <a:xfrm>
              <a:off x="14430278" y="1451850"/>
              <a:ext cx="671195" cy="878840"/>
            </a:xfrm>
            <a:custGeom>
              <a:avLst/>
              <a:gdLst/>
              <a:ahLst/>
              <a:cxnLst/>
              <a:rect l="l" t="t" r="r" b="b"/>
              <a:pathLst>
                <a:path w="671194" h="878839">
                  <a:moveTo>
                    <a:pt x="193483" y="0"/>
                  </a:moveTo>
                  <a:lnTo>
                    <a:pt x="139877" y="2303"/>
                  </a:lnTo>
                  <a:lnTo>
                    <a:pt x="96164" y="18895"/>
                  </a:lnTo>
                  <a:lnTo>
                    <a:pt x="56122" y="48087"/>
                  </a:lnTo>
                  <a:lnTo>
                    <a:pt x="24084" y="88643"/>
                  </a:lnTo>
                  <a:lnTo>
                    <a:pt x="4384" y="139325"/>
                  </a:lnTo>
                  <a:lnTo>
                    <a:pt x="0" y="180879"/>
                  </a:lnTo>
                  <a:lnTo>
                    <a:pt x="4562" y="223760"/>
                  </a:lnTo>
                  <a:lnTo>
                    <a:pt x="18776" y="263708"/>
                  </a:lnTo>
                  <a:lnTo>
                    <a:pt x="43346" y="296462"/>
                  </a:lnTo>
                  <a:lnTo>
                    <a:pt x="93402" y="317618"/>
                  </a:lnTo>
                  <a:lnTo>
                    <a:pt x="122088" y="320546"/>
                  </a:lnTo>
                  <a:lnTo>
                    <a:pt x="157500" y="329319"/>
                  </a:lnTo>
                  <a:lnTo>
                    <a:pt x="198140" y="349712"/>
                  </a:lnTo>
                  <a:lnTo>
                    <a:pt x="234695" y="378823"/>
                  </a:lnTo>
                  <a:lnTo>
                    <a:pt x="266794" y="414795"/>
                  </a:lnTo>
                  <a:lnTo>
                    <a:pt x="294068" y="455770"/>
                  </a:lnTo>
                  <a:lnTo>
                    <a:pt x="316148" y="499893"/>
                  </a:lnTo>
                  <a:lnTo>
                    <a:pt x="332662" y="545305"/>
                  </a:lnTo>
                  <a:lnTo>
                    <a:pt x="343243" y="590149"/>
                  </a:lnTo>
                  <a:lnTo>
                    <a:pt x="347305" y="644518"/>
                  </a:lnTo>
                  <a:lnTo>
                    <a:pt x="343576" y="683277"/>
                  </a:lnTo>
                  <a:lnTo>
                    <a:pt x="341683" y="716296"/>
                  </a:lnTo>
                  <a:lnTo>
                    <a:pt x="351253" y="753443"/>
                  </a:lnTo>
                  <a:lnTo>
                    <a:pt x="371919" y="788875"/>
                  </a:lnTo>
                  <a:lnTo>
                    <a:pt x="400999" y="821337"/>
                  </a:lnTo>
                  <a:lnTo>
                    <a:pt x="436367" y="848574"/>
                  </a:lnTo>
                  <a:lnTo>
                    <a:pt x="475897" y="868331"/>
                  </a:lnTo>
                  <a:lnTo>
                    <a:pt x="517462" y="878351"/>
                  </a:lnTo>
                  <a:lnTo>
                    <a:pt x="558938" y="876380"/>
                  </a:lnTo>
                  <a:lnTo>
                    <a:pt x="598198" y="860162"/>
                  </a:lnTo>
                  <a:lnTo>
                    <a:pt x="630452" y="830821"/>
                  </a:lnTo>
                  <a:lnTo>
                    <a:pt x="653735" y="792498"/>
                  </a:lnTo>
                  <a:lnTo>
                    <a:pt x="667447" y="749194"/>
                  </a:lnTo>
                  <a:lnTo>
                    <a:pt x="670987" y="704912"/>
                  </a:lnTo>
                  <a:lnTo>
                    <a:pt x="663756" y="663655"/>
                  </a:lnTo>
                  <a:lnTo>
                    <a:pt x="645254" y="630676"/>
                  </a:lnTo>
                  <a:lnTo>
                    <a:pt x="620653" y="609435"/>
                  </a:lnTo>
                  <a:lnTo>
                    <a:pt x="592895" y="586308"/>
                  </a:lnTo>
                  <a:lnTo>
                    <a:pt x="564922" y="547669"/>
                  </a:lnTo>
                  <a:lnTo>
                    <a:pt x="547978" y="502067"/>
                  </a:lnTo>
                  <a:lnTo>
                    <a:pt x="543892" y="462148"/>
                  </a:lnTo>
                  <a:lnTo>
                    <a:pt x="544078" y="425383"/>
                  </a:lnTo>
                  <a:lnTo>
                    <a:pt x="539947" y="389241"/>
                  </a:lnTo>
                  <a:lnTo>
                    <a:pt x="522913" y="351193"/>
                  </a:lnTo>
                  <a:lnTo>
                    <a:pt x="493578" y="320435"/>
                  </a:lnTo>
                  <a:lnTo>
                    <a:pt x="462634" y="303761"/>
                  </a:lnTo>
                  <a:lnTo>
                    <a:pt x="430500" y="285723"/>
                  </a:lnTo>
                  <a:lnTo>
                    <a:pt x="397597" y="250872"/>
                  </a:lnTo>
                  <a:lnTo>
                    <a:pt x="379382" y="215136"/>
                  </a:lnTo>
                  <a:lnTo>
                    <a:pt x="372452" y="184091"/>
                  </a:lnTo>
                  <a:lnTo>
                    <a:pt x="366585" y="152508"/>
                  </a:lnTo>
                  <a:lnTo>
                    <a:pt x="351557" y="115158"/>
                  </a:lnTo>
                  <a:lnTo>
                    <a:pt x="324684" y="76646"/>
                  </a:lnTo>
                  <a:lnTo>
                    <a:pt x="287983" y="41637"/>
                  </a:lnTo>
                  <a:lnTo>
                    <a:pt x="243551" y="14600"/>
                  </a:lnTo>
                  <a:lnTo>
                    <a:pt x="193483" y="0"/>
                  </a:lnTo>
                  <a:close/>
                </a:path>
              </a:pathLst>
            </a:custGeom>
            <a:solidFill>
              <a:srgbClr val="FF7E83"/>
            </a:solidFill>
          </p:spPr>
          <p:txBody>
            <a:bodyPr wrap="square" lIns="0" tIns="0" rIns="0" bIns="0" rtlCol="0"/>
            <a:lstStyle/>
            <a:p>
              <a:endParaRPr/>
            </a:p>
          </p:txBody>
        </p:sp>
        <p:sp>
          <p:nvSpPr>
            <p:cNvPr id="186" name="object 36">
              <a:extLst>
                <a:ext uri="{FF2B5EF4-FFF2-40B4-BE49-F238E27FC236}">
                  <a16:creationId xmlns:a16="http://schemas.microsoft.com/office/drawing/2014/main" id="{3EAFA5AC-DE04-F4A3-5BC1-E48B453B7B03}"/>
                </a:ext>
              </a:extLst>
            </p:cNvPr>
            <p:cNvSpPr/>
            <p:nvPr/>
          </p:nvSpPr>
          <p:spPr>
            <a:xfrm>
              <a:off x="14060208" y="1894680"/>
              <a:ext cx="550545" cy="1473835"/>
            </a:xfrm>
            <a:custGeom>
              <a:avLst/>
              <a:gdLst/>
              <a:ahLst/>
              <a:cxnLst/>
              <a:rect l="l" t="t" r="r" b="b"/>
              <a:pathLst>
                <a:path w="550544" h="1473835">
                  <a:moveTo>
                    <a:pt x="147739" y="1431188"/>
                  </a:moveTo>
                  <a:lnTo>
                    <a:pt x="99428" y="1208341"/>
                  </a:lnTo>
                  <a:lnTo>
                    <a:pt x="76771" y="1176832"/>
                  </a:lnTo>
                  <a:lnTo>
                    <a:pt x="58585" y="1169949"/>
                  </a:lnTo>
                  <a:lnTo>
                    <a:pt x="38417" y="1170559"/>
                  </a:lnTo>
                  <a:lnTo>
                    <a:pt x="20104" y="1178966"/>
                  </a:lnTo>
                  <a:lnTo>
                    <a:pt x="6896" y="1193241"/>
                  </a:lnTo>
                  <a:lnTo>
                    <a:pt x="0" y="1211440"/>
                  </a:lnTo>
                  <a:lnTo>
                    <a:pt x="635" y="1231582"/>
                  </a:lnTo>
                  <a:lnTo>
                    <a:pt x="48310" y="1434287"/>
                  </a:lnTo>
                  <a:lnTo>
                    <a:pt x="81013" y="1470583"/>
                  </a:lnTo>
                  <a:lnTo>
                    <a:pt x="97663" y="1473415"/>
                  </a:lnTo>
                  <a:lnTo>
                    <a:pt x="101511" y="1473415"/>
                  </a:lnTo>
                  <a:lnTo>
                    <a:pt x="140855" y="1449374"/>
                  </a:lnTo>
                  <a:lnTo>
                    <a:pt x="147739" y="1431188"/>
                  </a:lnTo>
                  <a:close/>
                </a:path>
                <a:path w="550544" h="1473835">
                  <a:moveTo>
                    <a:pt x="550240" y="51371"/>
                  </a:moveTo>
                  <a:lnTo>
                    <a:pt x="546722" y="32245"/>
                  </a:lnTo>
                  <a:lnTo>
                    <a:pt x="536295" y="15824"/>
                  </a:lnTo>
                  <a:lnTo>
                    <a:pt x="519798" y="4254"/>
                  </a:lnTo>
                  <a:lnTo>
                    <a:pt x="500100" y="0"/>
                  </a:lnTo>
                  <a:lnTo>
                    <a:pt x="480961" y="3505"/>
                  </a:lnTo>
                  <a:lnTo>
                    <a:pt x="464553" y="13944"/>
                  </a:lnTo>
                  <a:lnTo>
                    <a:pt x="452996" y="30441"/>
                  </a:lnTo>
                  <a:lnTo>
                    <a:pt x="421259" y="101828"/>
                  </a:lnTo>
                  <a:lnTo>
                    <a:pt x="393382" y="161912"/>
                  </a:lnTo>
                  <a:lnTo>
                    <a:pt x="368554" y="212775"/>
                  </a:lnTo>
                  <a:lnTo>
                    <a:pt x="345935" y="256463"/>
                  </a:lnTo>
                  <a:lnTo>
                    <a:pt x="324688" y="295033"/>
                  </a:lnTo>
                  <a:lnTo>
                    <a:pt x="303987" y="330542"/>
                  </a:lnTo>
                  <a:lnTo>
                    <a:pt x="282994" y="365061"/>
                  </a:lnTo>
                  <a:lnTo>
                    <a:pt x="239483" y="435102"/>
                  </a:lnTo>
                  <a:lnTo>
                    <a:pt x="216090" y="473240"/>
                  </a:lnTo>
                  <a:lnTo>
                    <a:pt x="190119" y="516572"/>
                  </a:lnTo>
                  <a:lnTo>
                    <a:pt x="160985" y="566547"/>
                  </a:lnTo>
                  <a:lnTo>
                    <a:pt x="154597" y="585660"/>
                  </a:lnTo>
                  <a:lnTo>
                    <a:pt x="155994" y="605053"/>
                  </a:lnTo>
                  <a:lnTo>
                    <a:pt x="179692" y="635825"/>
                  </a:lnTo>
                  <a:lnTo>
                    <a:pt x="204927" y="642581"/>
                  </a:lnTo>
                  <a:lnTo>
                    <a:pt x="217906" y="640892"/>
                  </a:lnTo>
                  <a:lnTo>
                    <a:pt x="230022" y="635965"/>
                  </a:lnTo>
                  <a:lnTo>
                    <a:pt x="240601" y="627976"/>
                  </a:lnTo>
                  <a:lnTo>
                    <a:pt x="248970" y="617105"/>
                  </a:lnTo>
                  <a:lnTo>
                    <a:pt x="277495" y="568172"/>
                  </a:lnTo>
                  <a:lnTo>
                    <a:pt x="302971" y="525678"/>
                  </a:lnTo>
                  <a:lnTo>
                    <a:pt x="325958" y="488200"/>
                  </a:lnTo>
                  <a:lnTo>
                    <a:pt x="366890" y="422338"/>
                  </a:lnTo>
                  <a:lnTo>
                    <a:pt x="386054" y="390982"/>
                  </a:lnTo>
                  <a:lnTo>
                    <a:pt x="424408" y="324523"/>
                  </a:lnTo>
                  <a:lnTo>
                    <a:pt x="444703" y="286613"/>
                  </a:lnTo>
                  <a:lnTo>
                    <a:pt x="466458" y="243713"/>
                  </a:lnTo>
                  <a:lnTo>
                    <a:pt x="490220" y="194424"/>
                  </a:lnTo>
                  <a:lnTo>
                    <a:pt x="516547" y="137337"/>
                  </a:lnTo>
                  <a:lnTo>
                    <a:pt x="545985" y="71069"/>
                  </a:lnTo>
                  <a:lnTo>
                    <a:pt x="550240" y="51371"/>
                  </a:lnTo>
                  <a:close/>
                </a:path>
              </a:pathLst>
            </a:custGeom>
            <a:solidFill>
              <a:srgbClr val="FFC1A9"/>
            </a:solidFill>
          </p:spPr>
          <p:txBody>
            <a:bodyPr wrap="square" lIns="0" tIns="0" rIns="0" bIns="0" rtlCol="0"/>
            <a:lstStyle/>
            <a:p>
              <a:endParaRPr/>
            </a:p>
          </p:txBody>
        </p:sp>
        <p:pic>
          <p:nvPicPr>
            <p:cNvPr id="187" name="object 37">
              <a:extLst>
                <a:ext uri="{FF2B5EF4-FFF2-40B4-BE49-F238E27FC236}">
                  <a16:creationId xmlns:a16="http://schemas.microsoft.com/office/drawing/2014/main" id="{FD0AF8BB-5236-6E3D-A367-87059ADA15F5}"/>
                </a:ext>
              </a:extLst>
            </p:cNvPr>
            <p:cNvPicPr/>
            <p:nvPr/>
          </p:nvPicPr>
          <p:blipFill>
            <a:blip r:embed="rId15" cstate="print"/>
            <a:stretch>
              <a:fillRect/>
            </a:stretch>
          </p:blipFill>
          <p:spPr>
            <a:xfrm>
              <a:off x="14232415" y="1811097"/>
              <a:ext cx="710299" cy="1140582"/>
            </a:xfrm>
            <a:prstGeom prst="rect">
              <a:avLst/>
            </a:prstGeom>
          </p:spPr>
        </p:pic>
        <p:sp>
          <p:nvSpPr>
            <p:cNvPr id="188" name="object 38">
              <a:extLst>
                <a:ext uri="{FF2B5EF4-FFF2-40B4-BE49-F238E27FC236}">
                  <a16:creationId xmlns:a16="http://schemas.microsoft.com/office/drawing/2014/main" id="{45CE9E15-B6E8-5923-0448-2CCD5CC67809}"/>
                </a:ext>
              </a:extLst>
            </p:cNvPr>
            <p:cNvSpPr/>
            <p:nvPr/>
          </p:nvSpPr>
          <p:spPr>
            <a:xfrm>
              <a:off x="13989025" y="2552401"/>
              <a:ext cx="557530" cy="629920"/>
            </a:xfrm>
            <a:custGeom>
              <a:avLst/>
              <a:gdLst/>
              <a:ahLst/>
              <a:cxnLst/>
              <a:rect l="l" t="t" r="r" b="b"/>
              <a:pathLst>
                <a:path w="557530" h="629919">
                  <a:moveTo>
                    <a:pt x="557149" y="274751"/>
                  </a:moveTo>
                  <a:lnTo>
                    <a:pt x="549783" y="225945"/>
                  </a:lnTo>
                  <a:lnTo>
                    <a:pt x="530225" y="171958"/>
                  </a:lnTo>
                  <a:lnTo>
                    <a:pt x="499033" y="116509"/>
                  </a:lnTo>
                  <a:lnTo>
                    <a:pt x="460006" y="67157"/>
                  </a:lnTo>
                  <a:lnTo>
                    <a:pt x="418566" y="30124"/>
                  </a:lnTo>
                  <a:lnTo>
                    <a:pt x="377850" y="7150"/>
                  </a:lnTo>
                  <a:lnTo>
                    <a:pt x="340931" y="0"/>
                  </a:lnTo>
                  <a:lnTo>
                    <a:pt x="312877" y="9740"/>
                  </a:lnTo>
                  <a:lnTo>
                    <a:pt x="289420" y="7797"/>
                  </a:lnTo>
                  <a:lnTo>
                    <a:pt x="243103" y="4406"/>
                  </a:lnTo>
                  <a:lnTo>
                    <a:pt x="193281" y="4749"/>
                  </a:lnTo>
                  <a:lnTo>
                    <a:pt x="142875" y="13106"/>
                  </a:lnTo>
                  <a:lnTo>
                    <a:pt x="94843" y="33743"/>
                  </a:lnTo>
                  <a:lnTo>
                    <a:pt x="52133" y="70980"/>
                  </a:lnTo>
                  <a:lnTo>
                    <a:pt x="20510" y="124917"/>
                  </a:lnTo>
                  <a:lnTo>
                    <a:pt x="3251" y="194437"/>
                  </a:lnTo>
                  <a:lnTo>
                    <a:pt x="0" y="235470"/>
                  </a:lnTo>
                  <a:lnTo>
                    <a:pt x="355" y="280911"/>
                  </a:lnTo>
                  <a:lnTo>
                    <a:pt x="4292" y="330936"/>
                  </a:lnTo>
                  <a:lnTo>
                    <a:pt x="11823" y="385711"/>
                  </a:lnTo>
                  <a:lnTo>
                    <a:pt x="22961" y="445414"/>
                  </a:lnTo>
                  <a:lnTo>
                    <a:pt x="37693" y="510209"/>
                  </a:lnTo>
                  <a:lnTo>
                    <a:pt x="56019" y="580275"/>
                  </a:lnTo>
                  <a:lnTo>
                    <a:pt x="80581" y="616343"/>
                  </a:lnTo>
                  <a:lnTo>
                    <a:pt x="121170" y="629907"/>
                  </a:lnTo>
                  <a:lnTo>
                    <a:pt x="127152" y="629907"/>
                  </a:lnTo>
                  <a:lnTo>
                    <a:pt x="163220" y="615302"/>
                  </a:lnTo>
                  <a:lnTo>
                    <a:pt x="188315" y="571004"/>
                  </a:lnTo>
                  <a:lnTo>
                    <a:pt x="161645" y="446163"/>
                  </a:lnTo>
                  <a:lnTo>
                    <a:pt x="145808" y="365798"/>
                  </a:lnTo>
                  <a:lnTo>
                    <a:pt x="137439" y="301396"/>
                  </a:lnTo>
                  <a:lnTo>
                    <a:pt x="135051" y="251193"/>
                  </a:lnTo>
                  <a:lnTo>
                    <a:pt x="137198" y="213436"/>
                  </a:lnTo>
                  <a:lnTo>
                    <a:pt x="149212" y="168351"/>
                  </a:lnTo>
                  <a:lnTo>
                    <a:pt x="201472" y="139801"/>
                  </a:lnTo>
                  <a:lnTo>
                    <a:pt x="236131" y="139611"/>
                  </a:lnTo>
                  <a:lnTo>
                    <a:pt x="277634" y="142582"/>
                  </a:lnTo>
                  <a:lnTo>
                    <a:pt x="300736" y="144475"/>
                  </a:lnTo>
                  <a:lnTo>
                    <a:pt x="313778" y="180441"/>
                  </a:lnTo>
                  <a:lnTo>
                    <a:pt x="344970" y="235877"/>
                  </a:lnTo>
                  <a:lnTo>
                    <a:pt x="384009" y="285242"/>
                  </a:lnTo>
                  <a:lnTo>
                    <a:pt x="425437" y="322275"/>
                  </a:lnTo>
                  <a:lnTo>
                    <a:pt x="466166" y="345236"/>
                  </a:lnTo>
                  <a:lnTo>
                    <a:pt x="503072" y="352399"/>
                  </a:lnTo>
                  <a:lnTo>
                    <a:pt x="533095" y="341985"/>
                  </a:lnTo>
                  <a:lnTo>
                    <a:pt x="551776" y="314667"/>
                  </a:lnTo>
                  <a:lnTo>
                    <a:pt x="557149" y="274751"/>
                  </a:lnTo>
                  <a:close/>
                </a:path>
              </a:pathLst>
            </a:custGeom>
            <a:solidFill>
              <a:srgbClr val="035A82"/>
            </a:solidFill>
          </p:spPr>
          <p:txBody>
            <a:bodyPr wrap="square" lIns="0" tIns="0" rIns="0" bIns="0" rtlCol="0"/>
            <a:lstStyle/>
            <a:p>
              <a:endParaRPr/>
            </a:p>
          </p:txBody>
        </p:sp>
        <p:sp>
          <p:nvSpPr>
            <p:cNvPr id="189" name="object 39">
              <a:extLst>
                <a:ext uri="{FF2B5EF4-FFF2-40B4-BE49-F238E27FC236}">
                  <a16:creationId xmlns:a16="http://schemas.microsoft.com/office/drawing/2014/main" id="{F1B609DF-963D-33F7-1E86-E0FD6CF54402}"/>
                </a:ext>
              </a:extLst>
            </p:cNvPr>
            <p:cNvSpPr/>
            <p:nvPr/>
          </p:nvSpPr>
          <p:spPr>
            <a:xfrm>
              <a:off x="13539672" y="3266907"/>
              <a:ext cx="195580" cy="269240"/>
            </a:xfrm>
            <a:custGeom>
              <a:avLst/>
              <a:gdLst/>
              <a:ahLst/>
              <a:cxnLst/>
              <a:rect l="l" t="t" r="r" b="b"/>
              <a:pathLst>
                <a:path w="195580" h="269239">
                  <a:moveTo>
                    <a:pt x="150304" y="0"/>
                  </a:moveTo>
                  <a:lnTo>
                    <a:pt x="113546" y="10323"/>
                  </a:lnTo>
                  <a:lnTo>
                    <a:pt x="6196" y="193317"/>
                  </a:lnTo>
                  <a:lnTo>
                    <a:pt x="0" y="212487"/>
                  </a:lnTo>
                  <a:lnTo>
                    <a:pt x="1584" y="231873"/>
                  </a:lnTo>
                  <a:lnTo>
                    <a:pt x="25588" y="262403"/>
                  </a:lnTo>
                  <a:lnTo>
                    <a:pt x="50383" y="268906"/>
                  </a:lnTo>
                  <a:lnTo>
                    <a:pt x="63482" y="267189"/>
                  </a:lnTo>
                  <a:lnTo>
                    <a:pt x="94675" y="243001"/>
                  </a:lnTo>
                  <a:lnTo>
                    <a:pt x="188882" y="75278"/>
                  </a:lnTo>
                  <a:lnTo>
                    <a:pt x="195078" y="56108"/>
                  </a:lnTo>
                  <a:lnTo>
                    <a:pt x="193493" y="36722"/>
                  </a:lnTo>
                  <a:lnTo>
                    <a:pt x="184751" y="19342"/>
                  </a:lnTo>
                  <a:lnTo>
                    <a:pt x="169479" y="6191"/>
                  </a:lnTo>
                  <a:lnTo>
                    <a:pt x="150304" y="0"/>
                  </a:lnTo>
                  <a:close/>
                </a:path>
              </a:pathLst>
            </a:custGeom>
            <a:solidFill>
              <a:srgbClr val="FFC1A9"/>
            </a:solidFill>
          </p:spPr>
          <p:txBody>
            <a:bodyPr wrap="square" lIns="0" tIns="0" rIns="0" bIns="0" rtlCol="0"/>
            <a:lstStyle/>
            <a:p>
              <a:endParaRPr/>
            </a:p>
          </p:txBody>
        </p:sp>
        <p:sp>
          <p:nvSpPr>
            <p:cNvPr id="190" name="object 40">
              <a:extLst>
                <a:ext uri="{FF2B5EF4-FFF2-40B4-BE49-F238E27FC236}">
                  <a16:creationId xmlns:a16="http://schemas.microsoft.com/office/drawing/2014/main" id="{73357DF6-067B-3596-E2EC-F7D55A7B15C8}"/>
                </a:ext>
              </a:extLst>
            </p:cNvPr>
            <p:cNvSpPr/>
            <p:nvPr/>
          </p:nvSpPr>
          <p:spPr>
            <a:xfrm>
              <a:off x="13616678" y="2708165"/>
              <a:ext cx="848994" cy="676910"/>
            </a:xfrm>
            <a:custGeom>
              <a:avLst/>
              <a:gdLst/>
              <a:ahLst/>
              <a:cxnLst/>
              <a:rect l="l" t="t" r="r" b="b"/>
              <a:pathLst>
                <a:path w="848994" h="676910">
                  <a:moveTo>
                    <a:pt x="787432" y="0"/>
                  </a:moveTo>
                  <a:lnTo>
                    <a:pt x="690806" y="24485"/>
                  </a:lnTo>
                  <a:lnTo>
                    <a:pt x="624226" y="46071"/>
                  </a:lnTo>
                  <a:lnTo>
                    <a:pt x="552154" y="72461"/>
                  </a:lnTo>
                  <a:lnTo>
                    <a:pt x="514583" y="87944"/>
                  </a:lnTo>
                  <a:lnTo>
                    <a:pt x="476270" y="105213"/>
                  </a:lnTo>
                  <a:lnTo>
                    <a:pt x="437423" y="124462"/>
                  </a:lnTo>
                  <a:lnTo>
                    <a:pt x="398254" y="145888"/>
                  </a:lnTo>
                  <a:lnTo>
                    <a:pt x="358972" y="169683"/>
                  </a:lnTo>
                  <a:lnTo>
                    <a:pt x="319788" y="196045"/>
                  </a:lnTo>
                  <a:lnTo>
                    <a:pt x="280911" y="225167"/>
                  </a:lnTo>
                  <a:lnTo>
                    <a:pt x="242551" y="257244"/>
                  </a:lnTo>
                  <a:lnTo>
                    <a:pt x="204919" y="292473"/>
                  </a:lnTo>
                  <a:lnTo>
                    <a:pt x="168225" y="331047"/>
                  </a:lnTo>
                  <a:lnTo>
                    <a:pt x="132679" y="373161"/>
                  </a:lnTo>
                  <a:lnTo>
                    <a:pt x="98490" y="419011"/>
                  </a:lnTo>
                  <a:lnTo>
                    <a:pt x="65869" y="468792"/>
                  </a:lnTo>
                  <a:lnTo>
                    <a:pt x="35026" y="522698"/>
                  </a:lnTo>
                  <a:lnTo>
                    <a:pt x="6172" y="580925"/>
                  </a:lnTo>
                  <a:lnTo>
                    <a:pt x="0" y="607065"/>
                  </a:lnTo>
                  <a:lnTo>
                    <a:pt x="4189" y="632657"/>
                  </a:lnTo>
                  <a:lnTo>
                    <a:pt x="39375" y="670639"/>
                  </a:lnTo>
                  <a:lnTo>
                    <a:pt x="67594" y="676848"/>
                  </a:lnTo>
                  <a:lnTo>
                    <a:pt x="86401" y="674176"/>
                  </a:lnTo>
                  <a:lnTo>
                    <a:pt x="103671" y="666437"/>
                  </a:lnTo>
                  <a:lnTo>
                    <a:pt x="118279" y="654050"/>
                  </a:lnTo>
                  <a:lnTo>
                    <a:pt x="129100" y="637436"/>
                  </a:lnTo>
                  <a:lnTo>
                    <a:pt x="158465" y="578719"/>
                  </a:lnTo>
                  <a:lnTo>
                    <a:pt x="189947" y="525190"/>
                  </a:lnTo>
                  <a:lnTo>
                    <a:pt x="223318" y="476555"/>
                  </a:lnTo>
                  <a:lnTo>
                    <a:pt x="258350" y="432518"/>
                  </a:lnTo>
                  <a:lnTo>
                    <a:pt x="294816" y="392785"/>
                  </a:lnTo>
                  <a:lnTo>
                    <a:pt x="332487" y="357061"/>
                  </a:lnTo>
                  <a:lnTo>
                    <a:pt x="371135" y="325051"/>
                  </a:lnTo>
                  <a:lnTo>
                    <a:pt x="410534" y="296460"/>
                  </a:lnTo>
                  <a:lnTo>
                    <a:pt x="450454" y="270992"/>
                  </a:lnTo>
                  <a:lnTo>
                    <a:pt x="490668" y="248354"/>
                  </a:lnTo>
                  <a:lnTo>
                    <a:pt x="530948" y="228251"/>
                  </a:lnTo>
                  <a:lnTo>
                    <a:pt x="571067" y="210386"/>
                  </a:lnTo>
                  <a:lnTo>
                    <a:pt x="610796" y="194466"/>
                  </a:lnTo>
                  <a:lnTo>
                    <a:pt x="649907" y="180195"/>
                  </a:lnTo>
                  <a:lnTo>
                    <a:pt x="688173" y="167279"/>
                  </a:lnTo>
                  <a:lnTo>
                    <a:pt x="725367" y="155423"/>
                  </a:lnTo>
                  <a:lnTo>
                    <a:pt x="801456" y="131870"/>
                  </a:lnTo>
                  <a:lnTo>
                    <a:pt x="824968" y="118873"/>
                  </a:lnTo>
                  <a:lnTo>
                    <a:pt x="841107" y="98573"/>
                  </a:lnTo>
                  <a:lnTo>
                    <a:pt x="848455" y="73702"/>
                  </a:lnTo>
                  <a:lnTo>
                    <a:pt x="845591" y="46993"/>
                  </a:lnTo>
                  <a:lnTo>
                    <a:pt x="832597" y="23483"/>
                  </a:lnTo>
                  <a:lnTo>
                    <a:pt x="812302" y="7347"/>
                  </a:lnTo>
                  <a:lnTo>
                    <a:pt x="787432" y="0"/>
                  </a:lnTo>
                  <a:close/>
                </a:path>
              </a:pathLst>
            </a:custGeom>
            <a:solidFill>
              <a:srgbClr val="035A82"/>
            </a:solidFill>
          </p:spPr>
          <p:txBody>
            <a:bodyPr wrap="square" lIns="0" tIns="0" rIns="0" bIns="0" rtlCol="0"/>
            <a:lstStyle/>
            <a:p>
              <a:endParaRPr/>
            </a:p>
          </p:txBody>
        </p:sp>
        <p:pic>
          <p:nvPicPr>
            <p:cNvPr id="191" name="object 41">
              <a:extLst>
                <a:ext uri="{FF2B5EF4-FFF2-40B4-BE49-F238E27FC236}">
                  <a16:creationId xmlns:a16="http://schemas.microsoft.com/office/drawing/2014/main" id="{1DDEF021-2809-FE15-69AA-19EC3A6C991B}"/>
                </a:ext>
              </a:extLst>
            </p:cNvPr>
            <p:cNvPicPr/>
            <p:nvPr/>
          </p:nvPicPr>
          <p:blipFill>
            <a:blip r:embed="rId16" cstate="print"/>
            <a:stretch>
              <a:fillRect/>
            </a:stretch>
          </p:blipFill>
          <p:spPr>
            <a:xfrm>
              <a:off x="14553391" y="1841998"/>
              <a:ext cx="224994" cy="131540"/>
            </a:xfrm>
            <a:prstGeom prst="rect">
              <a:avLst/>
            </a:prstGeom>
          </p:spPr>
        </p:pic>
        <p:sp>
          <p:nvSpPr>
            <p:cNvPr id="192" name="object 42">
              <a:extLst>
                <a:ext uri="{FF2B5EF4-FFF2-40B4-BE49-F238E27FC236}">
                  <a16:creationId xmlns:a16="http://schemas.microsoft.com/office/drawing/2014/main" id="{BCC85209-73D2-6E82-B69E-35D239DE6A61}"/>
                </a:ext>
              </a:extLst>
            </p:cNvPr>
            <p:cNvSpPr/>
            <p:nvPr/>
          </p:nvSpPr>
          <p:spPr>
            <a:xfrm>
              <a:off x="14347584" y="1505235"/>
              <a:ext cx="548640" cy="1092835"/>
            </a:xfrm>
            <a:custGeom>
              <a:avLst/>
              <a:gdLst/>
              <a:ahLst/>
              <a:cxnLst/>
              <a:rect l="l" t="t" r="r" b="b"/>
              <a:pathLst>
                <a:path w="548640" h="1092835">
                  <a:moveTo>
                    <a:pt x="398868" y="150304"/>
                  </a:moveTo>
                  <a:lnTo>
                    <a:pt x="390613" y="102019"/>
                  </a:lnTo>
                  <a:lnTo>
                    <a:pt x="368681" y="58966"/>
                  </a:lnTo>
                  <a:lnTo>
                    <a:pt x="336499" y="26593"/>
                  </a:lnTo>
                  <a:lnTo>
                    <a:pt x="297065" y="6426"/>
                  </a:lnTo>
                  <a:lnTo>
                    <a:pt x="253390" y="0"/>
                  </a:lnTo>
                  <a:lnTo>
                    <a:pt x="208483" y="8864"/>
                  </a:lnTo>
                  <a:lnTo>
                    <a:pt x="168440" y="32461"/>
                  </a:lnTo>
                  <a:lnTo>
                    <a:pt x="138328" y="67068"/>
                  </a:lnTo>
                  <a:lnTo>
                    <a:pt x="119570" y="109461"/>
                  </a:lnTo>
                  <a:lnTo>
                    <a:pt x="113614" y="156425"/>
                  </a:lnTo>
                  <a:lnTo>
                    <a:pt x="121856" y="204711"/>
                  </a:lnTo>
                  <a:lnTo>
                    <a:pt x="143802" y="247764"/>
                  </a:lnTo>
                  <a:lnTo>
                    <a:pt x="175983" y="280149"/>
                  </a:lnTo>
                  <a:lnTo>
                    <a:pt x="215417" y="300304"/>
                  </a:lnTo>
                  <a:lnTo>
                    <a:pt x="233692" y="302996"/>
                  </a:lnTo>
                  <a:lnTo>
                    <a:pt x="257111" y="397865"/>
                  </a:lnTo>
                  <a:lnTo>
                    <a:pt x="264007" y="413651"/>
                  </a:lnTo>
                  <a:lnTo>
                    <a:pt x="275323" y="425831"/>
                  </a:lnTo>
                  <a:lnTo>
                    <a:pt x="289839" y="433666"/>
                  </a:lnTo>
                  <a:lnTo>
                    <a:pt x="306336" y="436448"/>
                  </a:lnTo>
                  <a:lnTo>
                    <a:pt x="310362" y="436448"/>
                  </a:lnTo>
                  <a:lnTo>
                    <a:pt x="349808" y="411937"/>
                  </a:lnTo>
                  <a:lnTo>
                    <a:pt x="356501" y="393674"/>
                  </a:lnTo>
                  <a:lnTo>
                    <a:pt x="355650" y="373545"/>
                  </a:lnTo>
                  <a:lnTo>
                    <a:pt x="332778" y="280898"/>
                  </a:lnTo>
                  <a:lnTo>
                    <a:pt x="344030" y="274269"/>
                  </a:lnTo>
                  <a:lnTo>
                    <a:pt x="374142" y="239661"/>
                  </a:lnTo>
                  <a:lnTo>
                    <a:pt x="392899" y="197256"/>
                  </a:lnTo>
                  <a:lnTo>
                    <a:pt x="398868" y="150304"/>
                  </a:lnTo>
                  <a:close/>
                </a:path>
                <a:path w="548640" h="1092835">
                  <a:moveTo>
                    <a:pt x="548055" y="768832"/>
                  </a:moveTo>
                  <a:lnTo>
                    <a:pt x="544918" y="713117"/>
                  </a:lnTo>
                  <a:lnTo>
                    <a:pt x="537387" y="652424"/>
                  </a:lnTo>
                  <a:lnTo>
                    <a:pt x="525487" y="586600"/>
                  </a:lnTo>
                  <a:lnTo>
                    <a:pt x="503720" y="554443"/>
                  </a:lnTo>
                  <a:lnTo>
                    <a:pt x="485736" y="547039"/>
                  </a:lnTo>
                  <a:lnTo>
                    <a:pt x="465569" y="547128"/>
                  </a:lnTo>
                  <a:lnTo>
                    <a:pt x="447027" y="555015"/>
                  </a:lnTo>
                  <a:lnTo>
                    <a:pt x="433412" y="568909"/>
                  </a:lnTo>
                  <a:lnTo>
                    <a:pt x="426021" y="586892"/>
                  </a:lnTo>
                  <a:lnTo>
                    <a:pt x="426097" y="607034"/>
                  </a:lnTo>
                  <a:lnTo>
                    <a:pt x="438048" y="674573"/>
                  </a:lnTo>
                  <a:lnTo>
                    <a:pt x="444766" y="735444"/>
                  </a:lnTo>
                  <a:lnTo>
                    <a:pt x="446239" y="789584"/>
                  </a:lnTo>
                  <a:lnTo>
                    <a:pt x="442480" y="836942"/>
                  </a:lnTo>
                  <a:lnTo>
                    <a:pt x="433501" y="877481"/>
                  </a:lnTo>
                  <a:lnTo>
                    <a:pt x="399859" y="937844"/>
                  </a:lnTo>
                  <a:lnTo>
                    <a:pt x="341630" y="974356"/>
                  </a:lnTo>
                  <a:lnTo>
                    <a:pt x="301548" y="984872"/>
                  </a:lnTo>
                  <a:lnTo>
                    <a:pt x="253580" y="990307"/>
                  </a:lnTo>
                  <a:lnTo>
                    <a:pt x="197256" y="990688"/>
                  </a:lnTo>
                  <a:lnTo>
                    <a:pt x="132130" y="986091"/>
                  </a:lnTo>
                  <a:lnTo>
                    <a:pt x="57772" y="976553"/>
                  </a:lnTo>
                  <a:lnTo>
                    <a:pt x="37642" y="977557"/>
                  </a:lnTo>
                  <a:lnTo>
                    <a:pt x="20066" y="985888"/>
                  </a:lnTo>
                  <a:lnTo>
                    <a:pt x="6908" y="1000213"/>
                  </a:lnTo>
                  <a:lnTo>
                    <a:pt x="0" y="1019136"/>
                  </a:lnTo>
                  <a:lnTo>
                    <a:pt x="990" y="1039253"/>
                  </a:lnTo>
                  <a:lnTo>
                    <a:pt x="23647" y="1070000"/>
                  </a:lnTo>
                  <a:lnTo>
                    <a:pt x="86995" y="1083132"/>
                  </a:lnTo>
                  <a:lnTo>
                    <a:pt x="131826" y="1088199"/>
                  </a:lnTo>
                  <a:lnTo>
                    <a:pt x="176618" y="1091590"/>
                  </a:lnTo>
                  <a:lnTo>
                    <a:pt x="220954" y="1092822"/>
                  </a:lnTo>
                  <a:lnTo>
                    <a:pt x="269709" y="1091044"/>
                  </a:lnTo>
                  <a:lnTo>
                    <a:pt x="316661" y="1085215"/>
                  </a:lnTo>
                  <a:lnTo>
                    <a:pt x="361162" y="1074661"/>
                  </a:lnTo>
                  <a:lnTo>
                    <a:pt x="402551" y="1058684"/>
                  </a:lnTo>
                  <a:lnTo>
                    <a:pt x="440207" y="1036586"/>
                  </a:lnTo>
                  <a:lnTo>
                    <a:pt x="473481" y="1007681"/>
                  </a:lnTo>
                  <a:lnTo>
                    <a:pt x="516255" y="945172"/>
                  </a:lnTo>
                  <a:lnTo>
                    <a:pt x="530898" y="907745"/>
                  </a:lnTo>
                  <a:lnTo>
                    <a:pt x="541058" y="865987"/>
                  </a:lnTo>
                  <a:lnTo>
                    <a:pt x="546773" y="819734"/>
                  </a:lnTo>
                  <a:lnTo>
                    <a:pt x="548055" y="768832"/>
                  </a:lnTo>
                  <a:close/>
                </a:path>
              </a:pathLst>
            </a:custGeom>
            <a:solidFill>
              <a:srgbClr val="FFC1A9"/>
            </a:solidFill>
          </p:spPr>
          <p:txBody>
            <a:bodyPr wrap="square" lIns="0" tIns="0" rIns="0" bIns="0" rtlCol="0"/>
            <a:lstStyle/>
            <a:p>
              <a:endParaRPr/>
            </a:p>
          </p:txBody>
        </p:sp>
        <p:sp>
          <p:nvSpPr>
            <p:cNvPr id="193" name="object 43">
              <a:extLst>
                <a:ext uri="{FF2B5EF4-FFF2-40B4-BE49-F238E27FC236}">
                  <a16:creationId xmlns:a16="http://schemas.microsoft.com/office/drawing/2014/main" id="{F004E99C-5418-A40B-8B99-DF65DAF9C355}"/>
                </a:ext>
              </a:extLst>
            </p:cNvPr>
            <p:cNvSpPr/>
            <p:nvPr/>
          </p:nvSpPr>
          <p:spPr>
            <a:xfrm>
              <a:off x="14447941" y="1475135"/>
              <a:ext cx="332740" cy="275590"/>
            </a:xfrm>
            <a:custGeom>
              <a:avLst/>
              <a:gdLst/>
              <a:ahLst/>
              <a:cxnLst/>
              <a:rect l="l" t="t" r="r" b="b"/>
              <a:pathLst>
                <a:path w="332740" h="275589">
                  <a:moveTo>
                    <a:pt x="140555" y="0"/>
                  </a:moveTo>
                  <a:lnTo>
                    <a:pt x="90384" y="11774"/>
                  </a:lnTo>
                  <a:lnTo>
                    <a:pt x="50623" y="37029"/>
                  </a:lnTo>
                  <a:lnTo>
                    <a:pt x="18711" y="71127"/>
                  </a:lnTo>
                  <a:lnTo>
                    <a:pt x="39" y="107586"/>
                  </a:lnTo>
                  <a:lnTo>
                    <a:pt x="0" y="139927"/>
                  </a:lnTo>
                  <a:lnTo>
                    <a:pt x="17608" y="160050"/>
                  </a:lnTo>
                  <a:lnTo>
                    <a:pt x="46527" y="171871"/>
                  </a:lnTo>
                  <a:lnTo>
                    <a:pt x="80087" y="176706"/>
                  </a:lnTo>
                  <a:lnTo>
                    <a:pt x="111619" y="175874"/>
                  </a:lnTo>
                  <a:lnTo>
                    <a:pt x="135871" y="170655"/>
                  </a:lnTo>
                  <a:lnTo>
                    <a:pt x="151711" y="163932"/>
                  </a:lnTo>
                  <a:lnTo>
                    <a:pt x="164541" y="158731"/>
                  </a:lnTo>
                  <a:lnTo>
                    <a:pt x="179764" y="158084"/>
                  </a:lnTo>
                  <a:lnTo>
                    <a:pt x="218497" y="180760"/>
                  </a:lnTo>
                  <a:lnTo>
                    <a:pt x="246466" y="221669"/>
                  </a:lnTo>
                  <a:lnTo>
                    <a:pt x="269640" y="260154"/>
                  </a:lnTo>
                  <a:lnTo>
                    <a:pt x="293991" y="275556"/>
                  </a:lnTo>
                  <a:lnTo>
                    <a:pt x="327123" y="230212"/>
                  </a:lnTo>
                  <a:lnTo>
                    <a:pt x="332734" y="168767"/>
                  </a:lnTo>
                  <a:lnTo>
                    <a:pt x="321777" y="126617"/>
                  </a:lnTo>
                  <a:lnTo>
                    <a:pt x="300980" y="87346"/>
                  </a:lnTo>
                  <a:lnTo>
                    <a:pt x="272470" y="53275"/>
                  </a:lnTo>
                  <a:lnTo>
                    <a:pt x="238369" y="26726"/>
                  </a:lnTo>
                  <a:lnTo>
                    <a:pt x="184956" y="4600"/>
                  </a:lnTo>
                  <a:lnTo>
                    <a:pt x="140555" y="0"/>
                  </a:lnTo>
                  <a:close/>
                </a:path>
              </a:pathLst>
            </a:custGeom>
            <a:solidFill>
              <a:srgbClr val="FF7E83"/>
            </a:solidFill>
          </p:spPr>
          <p:txBody>
            <a:bodyPr wrap="square" lIns="0" tIns="0" rIns="0" bIns="0" rtlCol="0"/>
            <a:lstStyle/>
            <a:p>
              <a:endParaRPr/>
            </a:p>
          </p:txBody>
        </p:sp>
        <p:pic>
          <p:nvPicPr>
            <p:cNvPr id="194" name="object 44">
              <a:extLst>
                <a:ext uri="{FF2B5EF4-FFF2-40B4-BE49-F238E27FC236}">
                  <a16:creationId xmlns:a16="http://schemas.microsoft.com/office/drawing/2014/main" id="{BE93A536-3912-1E71-CBB2-092DB03869C8}"/>
                </a:ext>
              </a:extLst>
            </p:cNvPr>
            <p:cNvPicPr/>
            <p:nvPr/>
          </p:nvPicPr>
          <p:blipFill>
            <a:blip r:embed="rId17" cstate="print"/>
            <a:stretch>
              <a:fillRect/>
            </a:stretch>
          </p:blipFill>
          <p:spPr>
            <a:xfrm>
              <a:off x="14007772" y="2301531"/>
              <a:ext cx="514832" cy="258746"/>
            </a:xfrm>
            <a:prstGeom prst="rect">
              <a:avLst/>
            </a:prstGeom>
          </p:spPr>
        </p:pic>
        <p:sp>
          <p:nvSpPr>
            <p:cNvPr id="195" name="object 45">
              <a:extLst>
                <a:ext uri="{FF2B5EF4-FFF2-40B4-BE49-F238E27FC236}">
                  <a16:creationId xmlns:a16="http://schemas.microsoft.com/office/drawing/2014/main" id="{D92AAF89-15FE-640E-5B97-2849BD7DE978}"/>
                </a:ext>
              </a:extLst>
            </p:cNvPr>
            <p:cNvSpPr/>
            <p:nvPr/>
          </p:nvSpPr>
          <p:spPr>
            <a:xfrm>
              <a:off x="14174889" y="2348811"/>
              <a:ext cx="347980" cy="212090"/>
            </a:xfrm>
            <a:custGeom>
              <a:avLst/>
              <a:gdLst/>
              <a:ahLst/>
              <a:cxnLst/>
              <a:rect l="l" t="t" r="r" b="b"/>
              <a:pathLst>
                <a:path w="347980" h="212089">
                  <a:moveTo>
                    <a:pt x="219878" y="0"/>
                  </a:moveTo>
                  <a:lnTo>
                    <a:pt x="0" y="41726"/>
                  </a:lnTo>
                  <a:lnTo>
                    <a:pt x="126750" y="211470"/>
                  </a:lnTo>
                  <a:lnTo>
                    <a:pt x="347717" y="178015"/>
                  </a:lnTo>
                  <a:lnTo>
                    <a:pt x="219878" y="0"/>
                  </a:lnTo>
                  <a:close/>
                </a:path>
              </a:pathLst>
            </a:custGeom>
            <a:solidFill>
              <a:srgbClr val="12ABDB"/>
            </a:solidFill>
          </p:spPr>
          <p:txBody>
            <a:bodyPr wrap="square" lIns="0" tIns="0" rIns="0" bIns="0" rtlCol="0"/>
            <a:lstStyle/>
            <a:p>
              <a:endParaRPr/>
            </a:p>
          </p:txBody>
        </p:sp>
        <p:sp>
          <p:nvSpPr>
            <p:cNvPr id="196" name="object 46">
              <a:extLst>
                <a:ext uri="{FF2B5EF4-FFF2-40B4-BE49-F238E27FC236}">
                  <a16:creationId xmlns:a16="http://schemas.microsoft.com/office/drawing/2014/main" id="{117FBA37-6C50-5C26-7E8B-CAD955080C8F}"/>
                </a:ext>
              </a:extLst>
            </p:cNvPr>
            <p:cNvSpPr/>
            <p:nvPr/>
          </p:nvSpPr>
          <p:spPr>
            <a:xfrm>
              <a:off x="14940190" y="6563444"/>
              <a:ext cx="4173854" cy="2457450"/>
            </a:xfrm>
            <a:custGeom>
              <a:avLst/>
              <a:gdLst/>
              <a:ahLst/>
              <a:cxnLst/>
              <a:rect l="l" t="t" r="r" b="b"/>
              <a:pathLst>
                <a:path w="4173855" h="2457450">
                  <a:moveTo>
                    <a:pt x="2088377" y="0"/>
                  </a:moveTo>
                  <a:lnTo>
                    <a:pt x="2047832" y="1421"/>
                  </a:lnTo>
                  <a:lnTo>
                    <a:pt x="2007446" y="5795"/>
                  </a:lnTo>
                  <a:lnTo>
                    <a:pt x="1967389" y="13122"/>
                  </a:lnTo>
                  <a:lnTo>
                    <a:pt x="1927827" y="23402"/>
                  </a:lnTo>
                  <a:lnTo>
                    <a:pt x="1867676" y="45266"/>
                  </a:lnTo>
                  <a:lnTo>
                    <a:pt x="1809747" y="74269"/>
                  </a:lnTo>
                  <a:lnTo>
                    <a:pt x="95276" y="1061150"/>
                  </a:lnTo>
                  <a:lnTo>
                    <a:pt x="46380" y="1101158"/>
                  </a:lnTo>
                  <a:lnTo>
                    <a:pt x="14911" y="1151713"/>
                  </a:lnTo>
                  <a:lnTo>
                    <a:pt x="0" y="1227943"/>
                  </a:lnTo>
                  <a:lnTo>
                    <a:pt x="6259" y="1275005"/>
                  </a:lnTo>
                  <a:lnTo>
                    <a:pt x="24149" y="1319477"/>
                  </a:lnTo>
                  <a:lnTo>
                    <a:pt x="53678" y="1358872"/>
                  </a:lnTo>
                  <a:lnTo>
                    <a:pt x="94857" y="1390701"/>
                  </a:lnTo>
                  <a:lnTo>
                    <a:pt x="1806763" y="2382032"/>
                  </a:lnTo>
                  <a:lnTo>
                    <a:pt x="1850609" y="2404893"/>
                  </a:lnTo>
                  <a:lnTo>
                    <a:pt x="1895849" y="2423611"/>
                  </a:lnTo>
                  <a:lnTo>
                    <a:pt x="1942205" y="2438184"/>
                  </a:lnTo>
                  <a:lnTo>
                    <a:pt x="1989400" y="2448612"/>
                  </a:lnTo>
                  <a:lnTo>
                    <a:pt x="2037156" y="2454894"/>
                  </a:lnTo>
                  <a:lnTo>
                    <a:pt x="2085195" y="2457031"/>
                  </a:lnTo>
                  <a:lnTo>
                    <a:pt x="2133240" y="2455021"/>
                  </a:lnTo>
                  <a:lnTo>
                    <a:pt x="2181012" y="2448865"/>
                  </a:lnTo>
                  <a:lnTo>
                    <a:pt x="2228235" y="2438561"/>
                  </a:lnTo>
                  <a:lnTo>
                    <a:pt x="2274629" y="2424110"/>
                  </a:lnTo>
                  <a:lnTo>
                    <a:pt x="2319918" y="2405512"/>
                  </a:lnTo>
                  <a:lnTo>
                    <a:pt x="2363824" y="2382765"/>
                  </a:lnTo>
                  <a:lnTo>
                    <a:pt x="4078285" y="1395873"/>
                  </a:lnTo>
                  <a:lnTo>
                    <a:pt x="4119950" y="1363745"/>
                  </a:lnTo>
                  <a:lnTo>
                    <a:pt x="4149731" y="1323877"/>
                  </a:lnTo>
                  <a:lnTo>
                    <a:pt x="4167626" y="1278843"/>
                  </a:lnTo>
                  <a:lnTo>
                    <a:pt x="4173633" y="1231219"/>
                  </a:lnTo>
                  <a:lnTo>
                    <a:pt x="4173476" y="1222528"/>
                  </a:lnTo>
                  <a:lnTo>
                    <a:pt x="4165073" y="1174121"/>
                  </a:lnTo>
                  <a:lnTo>
                    <a:pt x="4146630" y="1132728"/>
                  </a:lnTo>
                  <a:lnTo>
                    <a:pt x="4117846" y="1096100"/>
                  </a:lnTo>
                  <a:lnTo>
                    <a:pt x="4078714" y="1066323"/>
                  </a:lnTo>
                  <a:lnTo>
                    <a:pt x="2366808" y="74992"/>
                  </a:lnTo>
                  <a:lnTo>
                    <a:pt x="2306566" y="44836"/>
                  </a:lnTo>
                  <a:lnTo>
                    <a:pt x="2243912" y="22407"/>
                  </a:lnTo>
                  <a:lnTo>
                    <a:pt x="2205562" y="12660"/>
                  </a:lnTo>
                  <a:lnTo>
                    <a:pt x="2166757" y="5667"/>
                  </a:lnTo>
                  <a:lnTo>
                    <a:pt x="2127646" y="1442"/>
                  </a:lnTo>
                  <a:lnTo>
                    <a:pt x="2088377" y="0"/>
                  </a:lnTo>
                  <a:close/>
                </a:path>
              </a:pathLst>
            </a:custGeom>
            <a:solidFill>
              <a:srgbClr val="80B8D6">
                <a:alpha val="14999"/>
              </a:srgbClr>
            </a:solidFill>
          </p:spPr>
          <p:txBody>
            <a:bodyPr wrap="square" lIns="0" tIns="0" rIns="0" bIns="0" rtlCol="0"/>
            <a:lstStyle/>
            <a:p>
              <a:endParaRPr/>
            </a:p>
          </p:txBody>
        </p:sp>
        <p:sp>
          <p:nvSpPr>
            <p:cNvPr id="197" name="object 47">
              <a:extLst>
                <a:ext uri="{FF2B5EF4-FFF2-40B4-BE49-F238E27FC236}">
                  <a16:creationId xmlns:a16="http://schemas.microsoft.com/office/drawing/2014/main" id="{1BD90171-F1BB-6696-C2B3-110442971C63}"/>
                </a:ext>
              </a:extLst>
            </p:cNvPr>
            <p:cNvSpPr/>
            <p:nvPr/>
          </p:nvSpPr>
          <p:spPr>
            <a:xfrm>
              <a:off x="14941372" y="6392893"/>
              <a:ext cx="4174490" cy="1664335"/>
            </a:xfrm>
            <a:custGeom>
              <a:avLst/>
              <a:gdLst/>
              <a:ahLst/>
              <a:cxnLst/>
              <a:rect l="l" t="t" r="r" b="b"/>
              <a:pathLst>
                <a:path w="4174490" h="1664334">
                  <a:moveTo>
                    <a:pt x="4174261" y="5422"/>
                  </a:moveTo>
                  <a:lnTo>
                    <a:pt x="2085848" y="1207554"/>
                  </a:lnTo>
                  <a:lnTo>
                    <a:pt x="558" y="0"/>
                  </a:lnTo>
                  <a:lnTo>
                    <a:pt x="0" y="432536"/>
                  </a:lnTo>
                  <a:lnTo>
                    <a:pt x="5880" y="480174"/>
                  </a:lnTo>
                  <a:lnTo>
                    <a:pt x="23660" y="525246"/>
                  </a:lnTo>
                  <a:lnTo>
                    <a:pt x="53340" y="565188"/>
                  </a:lnTo>
                  <a:lnTo>
                    <a:pt x="94919" y="597433"/>
                  </a:lnTo>
                  <a:lnTo>
                    <a:pt x="1806829" y="1588757"/>
                  </a:lnTo>
                  <a:lnTo>
                    <a:pt x="1850669" y="1611630"/>
                  </a:lnTo>
                  <a:lnTo>
                    <a:pt x="1895906" y="1630349"/>
                  </a:lnTo>
                  <a:lnTo>
                    <a:pt x="1942261" y="1644916"/>
                  </a:lnTo>
                  <a:lnTo>
                    <a:pt x="1989467" y="1655343"/>
                  </a:lnTo>
                  <a:lnTo>
                    <a:pt x="2037219" y="1661617"/>
                  </a:lnTo>
                  <a:lnTo>
                    <a:pt x="2085251" y="1663750"/>
                  </a:lnTo>
                  <a:lnTo>
                    <a:pt x="2133295" y="1661744"/>
                  </a:lnTo>
                  <a:lnTo>
                    <a:pt x="2181072" y="1655584"/>
                  </a:lnTo>
                  <a:lnTo>
                    <a:pt x="2228291" y="1645285"/>
                  </a:lnTo>
                  <a:lnTo>
                    <a:pt x="2274684" y="1630832"/>
                  </a:lnTo>
                  <a:lnTo>
                    <a:pt x="2319972" y="1612226"/>
                  </a:lnTo>
                  <a:lnTo>
                    <a:pt x="2363889" y="1589481"/>
                  </a:lnTo>
                  <a:lnTo>
                    <a:pt x="4078351" y="602589"/>
                  </a:lnTo>
                  <a:lnTo>
                    <a:pt x="4120019" y="570471"/>
                  </a:lnTo>
                  <a:lnTo>
                    <a:pt x="4149801" y="530593"/>
                  </a:lnTo>
                  <a:lnTo>
                    <a:pt x="4167695" y="485571"/>
                  </a:lnTo>
                  <a:lnTo>
                    <a:pt x="4173702" y="437946"/>
                  </a:lnTo>
                  <a:lnTo>
                    <a:pt x="4174261" y="5422"/>
                  </a:lnTo>
                  <a:close/>
                </a:path>
              </a:pathLst>
            </a:custGeom>
            <a:solidFill>
              <a:srgbClr val="058DB8"/>
            </a:solidFill>
          </p:spPr>
          <p:txBody>
            <a:bodyPr wrap="square" lIns="0" tIns="0" rIns="0" bIns="0" rtlCol="0"/>
            <a:lstStyle/>
            <a:p>
              <a:endParaRPr/>
            </a:p>
          </p:txBody>
        </p:sp>
        <p:sp>
          <p:nvSpPr>
            <p:cNvPr id="198" name="object 48">
              <a:extLst>
                <a:ext uri="{FF2B5EF4-FFF2-40B4-BE49-F238E27FC236}">
                  <a16:creationId xmlns:a16="http://schemas.microsoft.com/office/drawing/2014/main" id="{25F7A341-3255-FF16-84FE-879AF30CFCDE}"/>
                </a:ext>
              </a:extLst>
            </p:cNvPr>
            <p:cNvSpPr/>
            <p:nvPr/>
          </p:nvSpPr>
          <p:spPr>
            <a:xfrm>
              <a:off x="14943085" y="5167087"/>
              <a:ext cx="4171950" cy="2457450"/>
            </a:xfrm>
            <a:custGeom>
              <a:avLst/>
              <a:gdLst/>
              <a:ahLst/>
              <a:cxnLst/>
              <a:rect l="l" t="t" r="r" b="b"/>
              <a:pathLst>
                <a:path w="4171950" h="2457450">
                  <a:moveTo>
                    <a:pt x="2087293" y="0"/>
                  </a:moveTo>
                  <a:lnTo>
                    <a:pt x="2039249" y="2010"/>
                  </a:lnTo>
                  <a:lnTo>
                    <a:pt x="1991477" y="8166"/>
                  </a:lnTo>
                  <a:lnTo>
                    <a:pt x="1944256" y="18470"/>
                  </a:lnTo>
                  <a:lnTo>
                    <a:pt x="1897863" y="32921"/>
                  </a:lnTo>
                  <a:lnTo>
                    <a:pt x="1852576" y="51520"/>
                  </a:lnTo>
                  <a:lnTo>
                    <a:pt x="1808672" y="74267"/>
                  </a:lnTo>
                  <a:lnTo>
                    <a:pt x="94201" y="1061158"/>
                  </a:lnTo>
                  <a:lnTo>
                    <a:pt x="56581" y="1089287"/>
                  </a:lnTo>
                  <a:lnTo>
                    <a:pt x="28348" y="1123757"/>
                  </a:lnTo>
                  <a:lnTo>
                    <a:pt x="9506" y="1162760"/>
                  </a:lnTo>
                  <a:lnTo>
                    <a:pt x="55" y="1204487"/>
                  </a:lnTo>
                  <a:lnTo>
                    <a:pt x="0" y="1247131"/>
                  </a:lnTo>
                  <a:lnTo>
                    <a:pt x="9341" y="1288884"/>
                  </a:lnTo>
                  <a:lnTo>
                    <a:pt x="28082" y="1327936"/>
                  </a:lnTo>
                  <a:lnTo>
                    <a:pt x="56224" y="1362481"/>
                  </a:lnTo>
                  <a:lnTo>
                    <a:pt x="93771" y="1390708"/>
                  </a:lnTo>
                  <a:lnTo>
                    <a:pt x="1805677" y="2382040"/>
                  </a:lnTo>
                  <a:lnTo>
                    <a:pt x="1849523" y="2404901"/>
                  </a:lnTo>
                  <a:lnTo>
                    <a:pt x="1894763" y="2423618"/>
                  </a:lnTo>
                  <a:lnTo>
                    <a:pt x="1941120" y="2438190"/>
                  </a:lnTo>
                  <a:lnTo>
                    <a:pt x="1988315" y="2448617"/>
                  </a:lnTo>
                  <a:lnTo>
                    <a:pt x="2036071" y="2454898"/>
                  </a:lnTo>
                  <a:lnTo>
                    <a:pt x="2084110" y="2457033"/>
                  </a:lnTo>
                  <a:lnTo>
                    <a:pt x="2132155" y="2455022"/>
                  </a:lnTo>
                  <a:lnTo>
                    <a:pt x="2179927" y="2448865"/>
                  </a:lnTo>
                  <a:lnTo>
                    <a:pt x="2227149" y="2438560"/>
                  </a:lnTo>
                  <a:lnTo>
                    <a:pt x="2273544" y="2424108"/>
                  </a:lnTo>
                  <a:lnTo>
                    <a:pt x="2318833" y="2405509"/>
                  </a:lnTo>
                  <a:lnTo>
                    <a:pt x="2362739" y="2382762"/>
                  </a:lnTo>
                  <a:lnTo>
                    <a:pt x="4077200" y="1395871"/>
                  </a:lnTo>
                  <a:lnTo>
                    <a:pt x="4114820" y="1367742"/>
                  </a:lnTo>
                  <a:lnTo>
                    <a:pt x="4143052" y="1333272"/>
                  </a:lnTo>
                  <a:lnTo>
                    <a:pt x="4161895" y="1294269"/>
                  </a:lnTo>
                  <a:lnTo>
                    <a:pt x="4171345" y="1252542"/>
                  </a:lnTo>
                  <a:lnTo>
                    <a:pt x="4171401" y="1209898"/>
                  </a:lnTo>
                  <a:lnTo>
                    <a:pt x="4162060" y="1168145"/>
                  </a:lnTo>
                  <a:lnTo>
                    <a:pt x="4143319" y="1129093"/>
                  </a:lnTo>
                  <a:lnTo>
                    <a:pt x="4115176" y="1094548"/>
                  </a:lnTo>
                  <a:lnTo>
                    <a:pt x="4077629" y="1066320"/>
                  </a:lnTo>
                  <a:lnTo>
                    <a:pt x="2365734" y="74989"/>
                  </a:lnTo>
                  <a:lnTo>
                    <a:pt x="2321885" y="52130"/>
                  </a:lnTo>
                  <a:lnTo>
                    <a:pt x="2276643" y="33414"/>
                  </a:lnTo>
                  <a:lnTo>
                    <a:pt x="2230285" y="18843"/>
                  </a:lnTo>
                  <a:lnTo>
                    <a:pt x="2183089" y="8417"/>
                  </a:lnTo>
                  <a:lnTo>
                    <a:pt x="2135333" y="2135"/>
                  </a:lnTo>
                  <a:lnTo>
                    <a:pt x="2087293" y="0"/>
                  </a:lnTo>
                  <a:close/>
                </a:path>
              </a:pathLst>
            </a:custGeom>
            <a:solidFill>
              <a:srgbClr val="F4F4F4"/>
            </a:solidFill>
          </p:spPr>
          <p:txBody>
            <a:bodyPr wrap="square" lIns="0" tIns="0" rIns="0" bIns="0" rtlCol="0"/>
            <a:lstStyle/>
            <a:p>
              <a:endParaRPr/>
            </a:p>
          </p:txBody>
        </p:sp>
        <p:sp>
          <p:nvSpPr>
            <p:cNvPr id="199" name="object 49">
              <a:extLst>
                <a:ext uri="{FF2B5EF4-FFF2-40B4-BE49-F238E27FC236}">
                  <a16:creationId xmlns:a16="http://schemas.microsoft.com/office/drawing/2014/main" id="{43D8C4CB-A678-6D55-5EE2-F9CE923B3F8E}"/>
                </a:ext>
              </a:extLst>
            </p:cNvPr>
            <p:cNvSpPr/>
            <p:nvPr/>
          </p:nvSpPr>
          <p:spPr>
            <a:xfrm>
              <a:off x="17349280" y="5131364"/>
              <a:ext cx="450850" cy="1324610"/>
            </a:xfrm>
            <a:custGeom>
              <a:avLst/>
              <a:gdLst/>
              <a:ahLst/>
              <a:cxnLst/>
              <a:rect l="l" t="t" r="r" b="b"/>
              <a:pathLst>
                <a:path w="450850" h="1324610">
                  <a:moveTo>
                    <a:pt x="445808" y="1180426"/>
                  </a:moveTo>
                  <a:lnTo>
                    <a:pt x="386816" y="1077950"/>
                  </a:lnTo>
                  <a:lnTo>
                    <a:pt x="380352" y="1076198"/>
                  </a:lnTo>
                  <a:lnTo>
                    <a:pt x="141490" y="1213688"/>
                  </a:lnTo>
                  <a:lnTo>
                    <a:pt x="139750" y="1220165"/>
                  </a:lnTo>
                  <a:lnTo>
                    <a:pt x="198742" y="1322641"/>
                  </a:lnTo>
                  <a:lnTo>
                    <a:pt x="205219" y="1324381"/>
                  </a:lnTo>
                  <a:lnTo>
                    <a:pt x="439051" y="1189786"/>
                  </a:lnTo>
                  <a:lnTo>
                    <a:pt x="444080" y="1186891"/>
                  </a:lnTo>
                  <a:lnTo>
                    <a:pt x="445808" y="1180426"/>
                  </a:lnTo>
                  <a:close/>
                </a:path>
                <a:path w="450850" h="1324610">
                  <a:moveTo>
                    <a:pt x="450824" y="142976"/>
                  </a:moveTo>
                  <a:lnTo>
                    <a:pt x="352488" y="95986"/>
                  </a:lnTo>
                  <a:lnTo>
                    <a:pt x="352628" y="444"/>
                  </a:lnTo>
                  <a:lnTo>
                    <a:pt x="508" y="0"/>
                  </a:lnTo>
                  <a:lnTo>
                    <a:pt x="0" y="400431"/>
                  </a:lnTo>
                  <a:lnTo>
                    <a:pt x="253707" y="400761"/>
                  </a:lnTo>
                  <a:lnTo>
                    <a:pt x="253479" y="580605"/>
                  </a:lnTo>
                  <a:lnTo>
                    <a:pt x="450253" y="580859"/>
                  </a:lnTo>
                  <a:lnTo>
                    <a:pt x="450824" y="142976"/>
                  </a:lnTo>
                  <a:close/>
                </a:path>
              </a:pathLst>
            </a:custGeom>
            <a:solidFill>
              <a:srgbClr val="464563"/>
            </a:solidFill>
          </p:spPr>
          <p:txBody>
            <a:bodyPr wrap="square" lIns="0" tIns="0" rIns="0" bIns="0" rtlCol="0"/>
            <a:lstStyle/>
            <a:p>
              <a:endParaRPr/>
            </a:p>
          </p:txBody>
        </p:sp>
        <p:pic>
          <p:nvPicPr>
            <p:cNvPr id="200" name="object 50">
              <a:extLst>
                <a:ext uri="{FF2B5EF4-FFF2-40B4-BE49-F238E27FC236}">
                  <a16:creationId xmlns:a16="http://schemas.microsoft.com/office/drawing/2014/main" id="{0878F4D6-D2CA-AAA9-7422-A1FB8D89BD1F}"/>
                </a:ext>
              </a:extLst>
            </p:cNvPr>
            <p:cNvPicPr/>
            <p:nvPr/>
          </p:nvPicPr>
          <p:blipFill>
            <a:blip r:embed="rId18" cstate="print"/>
            <a:stretch>
              <a:fillRect/>
            </a:stretch>
          </p:blipFill>
          <p:spPr>
            <a:xfrm>
              <a:off x="17602771" y="5613702"/>
              <a:ext cx="196768" cy="196768"/>
            </a:xfrm>
            <a:prstGeom prst="rect">
              <a:avLst/>
            </a:prstGeom>
          </p:spPr>
        </p:pic>
        <p:sp>
          <p:nvSpPr>
            <p:cNvPr id="201" name="object 51">
              <a:extLst>
                <a:ext uri="{FF2B5EF4-FFF2-40B4-BE49-F238E27FC236}">
                  <a16:creationId xmlns:a16="http://schemas.microsoft.com/office/drawing/2014/main" id="{9C9EB07C-C92D-2F38-BB78-A6B64AB3BAA8}"/>
                </a:ext>
              </a:extLst>
            </p:cNvPr>
            <p:cNvSpPr/>
            <p:nvPr/>
          </p:nvSpPr>
          <p:spPr>
            <a:xfrm>
              <a:off x="17603234" y="5721538"/>
              <a:ext cx="196215" cy="610235"/>
            </a:xfrm>
            <a:custGeom>
              <a:avLst/>
              <a:gdLst/>
              <a:ahLst/>
              <a:cxnLst/>
              <a:rect l="l" t="t" r="r" b="b"/>
              <a:pathLst>
                <a:path w="196215" h="610235">
                  <a:moveTo>
                    <a:pt x="0" y="0"/>
                  </a:moveTo>
                  <a:lnTo>
                    <a:pt x="60354" y="572506"/>
                  </a:lnTo>
                  <a:lnTo>
                    <a:pt x="86880" y="607303"/>
                  </a:lnTo>
                  <a:lnTo>
                    <a:pt x="102174" y="610190"/>
                  </a:lnTo>
                  <a:lnTo>
                    <a:pt x="117661" y="607271"/>
                  </a:lnTo>
                  <a:lnTo>
                    <a:pt x="130613" y="599189"/>
                  </a:lnTo>
                  <a:lnTo>
                    <a:pt x="139843" y="587030"/>
                  </a:lnTo>
                  <a:lnTo>
                    <a:pt x="144163" y="571877"/>
                  </a:lnTo>
                  <a:lnTo>
                    <a:pt x="195816" y="251"/>
                  </a:lnTo>
                  <a:lnTo>
                    <a:pt x="0" y="0"/>
                  </a:lnTo>
                  <a:close/>
                </a:path>
              </a:pathLst>
            </a:custGeom>
            <a:solidFill>
              <a:srgbClr val="464563"/>
            </a:solidFill>
          </p:spPr>
          <p:txBody>
            <a:bodyPr wrap="square" lIns="0" tIns="0" rIns="0" bIns="0" rtlCol="0"/>
            <a:lstStyle/>
            <a:p>
              <a:endParaRPr/>
            </a:p>
          </p:txBody>
        </p:sp>
        <p:pic>
          <p:nvPicPr>
            <p:cNvPr id="202" name="object 52">
              <a:extLst>
                <a:ext uri="{FF2B5EF4-FFF2-40B4-BE49-F238E27FC236}">
                  <a16:creationId xmlns:a16="http://schemas.microsoft.com/office/drawing/2014/main" id="{BCC87194-F309-4F00-6031-E7DBD1805353}"/>
                </a:ext>
              </a:extLst>
            </p:cNvPr>
            <p:cNvPicPr/>
            <p:nvPr/>
          </p:nvPicPr>
          <p:blipFill>
            <a:blip r:embed="rId19" cstate="print"/>
            <a:stretch>
              <a:fillRect/>
            </a:stretch>
          </p:blipFill>
          <p:spPr>
            <a:xfrm>
              <a:off x="17602774" y="5613698"/>
              <a:ext cx="196768" cy="196768"/>
            </a:xfrm>
            <a:prstGeom prst="rect">
              <a:avLst/>
            </a:prstGeom>
          </p:spPr>
        </p:pic>
        <p:sp>
          <p:nvSpPr>
            <p:cNvPr id="203" name="object 53">
              <a:extLst>
                <a:ext uri="{FF2B5EF4-FFF2-40B4-BE49-F238E27FC236}">
                  <a16:creationId xmlns:a16="http://schemas.microsoft.com/office/drawing/2014/main" id="{5E29CF8F-86C3-C071-9848-5CC3E532B3B4}"/>
                </a:ext>
              </a:extLst>
            </p:cNvPr>
            <p:cNvSpPr/>
            <p:nvPr/>
          </p:nvSpPr>
          <p:spPr>
            <a:xfrm>
              <a:off x="17338295" y="5090000"/>
              <a:ext cx="306070" cy="1264920"/>
            </a:xfrm>
            <a:custGeom>
              <a:avLst/>
              <a:gdLst/>
              <a:ahLst/>
              <a:cxnLst/>
              <a:rect l="l" t="t" r="r" b="b"/>
              <a:pathLst>
                <a:path w="306069" h="1264920">
                  <a:moveTo>
                    <a:pt x="201637" y="254"/>
                  </a:moveTo>
                  <a:lnTo>
                    <a:pt x="4876" y="0"/>
                  </a:lnTo>
                  <a:lnTo>
                    <a:pt x="4178" y="531622"/>
                  </a:lnTo>
                  <a:lnTo>
                    <a:pt x="200952" y="531876"/>
                  </a:lnTo>
                  <a:lnTo>
                    <a:pt x="201637" y="254"/>
                  </a:lnTo>
                  <a:close/>
                </a:path>
                <a:path w="306069" h="1264920">
                  <a:moveTo>
                    <a:pt x="306070" y="1120419"/>
                  </a:moveTo>
                  <a:lnTo>
                    <a:pt x="247091" y="1017943"/>
                  </a:lnTo>
                  <a:lnTo>
                    <a:pt x="240601" y="1016190"/>
                  </a:lnTo>
                  <a:lnTo>
                    <a:pt x="6769" y="1150797"/>
                  </a:lnTo>
                  <a:lnTo>
                    <a:pt x="1752" y="1153680"/>
                  </a:lnTo>
                  <a:lnTo>
                    <a:pt x="0" y="1160157"/>
                  </a:lnTo>
                  <a:lnTo>
                    <a:pt x="58991" y="1262634"/>
                  </a:lnTo>
                  <a:lnTo>
                    <a:pt x="65468" y="1264386"/>
                  </a:lnTo>
                  <a:lnTo>
                    <a:pt x="304317" y="1126883"/>
                  </a:lnTo>
                  <a:lnTo>
                    <a:pt x="306070" y="1120419"/>
                  </a:lnTo>
                  <a:close/>
                </a:path>
              </a:pathLst>
            </a:custGeom>
            <a:solidFill>
              <a:srgbClr val="464563"/>
            </a:solidFill>
          </p:spPr>
          <p:txBody>
            <a:bodyPr wrap="square" lIns="0" tIns="0" rIns="0" bIns="0" rtlCol="0"/>
            <a:lstStyle/>
            <a:p>
              <a:endParaRPr/>
            </a:p>
          </p:txBody>
        </p:sp>
        <p:pic>
          <p:nvPicPr>
            <p:cNvPr id="204" name="object 54">
              <a:extLst>
                <a:ext uri="{FF2B5EF4-FFF2-40B4-BE49-F238E27FC236}">
                  <a16:creationId xmlns:a16="http://schemas.microsoft.com/office/drawing/2014/main" id="{E4A7DDCC-0659-7CC3-7728-54FC04C0A2A0}"/>
                </a:ext>
              </a:extLst>
            </p:cNvPr>
            <p:cNvPicPr/>
            <p:nvPr/>
          </p:nvPicPr>
          <p:blipFill>
            <a:blip r:embed="rId20" cstate="print"/>
            <a:stretch>
              <a:fillRect/>
            </a:stretch>
          </p:blipFill>
          <p:spPr>
            <a:xfrm>
              <a:off x="17342480" y="5523358"/>
              <a:ext cx="196768" cy="196768"/>
            </a:xfrm>
            <a:prstGeom prst="rect">
              <a:avLst/>
            </a:prstGeom>
          </p:spPr>
        </p:pic>
        <p:sp>
          <p:nvSpPr>
            <p:cNvPr id="205" name="object 55">
              <a:extLst>
                <a:ext uri="{FF2B5EF4-FFF2-40B4-BE49-F238E27FC236}">
                  <a16:creationId xmlns:a16="http://schemas.microsoft.com/office/drawing/2014/main" id="{EDA60403-CFA5-9BB7-3B62-D758CC2454BA}"/>
                </a:ext>
              </a:extLst>
            </p:cNvPr>
            <p:cNvSpPr/>
            <p:nvPr/>
          </p:nvSpPr>
          <p:spPr>
            <a:xfrm>
              <a:off x="17346448" y="5612939"/>
              <a:ext cx="248920" cy="617220"/>
            </a:xfrm>
            <a:custGeom>
              <a:avLst/>
              <a:gdLst/>
              <a:ahLst/>
              <a:cxnLst/>
              <a:rect l="l" t="t" r="r" b="b"/>
              <a:pathLst>
                <a:path w="248919" h="617220">
                  <a:moveTo>
                    <a:pt x="192392" y="0"/>
                  </a:moveTo>
                  <a:lnTo>
                    <a:pt x="0" y="36438"/>
                  </a:lnTo>
                  <a:lnTo>
                    <a:pt x="166560" y="587489"/>
                  </a:lnTo>
                  <a:lnTo>
                    <a:pt x="173737" y="601307"/>
                  </a:lnTo>
                  <a:lnTo>
                    <a:pt x="185037" y="611313"/>
                  </a:lnTo>
                  <a:lnTo>
                    <a:pt x="199135" y="616706"/>
                  </a:lnTo>
                  <a:lnTo>
                    <a:pt x="214705" y="616682"/>
                  </a:lnTo>
                  <a:lnTo>
                    <a:pt x="229367" y="610909"/>
                  </a:lnTo>
                  <a:lnTo>
                    <a:pt x="240575" y="600541"/>
                  </a:lnTo>
                  <a:lnTo>
                    <a:pt x="247363" y="586868"/>
                  </a:lnTo>
                  <a:lnTo>
                    <a:pt x="248767" y="571176"/>
                  </a:lnTo>
                  <a:lnTo>
                    <a:pt x="192392" y="0"/>
                  </a:lnTo>
                  <a:close/>
                </a:path>
              </a:pathLst>
            </a:custGeom>
            <a:solidFill>
              <a:srgbClr val="464563"/>
            </a:solidFill>
          </p:spPr>
          <p:txBody>
            <a:bodyPr wrap="square" lIns="0" tIns="0" rIns="0" bIns="0" rtlCol="0"/>
            <a:lstStyle/>
            <a:p>
              <a:endParaRPr/>
            </a:p>
          </p:txBody>
        </p:sp>
        <p:pic>
          <p:nvPicPr>
            <p:cNvPr id="206" name="object 56">
              <a:extLst>
                <a:ext uri="{FF2B5EF4-FFF2-40B4-BE49-F238E27FC236}">
                  <a16:creationId xmlns:a16="http://schemas.microsoft.com/office/drawing/2014/main" id="{6D2B73B8-C40E-8AFF-8CA5-538DF1833EBC}"/>
                </a:ext>
              </a:extLst>
            </p:cNvPr>
            <p:cNvPicPr/>
            <p:nvPr/>
          </p:nvPicPr>
          <p:blipFill>
            <a:blip r:embed="rId21" cstate="print"/>
            <a:stretch>
              <a:fillRect/>
            </a:stretch>
          </p:blipFill>
          <p:spPr>
            <a:xfrm>
              <a:off x="17344201" y="5525079"/>
              <a:ext cx="193334" cy="193323"/>
            </a:xfrm>
            <a:prstGeom prst="rect">
              <a:avLst/>
            </a:prstGeom>
          </p:spPr>
        </p:pic>
        <p:sp>
          <p:nvSpPr>
            <p:cNvPr id="207" name="object 57">
              <a:extLst>
                <a:ext uri="{FF2B5EF4-FFF2-40B4-BE49-F238E27FC236}">
                  <a16:creationId xmlns:a16="http://schemas.microsoft.com/office/drawing/2014/main" id="{562EA132-E333-27FC-3718-914DD5316B28}"/>
                </a:ext>
              </a:extLst>
            </p:cNvPr>
            <p:cNvSpPr/>
            <p:nvPr/>
          </p:nvSpPr>
          <p:spPr>
            <a:xfrm>
              <a:off x="15522430" y="5499563"/>
              <a:ext cx="2837815" cy="1662430"/>
            </a:xfrm>
            <a:custGeom>
              <a:avLst/>
              <a:gdLst/>
              <a:ahLst/>
              <a:cxnLst/>
              <a:rect l="l" t="t" r="r" b="b"/>
              <a:pathLst>
                <a:path w="2837815" h="1662429">
                  <a:moveTo>
                    <a:pt x="1058969" y="56"/>
                  </a:moveTo>
                  <a:lnTo>
                    <a:pt x="1014577" y="0"/>
                  </a:lnTo>
                  <a:lnTo>
                    <a:pt x="970913" y="9144"/>
                  </a:lnTo>
                  <a:lnTo>
                    <a:pt x="929454" y="27492"/>
                  </a:lnTo>
                  <a:lnTo>
                    <a:pt x="39712" y="539644"/>
                  </a:lnTo>
                  <a:lnTo>
                    <a:pt x="9956" y="569633"/>
                  </a:lnTo>
                  <a:lnTo>
                    <a:pt x="0" y="608224"/>
                  </a:lnTo>
                  <a:lnTo>
                    <a:pt x="9854" y="646841"/>
                  </a:lnTo>
                  <a:lnTo>
                    <a:pt x="39534" y="676907"/>
                  </a:lnTo>
                  <a:lnTo>
                    <a:pt x="1693337" y="1634584"/>
                  </a:lnTo>
                  <a:lnTo>
                    <a:pt x="1734745" y="1653037"/>
                  </a:lnTo>
                  <a:lnTo>
                    <a:pt x="1778383" y="1662293"/>
                  </a:lnTo>
                  <a:lnTo>
                    <a:pt x="1822774" y="1662351"/>
                  </a:lnTo>
                  <a:lnTo>
                    <a:pt x="1866437" y="1653210"/>
                  </a:lnTo>
                  <a:lnTo>
                    <a:pt x="1907896" y="1634867"/>
                  </a:lnTo>
                  <a:lnTo>
                    <a:pt x="2797638" y="1122715"/>
                  </a:lnTo>
                  <a:lnTo>
                    <a:pt x="2827398" y="1092725"/>
                  </a:lnTo>
                  <a:lnTo>
                    <a:pt x="2837354" y="1054131"/>
                  </a:lnTo>
                  <a:lnTo>
                    <a:pt x="2827497" y="1015514"/>
                  </a:lnTo>
                  <a:lnTo>
                    <a:pt x="2797816" y="985452"/>
                  </a:lnTo>
                  <a:lnTo>
                    <a:pt x="1144024" y="27764"/>
                  </a:lnTo>
                  <a:lnTo>
                    <a:pt x="1102610" y="9312"/>
                  </a:lnTo>
                  <a:lnTo>
                    <a:pt x="1058969" y="56"/>
                  </a:lnTo>
                  <a:close/>
                </a:path>
              </a:pathLst>
            </a:custGeom>
            <a:solidFill>
              <a:srgbClr val="80B8D6">
                <a:alpha val="29998"/>
              </a:srgbClr>
            </a:solidFill>
          </p:spPr>
          <p:txBody>
            <a:bodyPr wrap="square" lIns="0" tIns="0" rIns="0" bIns="0" rtlCol="0"/>
            <a:lstStyle/>
            <a:p>
              <a:endParaRPr/>
            </a:p>
          </p:txBody>
        </p:sp>
        <p:pic>
          <p:nvPicPr>
            <p:cNvPr id="208" name="object 58">
              <a:extLst>
                <a:ext uri="{FF2B5EF4-FFF2-40B4-BE49-F238E27FC236}">
                  <a16:creationId xmlns:a16="http://schemas.microsoft.com/office/drawing/2014/main" id="{95D1D47F-57AA-EB69-300F-EFA166906516}"/>
                </a:ext>
              </a:extLst>
            </p:cNvPr>
            <p:cNvPicPr/>
            <p:nvPr/>
          </p:nvPicPr>
          <p:blipFill>
            <a:blip r:embed="rId22" cstate="print"/>
            <a:stretch>
              <a:fillRect/>
            </a:stretch>
          </p:blipFill>
          <p:spPr>
            <a:xfrm>
              <a:off x="15522941" y="5086724"/>
              <a:ext cx="2837515" cy="1675096"/>
            </a:xfrm>
            <a:prstGeom prst="rect">
              <a:avLst/>
            </a:prstGeom>
          </p:spPr>
        </p:pic>
        <p:sp>
          <p:nvSpPr>
            <p:cNvPr id="209" name="object 59">
              <a:extLst>
                <a:ext uri="{FF2B5EF4-FFF2-40B4-BE49-F238E27FC236}">
                  <a16:creationId xmlns:a16="http://schemas.microsoft.com/office/drawing/2014/main" id="{2E0AD276-306F-C084-1D17-3342C2400028}"/>
                </a:ext>
              </a:extLst>
            </p:cNvPr>
            <p:cNvSpPr/>
            <p:nvPr/>
          </p:nvSpPr>
          <p:spPr>
            <a:xfrm>
              <a:off x="15523153" y="4941218"/>
              <a:ext cx="2837815" cy="1662430"/>
            </a:xfrm>
            <a:custGeom>
              <a:avLst/>
              <a:gdLst/>
              <a:ahLst/>
              <a:cxnLst/>
              <a:rect l="l" t="t" r="r" b="b"/>
              <a:pathLst>
                <a:path w="2837815" h="1662429">
                  <a:moveTo>
                    <a:pt x="1058969" y="56"/>
                  </a:moveTo>
                  <a:lnTo>
                    <a:pt x="1014577" y="0"/>
                  </a:lnTo>
                  <a:lnTo>
                    <a:pt x="970913" y="9144"/>
                  </a:lnTo>
                  <a:lnTo>
                    <a:pt x="929454" y="27492"/>
                  </a:lnTo>
                  <a:lnTo>
                    <a:pt x="39712" y="539644"/>
                  </a:lnTo>
                  <a:lnTo>
                    <a:pt x="9956" y="569633"/>
                  </a:lnTo>
                  <a:lnTo>
                    <a:pt x="0" y="608224"/>
                  </a:lnTo>
                  <a:lnTo>
                    <a:pt x="9854" y="646841"/>
                  </a:lnTo>
                  <a:lnTo>
                    <a:pt x="39534" y="676907"/>
                  </a:lnTo>
                  <a:lnTo>
                    <a:pt x="1693337" y="1634595"/>
                  </a:lnTo>
                  <a:lnTo>
                    <a:pt x="1734745" y="1653043"/>
                  </a:lnTo>
                  <a:lnTo>
                    <a:pt x="1778383" y="1662296"/>
                  </a:lnTo>
                  <a:lnTo>
                    <a:pt x="1822774" y="1662352"/>
                  </a:lnTo>
                  <a:lnTo>
                    <a:pt x="1866437" y="1653210"/>
                  </a:lnTo>
                  <a:lnTo>
                    <a:pt x="1907896" y="1634867"/>
                  </a:lnTo>
                  <a:lnTo>
                    <a:pt x="2797638" y="1122715"/>
                  </a:lnTo>
                  <a:lnTo>
                    <a:pt x="2827398" y="1092725"/>
                  </a:lnTo>
                  <a:lnTo>
                    <a:pt x="2837354" y="1054131"/>
                  </a:lnTo>
                  <a:lnTo>
                    <a:pt x="2827497" y="1015514"/>
                  </a:lnTo>
                  <a:lnTo>
                    <a:pt x="2797816" y="985452"/>
                  </a:lnTo>
                  <a:lnTo>
                    <a:pt x="1144024" y="27764"/>
                  </a:lnTo>
                  <a:lnTo>
                    <a:pt x="1102610" y="9312"/>
                  </a:lnTo>
                  <a:lnTo>
                    <a:pt x="1058969" y="56"/>
                  </a:lnTo>
                  <a:close/>
                </a:path>
              </a:pathLst>
            </a:custGeom>
            <a:solidFill>
              <a:srgbClr val="F4F4F4"/>
            </a:solidFill>
          </p:spPr>
          <p:txBody>
            <a:bodyPr wrap="square" lIns="0" tIns="0" rIns="0" bIns="0" rtlCol="0"/>
            <a:lstStyle/>
            <a:p>
              <a:endParaRPr/>
            </a:p>
          </p:txBody>
        </p:sp>
        <p:pic>
          <p:nvPicPr>
            <p:cNvPr id="210" name="object 60">
              <a:extLst>
                <a:ext uri="{FF2B5EF4-FFF2-40B4-BE49-F238E27FC236}">
                  <a16:creationId xmlns:a16="http://schemas.microsoft.com/office/drawing/2014/main" id="{60FC2215-3752-85D2-CC2F-F568191630B0}"/>
                </a:ext>
              </a:extLst>
            </p:cNvPr>
            <p:cNvPicPr/>
            <p:nvPr/>
          </p:nvPicPr>
          <p:blipFill>
            <a:blip r:embed="rId23" cstate="print"/>
            <a:stretch>
              <a:fillRect/>
            </a:stretch>
          </p:blipFill>
          <p:spPr>
            <a:xfrm>
              <a:off x="15785669" y="5084379"/>
              <a:ext cx="2162600" cy="1274720"/>
            </a:xfrm>
            <a:prstGeom prst="rect">
              <a:avLst/>
            </a:prstGeom>
          </p:spPr>
        </p:pic>
        <p:sp>
          <p:nvSpPr>
            <p:cNvPr id="211" name="object 61">
              <a:extLst>
                <a:ext uri="{FF2B5EF4-FFF2-40B4-BE49-F238E27FC236}">
                  <a16:creationId xmlns:a16="http://schemas.microsoft.com/office/drawing/2014/main" id="{2227F0C8-AD7B-3EBD-A818-2F3222553AB6}"/>
                </a:ext>
              </a:extLst>
            </p:cNvPr>
            <p:cNvSpPr/>
            <p:nvPr/>
          </p:nvSpPr>
          <p:spPr>
            <a:xfrm>
              <a:off x="16404857" y="5176602"/>
              <a:ext cx="880110" cy="920750"/>
            </a:xfrm>
            <a:custGeom>
              <a:avLst/>
              <a:gdLst/>
              <a:ahLst/>
              <a:cxnLst/>
              <a:rect l="l" t="t" r="r" b="b"/>
              <a:pathLst>
                <a:path w="880109" h="920750">
                  <a:moveTo>
                    <a:pt x="774712" y="254076"/>
                  </a:moveTo>
                  <a:lnTo>
                    <a:pt x="335978" y="0"/>
                  </a:lnTo>
                  <a:lnTo>
                    <a:pt x="0" y="193395"/>
                  </a:lnTo>
                  <a:lnTo>
                    <a:pt x="438746" y="447459"/>
                  </a:lnTo>
                  <a:lnTo>
                    <a:pt x="774712" y="254076"/>
                  </a:lnTo>
                  <a:close/>
                </a:path>
                <a:path w="880109" h="920750">
                  <a:moveTo>
                    <a:pt x="880008" y="768210"/>
                  </a:moveTo>
                  <a:lnTo>
                    <a:pt x="534454" y="568109"/>
                  </a:lnTo>
                  <a:lnTo>
                    <a:pt x="269849" y="720420"/>
                  </a:lnTo>
                  <a:lnTo>
                    <a:pt x="615403" y="920534"/>
                  </a:lnTo>
                  <a:lnTo>
                    <a:pt x="880008" y="768210"/>
                  </a:lnTo>
                  <a:close/>
                </a:path>
              </a:pathLst>
            </a:custGeom>
            <a:solidFill>
              <a:srgbClr val="035A82"/>
            </a:solidFill>
          </p:spPr>
          <p:txBody>
            <a:bodyPr wrap="square" lIns="0" tIns="0" rIns="0" bIns="0" rtlCol="0"/>
            <a:lstStyle/>
            <a:p>
              <a:endParaRPr/>
            </a:p>
          </p:txBody>
        </p:sp>
        <p:pic>
          <p:nvPicPr>
            <p:cNvPr id="212" name="object 62">
              <a:extLst>
                <a:ext uri="{FF2B5EF4-FFF2-40B4-BE49-F238E27FC236}">
                  <a16:creationId xmlns:a16="http://schemas.microsoft.com/office/drawing/2014/main" id="{32B30884-351F-D5F3-2530-CD2894916A7F}"/>
                </a:ext>
              </a:extLst>
            </p:cNvPr>
            <p:cNvPicPr/>
            <p:nvPr/>
          </p:nvPicPr>
          <p:blipFill>
            <a:blip r:embed="rId24" cstate="print"/>
            <a:stretch>
              <a:fillRect/>
            </a:stretch>
          </p:blipFill>
          <p:spPr>
            <a:xfrm>
              <a:off x="17078596" y="4817514"/>
              <a:ext cx="192598" cy="277203"/>
            </a:xfrm>
            <a:prstGeom prst="rect">
              <a:avLst/>
            </a:prstGeom>
          </p:spPr>
        </p:pic>
        <p:sp>
          <p:nvSpPr>
            <p:cNvPr id="213" name="object 63">
              <a:extLst>
                <a:ext uri="{FF2B5EF4-FFF2-40B4-BE49-F238E27FC236}">
                  <a16:creationId xmlns:a16="http://schemas.microsoft.com/office/drawing/2014/main" id="{2F2A5ECF-D2B1-F791-134C-57B3A6C943D9}"/>
                </a:ext>
              </a:extLst>
            </p:cNvPr>
            <p:cNvSpPr/>
            <p:nvPr/>
          </p:nvSpPr>
          <p:spPr>
            <a:xfrm>
              <a:off x="16884400" y="5002044"/>
              <a:ext cx="295910" cy="339090"/>
            </a:xfrm>
            <a:custGeom>
              <a:avLst/>
              <a:gdLst/>
              <a:ahLst/>
              <a:cxnLst/>
              <a:rect l="l" t="t" r="r" b="b"/>
              <a:pathLst>
                <a:path w="295909" h="339089">
                  <a:moveTo>
                    <a:pt x="204328" y="0"/>
                  </a:moveTo>
                  <a:lnTo>
                    <a:pt x="0" y="309519"/>
                  </a:lnTo>
                  <a:lnTo>
                    <a:pt x="35621" y="338900"/>
                  </a:lnTo>
                  <a:lnTo>
                    <a:pt x="295634" y="75327"/>
                  </a:lnTo>
                  <a:lnTo>
                    <a:pt x="204328" y="0"/>
                  </a:lnTo>
                  <a:close/>
                </a:path>
              </a:pathLst>
            </a:custGeom>
            <a:solidFill>
              <a:srgbClr val="B94F17"/>
            </a:solidFill>
          </p:spPr>
          <p:txBody>
            <a:bodyPr wrap="square" lIns="0" tIns="0" rIns="0" bIns="0" rtlCol="0"/>
            <a:lstStyle/>
            <a:p>
              <a:endParaRPr/>
            </a:p>
          </p:txBody>
        </p:sp>
        <p:pic>
          <p:nvPicPr>
            <p:cNvPr id="214" name="object 64">
              <a:extLst>
                <a:ext uri="{FF2B5EF4-FFF2-40B4-BE49-F238E27FC236}">
                  <a16:creationId xmlns:a16="http://schemas.microsoft.com/office/drawing/2014/main" id="{970F426D-CF32-D9AF-1042-FF73E4EAA578}"/>
                </a:ext>
              </a:extLst>
            </p:cNvPr>
            <p:cNvPicPr/>
            <p:nvPr/>
          </p:nvPicPr>
          <p:blipFill>
            <a:blip r:embed="rId25" cstate="print"/>
            <a:stretch>
              <a:fillRect/>
            </a:stretch>
          </p:blipFill>
          <p:spPr>
            <a:xfrm>
              <a:off x="17078869" y="4976038"/>
              <a:ext cx="118404" cy="118404"/>
            </a:xfrm>
            <a:prstGeom prst="rect">
              <a:avLst/>
            </a:prstGeom>
          </p:spPr>
        </p:pic>
        <p:pic>
          <p:nvPicPr>
            <p:cNvPr id="215" name="object 65">
              <a:extLst>
                <a:ext uri="{FF2B5EF4-FFF2-40B4-BE49-F238E27FC236}">
                  <a16:creationId xmlns:a16="http://schemas.microsoft.com/office/drawing/2014/main" id="{2B10C538-29B6-DF68-7C2B-EA30932636D0}"/>
                </a:ext>
              </a:extLst>
            </p:cNvPr>
            <p:cNvPicPr/>
            <p:nvPr/>
          </p:nvPicPr>
          <p:blipFill>
            <a:blip r:embed="rId26" cstate="print"/>
            <a:stretch>
              <a:fillRect/>
            </a:stretch>
          </p:blipFill>
          <p:spPr>
            <a:xfrm>
              <a:off x="16863759" y="5262038"/>
              <a:ext cx="100562" cy="100565"/>
            </a:xfrm>
            <a:prstGeom prst="rect">
              <a:avLst/>
            </a:prstGeom>
          </p:spPr>
        </p:pic>
        <p:sp>
          <p:nvSpPr>
            <p:cNvPr id="216" name="object 66">
              <a:extLst>
                <a:ext uri="{FF2B5EF4-FFF2-40B4-BE49-F238E27FC236}">
                  <a16:creationId xmlns:a16="http://schemas.microsoft.com/office/drawing/2014/main" id="{C82E0739-7698-3000-1AED-428C5BA7C003}"/>
                </a:ext>
              </a:extLst>
            </p:cNvPr>
            <p:cNvSpPr/>
            <p:nvPr/>
          </p:nvSpPr>
          <p:spPr>
            <a:xfrm>
              <a:off x="17116274" y="4679469"/>
              <a:ext cx="215265" cy="297815"/>
            </a:xfrm>
            <a:custGeom>
              <a:avLst/>
              <a:gdLst/>
              <a:ahLst/>
              <a:cxnLst/>
              <a:rect l="l" t="t" r="r" b="b"/>
              <a:pathLst>
                <a:path w="215265" h="297814">
                  <a:moveTo>
                    <a:pt x="79471" y="0"/>
                  </a:moveTo>
                  <a:lnTo>
                    <a:pt x="2478" y="212527"/>
                  </a:lnTo>
                  <a:lnTo>
                    <a:pt x="0" y="236023"/>
                  </a:lnTo>
                  <a:lnTo>
                    <a:pt x="8169" y="258903"/>
                  </a:lnTo>
                  <a:lnTo>
                    <a:pt x="25449" y="278594"/>
                  </a:lnTo>
                  <a:lnTo>
                    <a:pt x="50299" y="292525"/>
                  </a:lnTo>
                  <a:lnTo>
                    <a:pt x="78303" y="297743"/>
                  </a:lnTo>
                  <a:lnTo>
                    <a:pt x="104185" y="293688"/>
                  </a:lnTo>
                  <a:lnTo>
                    <a:pt x="125115" y="281350"/>
                  </a:lnTo>
                  <a:lnTo>
                    <a:pt x="138265" y="261719"/>
                  </a:lnTo>
                  <a:lnTo>
                    <a:pt x="215257" y="49192"/>
                  </a:lnTo>
                  <a:lnTo>
                    <a:pt x="79471" y="0"/>
                  </a:lnTo>
                  <a:close/>
                </a:path>
              </a:pathLst>
            </a:custGeom>
            <a:solidFill>
              <a:srgbClr val="035A82"/>
            </a:solidFill>
          </p:spPr>
          <p:txBody>
            <a:bodyPr wrap="square" lIns="0" tIns="0" rIns="0" bIns="0" rtlCol="0"/>
            <a:lstStyle/>
            <a:p>
              <a:endParaRPr/>
            </a:p>
          </p:txBody>
        </p:sp>
        <p:sp>
          <p:nvSpPr>
            <p:cNvPr id="217" name="object 67">
              <a:extLst>
                <a:ext uri="{FF2B5EF4-FFF2-40B4-BE49-F238E27FC236}">
                  <a16:creationId xmlns:a16="http://schemas.microsoft.com/office/drawing/2014/main" id="{B1D13127-8045-90E7-A423-7FA7391E0C84}"/>
                </a:ext>
              </a:extLst>
            </p:cNvPr>
            <p:cNvSpPr/>
            <p:nvPr/>
          </p:nvSpPr>
          <p:spPr>
            <a:xfrm>
              <a:off x="16981744" y="4246111"/>
              <a:ext cx="346075" cy="346075"/>
            </a:xfrm>
            <a:custGeom>
              <a:avLst/>
              <a:gdLst/>
              <a:ahLst/>
              <a:cxnLst/>
              <a:rect l="l" t="t" r="r" b="b"/>
              <a:pathLst>
                <a:path w="346075" h="346075">
                  <a:moveTo>
                    <a:pt x="173415" y="0"/>
                  </a:moveTo>
                  <a:lnTo>
                    <a:pt x="127455" y="6118"/>
                  </a:lnTo>
                  <a:lnTo>
                    <a:pt x="84745" y="24151"/>
                  </a:lnTo>
                  <a:lnTo>
                    <a:pt x="49488" y="51814"/>
                  </a:lnTo>
                  <a:lnTo>
                    <a:pt x="22841" y="87084"/>
                  </a:lnTo>
                  <a:lnTo>
                    <a:pt x="5959" y="127939"/>
                  </a:lnTo>
                  <a:lnTo>
                    <a:pt x="0" y="172355"/>
                  </a:lnTo>
                  <a:lnTo>
                    <a:pt x="6119" y="218310"/>
                  </a:lnTo>
                  <a:lnTo>
                    <a:pt x="24152" y="261025"/>
                  </a:lnTo>
                  <a:lnTo>
                    <a:pt x="51815" y="296285"/>
                  </a:lnTo>
                  <a:lnTo>
                    <a:pt x="87085" y="322934"/>
                  </a:lnTo>
                  <a:lnTo>
                    <a:pt x="127939" y="339817"/>
                  </a:lnTo>
                  <a:lnTo>
                    <a:pt x="172356" y="345777"/>
                  </a:lnTo>
                  <a:lnTo>
                    <a:pt x="218311" y="339658"/>
                  </a:lnTo>
                  <a:lnTo>
                    <a:pt x="261022" y="321624"/>
                  </a:lnTo>
                  <a:lnTo>
                    <a:pt x="296281" y="293961"/>
                  </a:lnTo>
                  <a:lnTo>
                    <a:pt x="322931" y="258691"/>
                  </a:lnTo>
                  <a:lnTo>
                    <a:pt x="339815" y="217837"/>
                  </a:lnTo>
                  <a:lnTo>
                    <a:pt x="345777" y="173421"/>
                  </a:lnTo>
                  <a:lnTo>
                    <a:pt x="339658" y="127465"/>
                  </a:lnTo>
                  <a:lnTo>
                    <a:pt x="321625" y="84754"/>
                  </a:lnTo>
                  <a:lnTo>
                    <a:pt x="293962" y="49495"/>
                  </a:lnTo>
                  <a:lnTo>
                    <a:pt x="258691" y="22845"/>
                  </a:lnTo>
                  <a:lnTo>
                    <a:pt x="217835" y="5961"/>
                  </a:lnTo>
                  <a:lnTo>
                    <a:pt x="173415" y="0"/>
                  </a:lnTo>
                  <a:close/>
                </a:path>
              </a:pathLst>
            </a:custGeom>
            <a:solidFill>
              <a:srgbClr val="B94F17"/>
            </a:solidFill>
          </p:spPr>
          <p:txBody>
            <a:bodyPr wrap="square" lIns="0" tIns="0" rIns="0" bIns="0" rtlCol="0"/>
            <a:lstStyle/>
            <a:p>
              <a:endParaRPr/>
            </a:p>
          </p:txBody>
        </p:sp>
        <p:sp>
          <p:nvSpPr>
            <p:cNvPr id="218" name="object 68">
              <a:extLst>
                <a:ext uri="{FF2B5EF4-FFF2-40B4-BE49-F238E27FC236}">
                  <a16:creationId xmlns:a16="http://schemas.microsoft.com/office/drawing/2014/main" id="{C6B09C45-360A-6F4C-41B2-B565B7992031}"/>
                </a:ext>
              </a:extLst>
            </p:cNvPr>
            <p:cNvSpPr/>
            <p:nvPr/>
          </p:nvSpPr>
          <p:spPr>
            <a:xfrm>
              <a:off x="17172518" y="4530419"/>
              <a:ext cx="674370" cy="871855"/>
            </a:xfrm>
            <a:custGeom>
              <a:avLst/>
              <a:gdLst/>
              <a:ahLst/>
              <a:cxnLst/>
              <a:rect l="l" t="t" r="r" b="b"/>
              <a:pathLst>
                <a:path w="674369" h="871854">
                  <a:moveTo>
                    <a:pt x="284155" y="0"/>
                  </a:moveTo>
                  <a:lnTo>
                    <a:pt x="235811" y="2246"/>
                  </a:lnTo>
                  <a:lnTo>
                    <a:pt x="190129" y="11064"/>
                  </a:lnTo>
                  <a:lnTo>
                    <a:pt x="151785" y="25070"/>
                  </a:lnTo>
                  <a:lnTo>
                    <a:pt x="114005" y="45830"/>
                  </a:lnTo>
                  <a:lnTo>
                    <a:pt x="78687" y="72509"/>
                  </a:lnTo>
                  <a:lnTo>
                    <a:pt x="47729" y="104270"/>
                  </a:lnTo>
                  <a:lnTo>
                    <a:pt x="23030" y="140278"/>
                  </a:lnTo>
                  <a:lnTo>
                    <a:pt x="6487" y="179697"/>
                  </a:lnTo>
                  <a:lnTo>
                    <a:pt x="0" y="221690"/>
                  </a:lnTo>
                  <a:lnTo>
                    <a:pt x="5465" y="265422"/>
                  </a:lnTo>
                  <a:lnTo>
                    <a:pt x="25964" y="339200"/>
                  </a:lnTo>
                  <a:lnTo>
                    <a:pt x="48720" y="412371"/>
                  </a:lnTo>
                  <a:lnTo>
                    <a:pt x="88061" y="528656"/>
                  </a:lnTo>
                  <a:lnTo>
                    <a:pt x="158319" y="731775"/>
                  </a:lnTo>
                  <a:lnTo>
                    <a:pt x="673842" y="871278"/>
                  </a:lnTo>
                  <a:lnTo>
                    <a:pt x="468309" y="116683"/>
                  </a:lnTo>
                  <a:lnTo>
                    <a:pt x="448441" y="73498"/>
                  </a:lnTo>
                  <a:lnTo>
                    <a:pt x="417306" y="41074"/>
                  </a:lnTo>
                  <a:lnTo>
                    <a:pt x="377689" y="18576"/>
                  </a:lnTo>
                  <a:lnTo>
                    <a:pt x="332377" y="5163"/>
                  </a:lnTo>
                  <a:lnTo>
                    <a:pt x="284155" y="0"/>
                  </a:lnTo>
                  <a:close/>
                </a:path>
              </a:pathLst>
            </a:custGeom>
            <a:solidFill>
              <a:srgbClr val="82C6DB"/>
            </a:solidFill>
          </p:spPr>
          <p:txBody>
            <a:bodyPr wrap="square" lIns="0" tIns="0" rIns="0" bIns="0" rtlCol="0"/>
            <a:lstStyle/>
            <a:p>
              <a:endParaRPr/>
            </a:p>
          </p:txBody>
        </p:sp>
        <p:pic>
          <p:nvPicPr>
            <p:cNvPr id="219" name="object 69">
              <a:extLst>
                <a:ext uri="{FF2B5EF4-FFF2-40B4-BE49-F238E27FC236}">
                  <a16:creationId xmlns:a16="http://schemas.microsoft.com/office/drawing/2014/main" id="{CEAC0812-4163-55F7-41C4-DDABE7FA65E0}"/>
                </a:ext>
              </a:extLst>
            </p:cNvPr>
            <p:cNvPicPr/>
            <p:nvPr/>
          </p:nvPicPr>
          <p:blipFill>
            <a:blip r:embed="rId27" cstate="print"/>
            <a:stretch>
              <a:fillRect/>
            </a:stretch>
          </p:blipFill>
          <p:spPr>
            <a:xfrm>
              <a:off x="17169240" y="4446863"/>
              <a:ext cx="227056" cy="226451"/>
            </a:xfrm>
            <a:prstGeom prst="rect">
              <a:avLst/>
            </a:prstGeom>
          </p:spPr>
        </p:pic>
        <p:pic>
          <p:nvPicPr>
            <p:cNvPr id="220" name="object 70">
              <a:extLst>
                <a:ext uri="{FF2B5EF4-FFF2-40B4-BE49-F238E27FC236}">
                  <a16:creationId xmlns:a16="http://schemas.microsoft.com/office/drawing/2014/main" id="{ECEAE263-9092-98AA-E28F-9CF8584A43C1}"/>
                </a:ext>
              </a:extLst>
            </p:cNvPr>
            <p:cNvPicPr/>
            <p:nvPr/>
          </p:nvPicPr>
          <p:blipFill>
            <a:blip r:embed="rId28" cstate="print"/>
            <a:stretch>
              <a:fillRect/>
            </a:stretch>
          </p:blipFill>
          <p:spPr>
            <a:xfrm>
              <a:off x="17555062" y="4988876"/>
              <a:ext cx="135116" cy="273970"/>
            </a:xfrm>
            <a:prstGeom prst="rect">
              <a:avLst/>
            </a:prstGeom>
          </p:spPr>
        </p:pic>
        <p:sp>
          <p:nvSpPr>
            <p:cNvPr id="221" name="object 71">
              <a:extLst>
                <a:ext uri="{FF2B5EF4-FFF2-40B4-BE49-F238E27FC236}">
                  <a16:creationId xmlns:a16="http://schemas.microsoft.com/office/drawing/2014/main" id="{F7BFC5F3-2711-122E-8E37-33BA6A54B571}"/>
                </a:ext>
              </a:extLst>
            </p:cNvPr>
            <p:cNvSpPr/>
            <p:nvPr/>
          </p:nvSpPr>
          <p:spPr>
            <a:xfrm>
              <a:off x="17525249" y="5195552"/>
              <a:ext cx="161925" cy="379095"/>
            </a:xfrm>
            <a:custGeom>
              <a:avLst/>
              <a:gdLst/>
              <a:ahLst/>
              <a:cxnLst/>
              <a:rect l="l" t="t" r="r" b="b"/>
              <a:pathLst>
                <a:path w="161925" h="379095">
                  <a:moveTo>
                    <a:pt x="46710" y="0"/>
                  </a:moveTo>
                  <a:lnTo>
                    <a:pt x="0" y="367925"/>
                  </a:lnTo>
                  <a:lnTo>
                    <a:pt x="44930" y="378574"/>
                  </a:lnTo>
                  <a:lnTo>
                    <a:pt x="161890" y="27287"/>
                  </a:lnTo>
                  <a:lnTo>
                    <a:pt x="46710" y="0"/>
                  </a:lnTo>
                  <a:close/>
                </a:path>
              </a:pathLst>
            </a:custGeom>
            <a:solidFill>
              <a:srgbClr val="B94F17"/>
            </a:solidFill>
          </p:spPr>
          <p:txBody>
            <a:bodyPr wrap="square" lIns="0" tIns="0" rIns="0" bIns="0" rtlCol="0"/>
            <a:lstStyle/>
            <a:p>
              <a:endParaRPr/>
            </a:p>
          </p:txBody>
        </p:sp>
        <p:pic>
          <p:nvPicPr>
            <p:cNvPr id="222" name="object 72">
              <a:extLst>
                <a:ext uri="{FF2B5EF4-FFF2-40B4-BE49-F238E27FC236}">
                  <a16:creationId xmlns:a16="http://schemas.microsoft.com/office/drawing/2014/main" id="{B26EA627-5679-260E-BC2A-D42778A0BFB7}"/>
                </a:ext>
              </a:extLst>
            </p:cNvPr>
            <p:cNvPicPr/>
            <p:nvPr/>
          </p:nvPicPr>
          <p:blipFill>
            <a:blip r:embed="rId29" cstate="print"/>
            <a:stretch>
              <a:fillRect/>
            </a:stretch>
          </p:blipFill>
          <p:spPr>
            <a:xfrm>
              <a:off x="17572229" y="5144898"/>
              <a:ext cx="117321" cy="117320"/>
            </a:xfrm>
            <a:prstGeom prst="rect">
              <a:avLst/>
            </a:prstGeom>
          </p:spPr>
        </p:pic>
        <p:pic>
          <p:nvPicPr>
            <p:cNvPr id="223" name="object 73">
              <a:extLst>
                <a:ext uri="{FF2B5EF4-FFF2-40B4-BE49-F238E27FC236}">
                  <a16:creationId xmlns:a16="http://schemas.microsoft.com/office/drawing/2014/main" id="{39A484E2-A83E-E0F1-F827-4E7DF5281739}"/>
                </a:ext>
              </a:extLst>
            </p:cNvPr>
            <p:cNvPicPr/>
            <p:nvPr/>
          </p:nvPicPr>
          <p:blipFill>
            <a:blip r:embed="rId30" cstate="print"/>
            <a:stretch>
              <a:fillRect/>
            </a:stretch>
          </p:blipFill>
          <p:spPr>
            <a:xfrm>
              <a:off x="17501589" y="5500490"/>
              <a:ext cx="101172" cy="101174"/>
            </a:xfrm>
            <a:prstGeom prst="rect">
              <a:avLst/>
            </a:prstGeom>
          </p:spPr>
        </p:pic>
        <p:sp>
          <p:nvSpPr>
            <p:cNvPr id="224" name="object 74">
              <a:extLst>
                <a:ext uri="{FF2B5EF4-FFF2-40B4-BE49-F238E27FC236}">
                  <a16:creationId xmlns:a16="http://schemas.microsoft.com/office/drawing/2014/main" id="{6475A838-E1C4-4CE8-D81B-76BDECACAA1C}"/>
                </a:ext>
              </a:extLst>
            </p:cNvPr>
            <p:cNvSpPr/>
            <p:nvPr/>
          </p:nvSpPr>
          <p:spPr>
            <a:xfrm>
              <a:off x="17510350" y="4710740"/>
              <a:ext cx="184150" cy="423545"/>
            </a:xfrm>
            <a:custGeom>
              <a:avLst/>
              <a:gdLst/>
              <a:ahLst/>
              <a:cxnLst/>
              <a:rect l="l" t="t" r="r" b="b"/>
              <a:pathLst>
                <a:path w="184150" h="423545">
                  <a:moveTo>
                    <a:pt x="63621" y="0"/>
                  </a:moveTo>
                  <a:lnTo>
                    <a:pt x="35870" y="8957"/>
                  </a:lnTo>
                  <a:lnTo>
                    <a:pt x="14600" y="27355"/>
                  </a:lnTo>
                  <a:lnTo>
                    <a:pt x="1934" y="52466"/>
                  </a:lnTo>
                  <a:lnTo>
                    <a:pt x="0" y="81568"/>
                  </a:lnTo>
                  <a:lnTo>
                    <a:pt x="39967" y="372805"/>
                  </a:lnTo>
                  <a:lnTo>
                    <a:pt x="48117" y="394986"/>
                  </a:lnTo>
                  <a:lnTo>
                    <a:pt x="65550" y="411911"/>
                  </a:lnTo>
                  <a:lnTo>
                    <a:pt x="89748" y="421953"/>
                  </a:lnTo>
                  <a:lnTo>
                    <a:pt x="118195" y="423484"/>
                  </a:lnTo>
                  <a:lnTo>
                    <a:pt x="145623" y="415804"/>
                  </a:lnTo>
                  <a:lnTo>
                    <a:pt x="167056" y="400740"/>
                  </a:lnTo>
                  <a:lnTo>
                    <a:pt x="180390" y="380428"/>
                  </a:lnTo>
                  <a:lnTo>
                    <a:pt x="183523" y="357004"/>
                  </a:lnTo>
                  <a:lnTo>
                    <a:pt x="143032" y="61935"/>
                  </a:lnTo>
                  <a:lnTo>
                    <a:pt x="133847" y="35306"/>
                  </a:lnTo>
                  <a:lnTo>
                    <a:pt x="115911" y="14829"/>
                  </a:lnTo>
                  <a:lnTo>
                    <a:pt x="91682" y="2421"/>
                  </a:lnTo>
                  <a:lnTo>
                    <a:pt x="63621" y="0"/>
                  </a:lnTo>
                  <a:close/>
                </a:path>
              </a:pathLst>
            </a:custGeom>
            <a:solidFill>
              <a:srgbClr val="035A82"/>
            </a:solidFill>
          </p:spPr>
          <p:txBody>
            <a:bodyPr wrap="square" lIns="0" tIns="0" rIns="0" bIns="0" rtlCol="0"/>
            <a:lstStyle/>
            <a:p>
              <a:endParaRPr/>
            </a:p>
          </p:txBody>
        </p:sp>
        <p:sp>
          <p:nvSpPr>
            <p:cNvPr id="225" name="object 75">
              <a:extLst>
                <a:ext uri="{FF2B5EF4-FFF2-40B4-BE49-F238E27FC236}">
                  <a16:creationId xmlns:a16="http://schemas.microsoft.com/office/drawing/2014/main" id="{036712D1-4C98-D0C1-BDE2-EC5DFBD20FDD}"/>
                </a:ext>
              </a:extLst>
            </p:cNvPr>
            <p:cNvSpPr/>
            <p:nvPr/>
          </p:nvSpPr>
          <p:spPr>
            <a:xfrm>
              <a:off x="16943362" y="4233171"/>
              <a:ext cx="403860" cy="267970"/>
            </a:xfrm>
            <a:custGeom>
              <a:avLst/>
              <a:gdLst/>
              <a:ahLst/>
              <a:cxnLst/>
              <a:rect l="l" t="t" r="r" b="b"/>
              <a:pathLst>
                <a:path w="403859" h="267970">
                  <a:moveTo>
                    <a:pt x="224902" y="0"/>
                  </a:moveTo>
                  <a:lnTo>
                    <a:pt x="180555" y="1985"/>
                  </a:lnTo>
                  <a:lnTo>
                    <a:pt x="136624" y="14588"/>
                  </a:lnTo>
                  <a:lnTo>
                    <a:pt x="93743" y="39381"/>
                  </a:lnTo>
                  <a:lnTo>
                    <a:pt x="59626" y="72146"/>
                  </a:lnTo>
                  <a:lnTo>
                    <a:pt x="33286" y="110489"/>
                  </a:lnTo>
                  <a:lnTo>
                    <a:pt x="13739" y="152018"/>
                  </a:lnTo>
                  <a:lnTo>
                    <a:pt x="0" y="194342"/>
                  </a:lnTo>
                  <a:lnTo>
                    <a:pt x="278" y="226472"/>
                  </a:lnTo>
                  <a:lnTo>
                    <a:pt x="15911" y="252422"/>
                  </a:lnTo>
                  <a:lnTo>
                    <a:pt x="42164" y="267553"/>
                  </a:lnTo>
                  <a:lnTo>
                    <a:pt x="74301" y="267230"/>
                  </a:lnTo>
                  <a:lnTo>
                    <a:pt x="254829" y="215514"/>
                  </a:lnTo>
                  <a:lnTo>
                    <a:pt x="259701" y="198094"/>
                  </a:lnTo>
                  <a:lnTo>
                    <a:pt x="269774" y="183193"/>
                  </a:lnTo>
                  <a:lnTo>
                    <a:pt x="284311" y="172121"/>
                  </a:lnTo>
                  <a:lnTo>
                    <a:pt x="302577" y="166186"/>
                  </a:lnTo>
                  <a:lnTo>
                    <a:pt x="320281" y="166490"/>
                  </a:lnTo>
                  <a:lnTo>
                    <a:pt x="360900" y="197159"/>
                  </a:lnTo>
                  <a:lnTo>
                    <a:pt x="366437" y="224338"/>
                  </a:lnTo>
                  <a:lnTo>
                    <a:pt x="365297" y="233137"/>
                  </a:lnTo>
                  <a:lnTo>
                    <a:pt x="397757" y="238320"/>
                  </a:lnTo>
                  <a:lnTo>
                    <a:pt x="402816" y="210839"/>
                  </a:lnTo>
                  <a:lnTo>
                    <a:pt x="403788" y="182535"/>
                  </a:lnTo>
                  <a:lnTo>
                    <a:pt x="400425" y="153805"/>
                  </a:lnTo>
                  <a:lnTo>
                    <a:pt x="371939" y="84353"/>
                  </a:lnTo>
                  <a:lnTo>
                    <a:pt x="343185" y="50808"/>
                  </a:lnTo>
                  <a:lnTo>
                    <a:pt x="307943" y="25104"/>
                  </a:lnTo>
                  <a:lnTo>
                    <a:pt x="267941" y="7937"/>
                  </a:lnTo>
                  <a:lnTo>
                    <a:pt x="224902" y="0"/>
                  </a:lnTo>
                  <a:close/>
                </a:path>
              </a:pathLst>
            </a:custGeom>
            <a:solidFill>
              <a:srgbClr val="464563"/>
            </a:solidFill>
          </p:spPr>
          <p:txBody>
            <a:bodyPr wrap="square" lIns="0" tIns="0" rIns="0" bIns="0" rtlCol="0"/>
            <a:lstStyle/>
            <a:p>
              <a:endParaRPr/>
            </a:p>
          </p:txBody>
        </p:sp>
      </p:grpSp>
      <p:sp>
        <p:nvSpPr>
          <p:cNvPr id="12" name="Marcador de pie de página 11">
            <a:extLst>
              <a:ext uri="{FF2B5EF4-FFF2-40B4-BE49-F238E27FC236}">
                <a16:creationId xmlns:a16="http://schemas.microsoft.com/office/drawing/2014/main" id="{1ACC5C5B-5E0C-897F-54C9-1D842CC0A6D9}"/>
              </a:ext>
            </a:extLst>
          </p:cNvPr>
          <p:cNvSpPr>
            <a:spLocks noGrp="1"/>
          </p:cNvSpPr>
          <p:nvPr>
            <p:ph type="ftr" sz="quarter" idx="10"/>
          </p:nvPr>
        </p:nvSpPr>
        <p:spPr>
          <a:xfrm>
            <a:off x="16376651" y="10759212"/>
            <a:ext cx="3233768" cy="238988"/>
          </a:xfrm>
          <a:prstGeom prst="rect">
            <a:avLst/>
          </a:prstGeom>
        </p:spPr>
        <p:txBody>
          <a:bodyPr/>
          <a:lstStyle>
            <a:lvl1pPr>
              <a:defRPr>
                <a:solidFill>
                  <a:schemeClr val="bg1"/>
                </a:solidFill>
              </a:defRPr>
            </a:lvl1pPr>
          </a:lstStyle>
          <a:p>
            <a:pPr marL="26034">
              <a:spcBef>
                <a:spcPts val="30"/>
              </a:spcBef>
            </a:pPr>
            <a:r>
              <a:rPr lang="es-ES" err="1"/>
              <a:t>Public</a:t>
            </a:r>
            <a:r>
              <a:rPr lang="es-ES"/>
              <a:t> © 2023 Sogeti. </a:t>
            </a:r>
            <a:r>
              <a:rPr lang="es-ES" err="1"/>
              <a:t>All</a:t>
            </a:r>
            <a:r>
              <a:rPr lang="es-ES"/>
              <a:t> </a:t>
            </a:r>
            <a:r>
              <a:rPr lang="es-ES" err="1"/>
              <a:t>rights</a:t>
            </a:r>
            <a:r>
              <a:rPr lang="es-ES"/>
              <a:t> </a:t>
            </a:r>
            <a:r>
              <a:rPr lang="es-ES" err="1"/>
              <a:t>reserved</a:t>
            </a:r>
            <a:endParaRPr lang="es-ES" spc="-10"/>
          </a:p>
        </p:txBody>
      </p:sp>
      <p:sp>
        <p:nvSpPr>
          <p:cNvPr id="3" name="CuadroTexto 2">
            <a:extLst>
              <a:ext uri="{FF2B5EF4-FFF2-40B4-BE49-F238E27FC236}">
                <a16:creationId xmlns:a16="http://schemas.microsoft.com/office/drawing/2014/main" id="{ECF87B06-FEE7-9E0C-A16B-42D52006C092}"/>
              </a:ext>
            </a:extLst>
          </p:cNvPr>
          <p:cNvSpPr txBox="1"/>
          <p:nvPr userDrawn="1"/>
        </p:nvSpPr>
        <p:spPr>
          <a:xfrm>
            <a:off x="755650" y="10845800"/>
            <a:ext cx="7772400" cy="292388"/>
          </a:xfrm>
          <a:prstGeom prst="rect">
            <a:avLst/>
          </a:prstGeom>
          <a:noFill/>
        </p:spPr>
        <p:txBody>
          <a:bodyPr wrap="square" rtlCol="0">
            <a:spAutoFit/>
          </a:bodyPr>
          <a:lstStyle/>
          <a:p>
            <a:r>
              <a:rPr lang="es-ES" sz="1300" b="0" i="0">
                <a:solidFill>
                  <a:schemeClr val="bg1"/>
                </a:solidFill>
                <a:latin typeface="Ubuntu Medium" panose="020B0504030602030204" pitchFamily="34" charset="0"/>
              </a:rPr>
              <a:t>#FlourishingDigitalBusinessWithQuality </a:t>
            </a:r>
            <a:r>
              <a:rPr lang="es-ES" sz="1300" b="1" i="0">
                <a:solidFill>
                  <a:schemeClr val="bg1"/>
                </a:solidFill>
                <a:latin typeface="Ubuntu" panose="020B0504030602030204" pitchFamily="34" charset="0"/>
              </a:rPr>
              <a:t> ·</a:t>
            </a:r>
            <a:r>
              <a:rPr lang="es-ES" sz="1300" b="0" i="0">
                <a:solidFill>
                  <a:schemeClr val="bg1"/>
                </a:solidFill>
                <a:latin typeface="Ubuntu Medium" panose="020B0504030602030204" pitchFamily="34" charset="0"/>
              </a:rPr>
              <a:t>   </a:t>
            </a:r>
            <a:r>
              <a:rPr lang="es-ES" sz="1300" b="0" i="0" err="1">
                <a:solidFill>
                  <a:schemeClr val="bg1"/>
                </a:solidFill>
                <a:latin typeface="Ubuntu Medium" panose="020B0504030602030204" pitchFamily="34" charset="0"/>
              </a:rPr>
              <a:t>by</a:t>
            </a:r>
            <a:r>
              <a:rPr lang="es-ES" sz="1300" b="0" i="0">
                <a:solidFill>
                  <a:schemeClr val="bg1"/>
                </a:solidFill>
                <a:latin typeface="Ubuntu Medium" panose="020B0504030602030204" pitchFamily="34" charset="0"/>
              </a:rPr>
              <a:t> </a:t>
            </a:r>
            <a:r>
              <a:rPr lang="es-ES" sz="1300" b="1" i="0">
                <a:solidFill>
                  <a:schemeClr val="bg1"/>
                </a:solidFill>
                <a:latin typeface="Ubuntu" panose="020B0504030602030204" pitchFamily="34" charset="0"/>
              </a:rPr>
              <a:t>Sogeti España</a:t>
            </a:r>
          </a:p>
        </p:txBody>
      </p:sp>
      <p:sp>
        <p:nvSpPr>
          <p:cNvPr id="4" name="Forma libre 3">
            <a:extLst>
              <a:ext uri="{FF2B5EF4-FFF2-40B4-BE49-F238E27FC236}">
                <a16:creationId xmlns:a16="http://schemas.microsoft.com/office/drawing/2014/main" id="{24D20E41-6C1D-E750-BABB-0E257BE2470C}"/>
              </a:ext>
            </a:extLst>
          </p:cNvPr>
          <p:cNvSpPr/>
          <p:nvPr userDrawn="1"/>
        </p:nvSpPr>
        <p:spPr>
          <a:xfrm flipV="1">
            <a:off x="755650" y="10384024"/>
            <a:ext cx="2362200" cy="385576"/>
          </a:xfrm>
          <a:custGeom>
            <a:avLst/>
            <a:gdLst/>
            <a:ahLst/>
            <a:cxnLst/>
            <a:rect l="l" t="t" r="r" b="b"/>
            <a:pathLst>
              <a:path w="4876802" h="796029">
                <a:moveTo>
                  <a:pt x="2572782" y="405299"/>
                </a:moveTo>
                <a:cubicBezTo>
                  <a:pt x="2589609" y="405299"/>
                  <a:pt x="2601809" y="398820"/>
                  <a:pt x="2609382" y="385863"/>
                </a:cubicBezTo>
                <a:cubicBezTo>
                  <a:pt x="2616954" y="372906"/>
                  <a:pt x="2620740" y="355826"/>
                  <a:pt x="2620740" y="334623"/>
                </a:cubicBezTo>
                <a:cubicBezTo>
                  <a:pt x="2620740" y="313420"/>
                  <a:pt x="2616618" y="296256"/>
                  <a:pt x="2608372" y="283131"/>
                </a:cubicBezTo>
                <a:cubicBezTo>
                  <a:pt x="2600126" y="270006"/>
                  <a:pt x="2587927" y="263443"/>
                  <a:pt x="2571772" y="263443"/>
                </a:cubicBezTo>
                <a:cubicBezTo>
                  <a:pt x="2554945" y="263443"/>
                  <a:pt x="2542744" y="270006"/>
                  <a:pt x="2535172" y="283131"/>
                </a:cubicBezTo>
                <a:cubicBezTo>
                  <a:pt x="2527600" y="296256"/>
                  <a:pt x="2523814" y="313420"/>
                  <a:pt x="2523814" y="334623"/>
                </a:cubicBezTo>
                <a:cubicBezTo>
                  <a:pt x="2523814" y="355826"/>
                  <a:pt x="2527937" y="372906"/>
                  <a:pt x="2536182" y="385863"/>
                </a:cubicBezTo>
                <a:cubicBezTo>
                  <a:pt x="2544428" y="398820"/>
                  <a:pt x="2556628" y="405299"/>
                  <a:pt x="2572782" y="405299"/>
                </a:cubicBezTo>
                <a:close/>
                <a:moveTo>
                  <a:pt x="1810782" y="405299"/>
                </a:moveTo>
                <a:cubicBezTo>
                  <a:pt x="1827610" y="405299"/>
                  <a:pt x="1839810" y="398820"/>
                  <a:pt x="1847382" y="385863"/>
                </a:cubicBezTo>
                <a:cubicBezTo>
                  <a:pt x="1854954" y="372906"/>
                  <a:pt x="1858740" y="355826"/>
                  <a:pt x="1858740" y="334623"/>
                </a:cubicBezTo>
                <a:cubicBezTo>
                  <a:pt x="1858740" y="313420"/>
                  <a:pt x="1854618" y="296256"/>
                  <a:pt x="1846372" y="283131"/>
                </a:cubicBezTo>
                <a:cubicBezTo>
                  <a:pt x="1838127" y="270006"/>
                  <a:pt x="1825927" y="263443"/>
                  <a:pt x="1809772" y="263443"/>
                </a:cubicBezTo>
                <a:cubicBezTo>
                  <a:pt x="1792945" y="263443"/>
                  <a:pt x="1780745" y="270006"/>
                  <a:pt x="1773173" y="283131"/>
                </a:cubicBezTo>
                <a:cubicBezTo>
                  <a:pt x="1765600" y="296256"/>
                  <a:pt x="1761814" y="313420"/>
                  <a:pt x="1761814" y="334623"/>
                </a:cubicBezTo>
                <a:cubicBezTo>
                  <a:pt x="1761814" y="355826"/>
                  <a:pt x="1765937" y="372906"/>
                  <a:pt x="1774182" y="385863"/>
                </a:cubicBezTo>
                <a:cubicBezTo>
                  <a:pt x="1782428" y="398820"/>
                  <a:pt x="1794628" y="405299"/>
                  <a:pt x="1810782" y="405299"/>
                </a:cubicBezTo>
                <a:close/>
                <a:moveTo>
                  <a:pt x="810657" y="405299"/>
                </a:moveTo>
                <a:cubicBezTo>
                  <a:pt x="827485" y="405299"/>
                  <a:pt x="839684" y="398820"/>
                  <a:pt x="847257" y="385863"/>
                </a:cubicBezTo>
                <a:cubicBezTo>
                  <a:pt x="854829" y="372906"/>
                  <a:pt x="858615" y="355826"/>
                  <a:pt x="858616" y="334623"/>
                </a:cubicBezTo>
                <a:cubicBezTo>
                  <a:pt x="858615" y="313420"/>
                  <a:pt x="854493" y="296256"/>
                  <a:pt x="846247" y="283131"/>
                </a:cubicBezTo>
                <a:cubicBezTo>
                  <a:pt x="838002" y="270006"/>
                  <a:pt x="825802" y="263443"/>
                  <a:pt x="809647" y="263443"/>
                </a:cubicBezTo>
                <a:cubicBezTo>
                  <a:pt x="792820" y="263443"/>
                  <a:pt x="780620" y="270006"/>
                  <a:pt x="773048" y="283131"/>
                </a:cubicBezTo>
                <a:cubicBezTo>
                  <a:pt x="765475" y="296256"/>
                  <a:pt x="761689" y="313420"/>
                  <a:pt x="761689" y="334623"/>
                </a:cubicBezTo>
                <a:cubicBezTo>
                  <a:pt x="761689" y="355826"/>
                  <a:pt x="765812" y="372906"/>
                  <a:pt x="774057" y="385863"/>
                </a:cubicBezTo>
                <a:cubicBezTo>
                  <a:pt x="782303" y="398820"/>
                  <a:pt x="794503" y="405299"/>
                  <a:pt x="810657" y="405299"/>
                </a:cubicBezTo>
                <a:close/>
                <a:moveTo>
                  <a:pt x="3325256" y="411861"/>
                </a:moveTo>
                <a:cubicBezTo>
                  <a:pt x="3316506" y="411861"/>
                  <a:pt x="3309608" y="408496"/>
                  <a:pt x="3304560" y="401765"/>
                </a:cubicBezTo>
                <a:cubicBezTo>
                  <a:pt x="3299512" y="395034"/>
                  <a:pt x="3296988" y="387125"/>
                  <a:pt x="3296988" y="378038"/>
                </a:cubicBezTo>
                <a:cubicBezTo>
                  <a:pt x="3296988" y="368951"/>
                  <a:pt x="3299512" y="361126"/>
                  <a:pt x="3304560" y="354564"/>
                </a:cubicBezTo>
                <a:cubicBezTo>
                  <a:pt x="3309608" y="348001"/>
                  <a:pt x="3316506" y="344720"/>
                  <a:pt x="3325256" y="344720"/>
                </a:cubicBezTo>
                <a:cubicBezTo>
                  <a:pt x="3333334" y="344720"/>
                  <a:pt x="3339980" y="348001"/>
                  <a:pt x="3345198" y="354564"/>
                </a:cubicBezTo>
                <a:cubicBezTo>
                  <a:pt x="3350414" y="361126"/>
                  <a:pt x="3353022" y="368951"/>
                  <a:pt x="3353022" y="378038"/>
                </a:cubicBezTo>
                <a:cubicBezTo>
                  <a:pt x="3353022" y="387125"/>
                  <a:pt x="3350414" y="395034"/>
                  <a:pt x="3345198" y="401765"/>
                </a:cubicBezTo>
                <a:cubicBezTo>
                  <a:pt x="3339980" y="408496"/>
                  <a:pt x="3333334" y="411861"/>
                  <a:pt x="3325256" y="411861"/>
                </a:cubicBezTo>
                <a:close/>
                <a:moveTo>
                  <a:pt x="2207070" y="453257"/>
                </a:moveTo>
                <a:lnTo>
                  <a:pt x="2207070" y="401765"/>
                </a:lnTo>
                <a:lnTo>
                  <a:pt x="2272697" y="401765"/>
                </a:lnTo>
                <a:lnTo>
                  <a:pt x="2272697" y="314430"/>
                </a:lnTo>
                <a:cubicBezTo>
                  <a:pt x="2272697" y="297939"/>
                  <a:pt x="2274043" y="283299"/>
                  <a:pt x="2276735" y="270510"/>
                </a:cubicBezTo>
                <a:cubicBezTo>
                  <a:pt x="2279428" y="257721"/>
                  <a:pt x="2284055" y="246868"/>
                  <a:pt x="2290618" y="237949"/>
                </a:cubicBezTo>
                <a:cubicBezTo>
                  <a:pt x="2297181" y="229031"/>
                  <a:pt x="2305931" y="222215"/>
                  <a:pt x="2316869" y="217504"/>
                </a:cubicBezTo>
                <a:cubicBezTo>
                  <a:pt x="2327807" y="212792"/>
                  <a:pt x="2341353" y="210436"/>
                  <a:pt x="2357508" y="210436"/>
                </a:cubicBezTo>
                <a:cubicBezTo>
                  <a:pt x="2366931" y="210436"/>
                  <a:pt x="2377280" y="211530"/>
                  <a:pt x="2388554" y="213718"/>
                </a:cubicBezTo>
                <a:cubicBezTo>
                  <a:pt x="2399829" y="215905"/>
                  <a:pt x="2411860" y="220028"/>
                  <a:pt x="2424649" y="226086"/>
                </a:cubicBezTo>
                <a:lnTo>
                  <a:pt x="2416572" y="276063"/>
                </a:lnTo>
                <a:cubicBezTo>
                  <a:pt x="2406475" y="271352"/>
                  <a:pt x="2397388" y="268239"/>
                  <a:pt x="2389312" y="266724"/>
                </a:cubicBezTo>
                <a:cubicBezTo>
                  <a:pt x="2381234" y="265210"/>
                  <a:pt x="2374335" y="264452"/>
                  <a:pt x="2368614" y="264452"/>
                </a:cubicBezTo>
                <a:cubicBezTo>
                  <a:pt x="2356498" y="264452"/>
                  <a:pt x="2347832" y="267902"/>
                  <a:pt x="2342615" y="274801"/>
                </a:cubicBezTo>
                <a:cubicBezTo>
                  <a:pt x="2337398" y="281701"/>
                  <a:pt x="2334790" y="292218"/>
                  <a:pt x="2334790" y="306353"/>
                </a:cubicBezTo>
                <a:lnTo>
                  <a:pt x="2334790" y="453257"/>
                </a:lnTo>
                <a:close/>
                <a:moveTo>
                  <a:pt x="1088092" y="457800"/>
                </a:moveTo>
                <a:cubicBezTo>
                  <a:pt x="1064870" y="457800"/>
                  <a:pt x="1044593" y="455949"/>
                  <a:pt x="1027260" y="452247"/>
                </a:cubicBezTo>
                <a:cubicBezTo>
                  <a:pt x="1009928" y="448545"/>
                  <a:pt x="993016" y="443665"/>
                  <a:pt x="976526" y="437607"/>
                </a:cubicBezTo>
                <a:lnTo>
                  <a:pt x="976526" y="215989"/>
                </a:lnTo>
                <a:lnTo>
                  <a:pt x="1039124" y="215989"/>
                </a:lnTo>
                <a:lnTo>
                  <a:pt x="1039124" y="392173"/>
                </a:lnTo>
                <a:cubicBezTo>
                  <a:pt x="1047874" y="394529"/>
                  <a:pt x="1056456" y="396128"/>
                  <a:pt x="1064870" y="396969"/>
                </a:cubicBezTo>
                <a:cubicBezTo>
                  <a:pt x="1073284" y="397810"/>
                  <a:pt x="1081866" y="398231"/>
                  <a:pt x="1090616" y="398231"/>
                </a:cubicBezTo>
                <a:cubicBezTo>
                  <a:pt x="1094318" y="398231"/>
                  <a:pt x="1098861" y="398063"/>
                  <a:pt x="1104246" y="397726"/>
                </a:cubicBezTo>
                <a:cubicBezTo>
                  <a:pt x="1109631" y="397390"/>
                  <a:pt x="1115184" y="396801"/>
                  <a:pt x="1120905" y="395959"/>
                </a:cubicBezTo>
                <a:cubicBezTo>
                  <a:pt x="1126627" y="395118"/>
                  <a:pt x="1132264" y="394192"/>
                  <a:pt x="1137817" y="393183"/>
                </a:cubicBezTo>
                <a:cubicBezTo>
                  <a:pt x="1143370" y="392173"/>
                  <a:pt x="1148166" y="391164"/>
                  <a:pt x="1152205" y="390154"/>
                </a:cubicBezTo>
                <a:lnTo>
                  <a:pt x="1163311" y="447704"/>
                </a:lnTo>
                <a:cubicBezTo>
                  <a:pt x="1157589" y="449723"/>
                  <a:pt x="1151111" y="451322"/>
                  <a:pt x="1143875" y="452500"/>
                </a:cubicBezTo>
                <a:cubicBezTo>
                  <a:pt x="1136639" y="453678"/>
                  <a:pt x="1129487" y="454687"/>
                  <a:pt x="1122420" y="455529"/>
                </a:cubicBezTo>
                <a:cubicBezTo>
                  <a:pt x="1115352" y="456370"/>
                  <a:pt x="1108706" y="456959"/>
                  <a:pt x="1102479" y="457296"/>
                </a:cubicBezTo>
                <a:cubicBezTo>
                  <a:pt x="1096253" y="457632"/>
                  <a:pt x="1091457" y="457800"/>
                  <a:pt x="1088092" y="457800"/>
                </a:cubicBezTo>
                <a:close/>
                <a:moveTo>
                  <a:pt x="2572782" y="459315"/>
                </a:moveTo>
                <a:cubicBezTo>
                  <a:pt x="2556628" y="459315"/>
                  <a:pt x="2541651" y="456370"/>
                  <a:pt x="2527852" y="450480"/>
                </a:cubicBezTo>
                <a:cubicBezTo>
                  <a:pt x="2514054" y="444591"/>
                  <a:pt x="2502190" y="436177"/>
                  <a:pt x="2492262" y="425239"/>
                </a:cubicBezTo>
                <a:cubicBezTo>
                  <a:pt x="2482334" y="414301"/>
                  <a:pt x="2474594" y="401176"/>
                  <a:pt x="2469040" y="385863"/>
                </a:cubicBezTo>
                <a:cubicBezTo>
                  <a:pt x="2463487" y="370550"/>
                  <a:pt x="2460711" y="353638"/>
                  <a:pt x="2460711" y="335128"/>
                </a:cubicBezTo>
                <a:cubicBezTo>
                  <a:pt x="2460711" y="316281"/>
                  <a:pt x="2463403" y="299201"/>
                  <a:pt x="2468788" y="283888"/>
                </a:cubicBezTo>
                <a:cubicBezTo>
                  <a:pt x="2474173" y="268575"/>
                  <a:pt x="2481829" y="255366"/>
                  <a:pt x="2491758" y="244259"/>
                </a:cubicBezTo>
                <a:cubicBezTo>
                  <a:pt x="2501686" y="233153"/>
                  <a:pt x="2513465" y="224571"/>
                  <a:pt x="2527095" y="218513"/>
                </a:cubicBezTo>
                <a:cubicBezTo>
                  <a:pt x="2540726" y="212455"/>
                  <a:pt x="2555954" y="209427"/>
                  <a:pt x="2572782" y="209427"/>
                </a:cubicBezTo>
                <a:cubicBezTo>
                  <a:pt x="2589609" y="209427"/>
                  <a:pt x="2604838" y="212455"/>
                  <a:pt x="2618468" y="218513"/>
                </a:cubicBezTo>
                <a:cubicBezTo>
                  <a:pt x="2632098" y="224571"/>
                  <a:pt x="2643794" y="233153"/>
                  <a:pt x="2653554" y="244259"/>
                </a:cubicBezTo>
                <a:cubicBezTo>
                  <a:pt x="2663314" y="255366"/>
                  <a:pt x="2670886" y="268575"/>
                  <a:pt x="2676271" y="283888"/>
                </a:cubicBezTo>
                <a:cubicBezTo>
                  <a:pt x="2681656" y="299201"/>
                  <a:pt x="2684348" y="316281"/>
                  <a:pt x="2684348" y="335128"/>
                </a:cubicBezTo>
                <a:cubicBezTo>
                  <a:pt x="2684348" y="353638"/>
                  <a:pt x="2681656" y="370550"/>
                  <a:pt x="2676271" y="385863"/>
                </a:cubicBezTo>
                <a:cubicBezTo>
                  <a:pt x="2670886" y="401176"/>
                  <a:pt x="2663230" y="414301"/>
                  <a:pt x="2653302" y="425239"/>
                </a:cubicBezTo>
                <a:cubicBezTo>
                  <a:pt x="2643373" y="436177"/>
                  <a:pt x="2631594" y="444591"/>
                  <a:pt x="2617964" y="450480"/>
                </a:cubicBezTo>
                <a:cubicBezTo>
                  <a:pt x="2604334" y="456370"/>
                  <a:pt x="2589273" y="459315"/>
                  <a:pt x="2572782" y="459315"/>
                </a:cubicBezTo>
                <a:close/>
                <a:moveTo>
                  <a:pt x="1810782" y="459315"/>
                </a:moveTo>
                <a:cubicBezTo>
                  <a:pt x="1794628" y="459315"/>
                  <a:pt x="1779651" y="456370"/>
                  <a:pt x="1765853" y="450480"/>
                </a:cubicBezTo>
                <a:cubicBezTo>
                  <a:pt x="1752054" y="444591"/>
                  <a:pt x="1740191" y="436177"/>
                  <a:pt x="1730262" y="425239"/>
                </a:cubicBezTo>
                <a:cubicBezTo>
                  <a:pt x="1720334" y="414301"/>
                  <a:pt x="1712594" y="401176"/>
                  <a:pt x="1707040" y="385863"/>
                </a:cubicBezTo>
                <a:cubicBezTo>
                  <a:pt x="1701488" y="370550"/>
                  <a:pt x="1698711" y="353638"/>
                  <a:pt x="1698711" y="335128"/>
                </a:cubicBezTo>
                <a:cubicBezTo>
                  <a:pt x="1698711" y="316281"/>
                  <a:pt x="1701403" y="299201"/>
                  <a:pt x="1706788" y="283888"/>
                </a:cubicBezTo>
                <a:cubicBezTo>
                  <a:pt x="1712173" y="268575"/>
                  <a:pt x="1719829" y="255366"/>
                  <a:pt x="1729758" y="244259"/>
                </a:cubicBezTo>
                <a:cubicBezTo>
                  <a:pt x="1739686" y="233153"/>
                  <a:pt x="1751465" y="224571"/>
                  <a:pt x="1765095" y="218513"/>
                </a:cubicBezTo>
                <a:cubicBezTo>
                  <a:pt x="1778726" y="212455"/>
                  <a:pt x="1793954" y="209427"/>
                  <a:pt x="1810782" y="209427"/>
                </a:cubicBezTo>
                <a:cubicBezTo>
                  <a:pt x="1827610" y="209427"/>
                  <a:pt x="1842838" y="212455"/>
                  <a:pt x="1856469" y="218513"/>
                </a:cubicBezTo>
                <a:cubicBezTo>
                  <a:pt x="1870099" y="224571"/>
                  <a:pt x="1881794" y="233153"/>
                  <a:pt x="1891554" y="244259"/>
                </a:cubicBezTo>
                <a:cubicBezTo>
                  <a:pt x="1901314" y="255366"/>
                  <a:pt x="1908886" y="268575"/>
                  <a:pt x="1914271" y="283888"/>
                </a:cubicBezTo>
                <a:cubicBezTo>
                  <a:pt x="1919656" y="299201"/>
                  <a:pt x="1922348" y="316281"/>
                  <a:pt x="1922348" y="335128"/>
                </a:cubicBezTo>
                <a:cubicBezTo>
                  <a:pt x="1922348" y="353638"/>
                  <a:pt x="1919656" y="370550"/>
                  <a:pt x="1914271" y="385863"/>
                </a:cubicBezTo>
                <a:cubicBezTo>
                  <a:pt x="1908886" y="401176"/>
                  <a:pt x="1901230" y="414301"/>
                  <a:pt x="1891302" y="425239"/>
                </a:cubicBezTo>
                <a:cubicBezTo>
                  <a:pt x="1881374" y="436177"/>
                  <a:pt x="1869594" y="444591"/>
                  <a:pt x="1855964" y="450480"/>
                </a:cubicBezTo>
                <a:cubicBezTo>
                  <a:pt x="1842334" y="456370"/>
                  <a:pt x="1827273" y="459315"/>
                  <a:pt x="1810782" y="459315"/>
                </a:cubicBezTo>
                <a:close/>
                <a:moveTo>
                  <a:pt x="810657" y="459315"/>
                </a:moveTo>
                <a:cubicBezTo>
                  <a:pt x="794503" y="459315"/>
                  <a:pt x="779526" y="456370"/>
                  <a:pt x="765728" y="450480"/>
                </a:cubicBezTo>
                <a:cubicBezTo>
                  <a:pt x="751929" y="444591"/>
                  <a:pt x="740066" y="436177"/>
                  <a:pt x="730138" y="425239"/>
                </a:cubicBezTo>
                <a:cubicBezTo>
                  <a:pt x="720209" y="414301"/>
                  <a:pt x="712469" y="401176"/>
                  <a:pt x="706916" y="385863"/>
                </a:cubicBezTo>
                <a:cubicBezTo>
                  <a:pt x="701362" y="370550"/>
                  <a:pt x="698586" y="353638"/>
                  <a:pt x="698586" y="335128"/>
                </a:cubicBezTo>
                <a:cubicBezTo>
                  <a:pt x="698586" y="316281"/>
                  <a:pt x="701278" y="299201"/>
                  <a:pt x="706663" y="283888"/>
                </a:cubicBezTo>
                <a:cubicBezTo>
                  <a:pt x="712048" y="268575"/>
                  <a:pt x="719704" y="255366"/>
                  <a:pt x="729633" y="244259"/>
                </a:cubicBezTo>
                <a:cubicBezTo>
                  <a:pt x="739561" y="233153"/>
                  <a:pt x="751340" y="224571"/>
                  <a:pt x="764970" y="218513"/>
                </a:cubicBezTo>
                <a:cubicBezTo>
                  <a:pt x="778601" y="212455"/>
                  <a:pt x="793830" y="209427"/>
                  <a:pt x="810657" y="209427"/>
                </a:cubicBezTo>
                <a:cubicBezTo>
                  <a:pt x="827485" y="209427"/>
                  <a:pt x="842713" y="212455"/>
                  <a:pt x="856344" y="218513"/>
                </a:cubicBezTo>
                <a:cubicBezTo>
                  <a:pt x="869974" y="224571"/>
                  <a:pt x="881669" y="233153"/>
                  <a:pt x="891429" y="244259"/>
                </a:cubicBezTo>
                <a:cubicBezTo>
                  <a:pt x="901189" y="255366"/>
                  <a:pt x="908761" y="268575"/>
                  <a:pt x="914146" y="283888"/>
                </a:cubicBezTo>
                <a:cubicBezTo>
                  <a:pt x="919531" y="299201"/>
                  <a:pt x="922223" y="316281"/>
                  <a:pt x="922223" y="335128"/>
                </a:cubicBezTo>
                <a:cubicBezTo>
                  <a:pt x="922223" y="353638"/>
                  <a:pt x="919531" y="370550"/>
                  <a:pt x="914146" y="385863"/>
                </a:cubicBezTo>
                <a:cubicBezTo>
                  <a:pt x="908761" y="401176"/>
                  <a:pt x="901105" y="414301"/>
                  <a:pt x="891177" y="425239"/>
                </a:cubicBezTo>
                <a:cubicBezTo>
                  <a:pt x="881248" y="436177"/>
                  <a:pt x="869469" y="444591"/>
                  <a:pt x="855839" y="450480"/>
                </a:cubicBezTo>
                <a:cubicBezTo>
                  <a:pt x="842209" y="456370"/>
                  <a:pt x="827148" y="459315"/>
                  <a:pt x="810657" y="459315"/>
                </a:cubicBezTo>
                <a:close/>
                <a:moveTo>
                  <a:pt x="546919" y="477993"/>
                </a:moveTo>
                <a:cubicBezTo>
                  <a:pt x="563410" y="477993"/>
                  <a:pt x="576620" y="474207"/>
                  <a:pt x="586548" y="466635"/>
                </a:cubicBezTo>
                <a:cubicBezTo>
                  <a:pt x="596476" y="459062"/>
                  <a:pt x="601441" y="446189"/>
                  <a:pt x="601441" y="428016"/>
                </a:cubicBezTo>
                <a:cubicBezTo>
                  <a:pt x="601441" y="408832"/>
                  <a:pt x="596392" y="395286"/>
                  <a:pt x="586296" y="387377"/>
                </a:cubicBezTo>
                <a:cubicBezTo>
                  <a:pt x="576199" y="379468"/>
                  <a:pt x="561223" y="375514"/>
                  <a:pt x="541366" y="375514"/>
                </a:cubicBezTo>
                <a:lnTo>
                  <a:pt x="516125" y="375514"/>
                </a:lnTo>
                <a:lnTo>
                  <a:pt x="516125" y="476479"/>
                </a:lnTo>
                <a:cubicBezTo>
                  <a:pt x="519827" y="477152"/>
                  <a:pt x="524960" y="477573"/>
                  <a:pt x="531522" y="477741"/>
                </a:cubicBezTo>
                <a:cubicBezTo>
                  <a:pt x="538085" y="477909"/>
                  <a:pt x="543217" y="477993"/>
                  <a:pt x="546919" y="477993"/>
                </a:cubicBezTo>
                <a:close/>
                <a:moveTo>
                  <a:pt x="3324752" y="482537"/>
                </a:moveTo>
                <a:cubicBezTo>
                  <a:pt x="3341916" y="482537"/>
                  <a:pt x="3354958" y="473198"/>
                  <a:pt x="3363876" y="454519"/>
                </a:cubicBezTo>
                <a:cubicBezTo>
                  <a:pt x="3372794" y="435841"/>
                  <a:pt x="3377254" y="408664"/>
                  <a:pt x="3377254" y="372990"/>
                </a:cubicBezTo>
                <a:cubicBezTo>
                  <a:pt x="3377254" y="336979"/>
                  <a:pt x="3372794" y="309634"/>
                  <a:pt x="3363876" y="290956"/>
                </a:cubicBezTo>
                <a:cubicBezTo>
                  <a:pt x="3354958" y="272277"/>
                  <a:pt x="3341916" y="262938"/>
                  <a:pt x="3324752" y="262938"/>
                </a:cubicBezTo>
                <a:cubicBezTo>
                  <a:pt x="3307924" y="262938"/>
                  <a:pt x="3294968" y="272277"/>
                  <a:pt x="3285880" y="290956"/>
                </a:cubicBezTo>
                <a:cubicBezTo>
                  <a:pt x="3276794" y="309634"/>
                  <a:pt x="3272250" y="336979"/>
                  <a:pt x="3272250" y="372990"/>
                </a:cubicBezTo>
                <a:cubicBezTo>
                  <a:pt x="3272250" y="408664"/>
                  <a:pt x="3276794" y="435841"/>
                  <a:pt x="3285880" y="454519"/>
                </a:cubicBezTo>
                <a:cubicBezTo>
                  <a:pt x="3294968" y="473198"/>
                  <a:pt x="3307924" y="482537"/>
                  <a:pt x="3324752" y="482537"/>
                </a:cubicBezTo>
                <a:close/>
                <a:moveTo>
                  <a:pt x="1323054" y="522923"/>
                </a:moveTo>
                <a:lnTo>
                  <a:pt x="1260961" y="512826"/>
                </a:lnTo>
                <a:lnTo>
                  <a:pt x="1260961" y="453257"/>
                </a:lnTo>
                <a:lnTo>
                  <a:pt x="1206945" y="453257"/>
                </a:lnTo>
                <a:lnTo>
                  <a:pt x="1206945" y="401765"/>
                </a:lnTo>
                <a:lnTo>
                  <a:pt x="1260961" y="401765"/>
                </a:lnTo>
                <a:lnTo>
                  <a:pt x="1260961" y="304334"/>
                </a:lnTo>
                <a:cubicBezTo>
                  <a:pt x="1260961" y="284477"/>
                  <a:pt x="1262980" y="268407"/>
                  <a:pt x="1267019" y="256123"/>
                </a:cubicBezTo>
                <a:cubicBezTo>
                  <a:pt x="1271057" y="243839"/>
                  <a:pt x="1276947" y="234331"/>
                  <a:pt x="1284688" y="227600"/>
                </a:cubicBezTo>
                <a:cubicBezTo>
                  <a:pt x="1292428" y="220869"/>
                  <a:pt x="1301852" y="216326"/>
                  <a:pt x="1312958" y="213970"/>
                </a:cubicBezTo>
                <a:cubicBezTo>
                  <a:pt x="1324064" y="211614"/>
                  <a:pt x="1336853" y="210436"/>
                  <a:pt x="1351325" y="210436"/>
                </a:cubicBezTo>
                <a:cubicBezTo>
                  <a:pt x="1363777" y="210436"/>
                  <a:pt x="1376650" y="211446"/>
                  <a:pt x="1389944" y="213465"/>
                </a:cubicBezTo>
                <a:cubicBezTo>
                  <a:pt x="1403238" y="215484"/>
                  <a:pt x="1415606" y="218850"/>
                  <a:pt x="1427048" y="223562"/>
                </a:cubicBezTo>
                <a:lnTo>
                  <a:pt x="1418466" y="277073"/>
                </a:lnTo>
                <a:cubicBezTo>
                  <a:pt x="1412745" y="274381"/>
                  <a:pt x="1407444" y="272193"/>
                  <a:pt x="1402564" y="270510"/>
                </a:cubicBezTo>
                <a:cubicBezTo>
                  <a:pt x="1397684" y="268828"/>
                  <a:pt x="1392973" y="267566"/>
                  <a:pt x="1388429" y="266724"/>
                </a:cubicBezTo>
                <a:cubicBezTo>
                  <a:pt x="1383886" y="265883"/>
                  <a:pt x="1379174" y="265294"/>
                  <a:pt x="1374294" y="264957"/>
                </a:cubicBezTo>
                <a:cubicBezTo>
                  <a:pt x="1369414" y="264621"/>
                  <a:pt x="1364114" y="264452"/>
                  <a:pt x="1358392" y="264452"/>
                </a:cubicBezTo>
                <a:cubicBezTo>
                  <a:pt x="1353007" y="264452"/>
                  <a:pt x="1348127" y="264957"/>
                  <a:pt x="1343752" y="265967"/>
                </a:cubicBezTo>
                <a:cubicBezTo>
                  <a:pt x="1339377" y="266977"/>
                  <a:pt x="1335675" y="268996"/>
                  <a:pt x="1332646" y="272025"/>
                </a:cubicBezTo>
                <a:cubicBezTo>
                  <a:pt x="1329617" y="275054"/>
                  <a:pt x="1327261" y="279261"/>
                  <a:pt x="1325579" y="284645"/>
                </a:cubicBezTo>
                <a:cubicBezTo>
                  <a:pt x="1323896" y="290030"/>
                  <a:pt x="1323054" y="297098"/>
                  <a:pt x="1323054" y="305848"/>
                </a:cubicBezTo>
                <a:lnTo>
                  <a:pt x="1323054" y="401765"/>
                </a:lnTo>
                <a:lnTo>
                  <a:pt x="1422505" y="401765"/>
                </a:lnTo>
                <a:lnTo>
                  <a:pt x="1422505" y="453257"/>
                </a:lnTo>
                <a:lnTo>
                  <a:pt x="1323054" y="453257"/>
                </a:lnTo>
                <a:close/>
                <a:moveTo>
                  <a:pt x="539852" y="532010"/>
                </a:moveTo>
                <a:cubicBezTo>
                  <a:pt x="534131" y="532010"/>
                  <a:pt x="527568" y="531841"/>
                  <a:pt x="520164" y="531505"/>
                </a:cubicBezTo>
                <a:cubicBezTo>
                  <a:pt x="512760" y="531168"/>
                  <a:pt x="505187" y="530748"/>
                  <a:pt x="497447" y="530243"/>
                </a:cubicBezTo>
                <a:cubicBezTo>
                  <a:pt x="489706" y="529738"/>
                  <a:pt x="482049" y="528981"/>
                  <a:pt x="474477" y="527971"/>
                </a:cubicBezTo>
                <a:cubicBezTo>
                  <a:pt x="466905" y="526961"/>
                  <a:pt x="460090" y="525784"/>
                  <a:pt x="454032" y="524437"/>
                </a:cubicBezTo>
                <a:lnTo>
                  <a:pt x="454032" y="215989"/>
                </a:lnTo>
                <a:lnTo>
                  <a:pt x="516125" y="215989"/>
                </a:lnTo>
                <a:lnTo>
                  <a:pt x="516125" y="321498"/>
                </a:lnTo>
                <a:lnTo>
                  <a:pt x="538337" y="321498"/>
                </a:lnTo>
                <a:cubicBezTo>
                  <a:pt x="578723" y="321498"/>
                  <a:pt x="609938" y="329827"/>
                  <a:pt x="631982" y="346486"/>
                </a:cubicBezTo>
                <a:cubicBezTo>
                  <a:pt x="654026" y="363146"/>
                  <a:pt x="665048" y="390154"/>
                  <a:pt x="665048" y="427511"/>
                </a:cubicBezTo>
                <a:cubicBezTo>
                  <a:pt x="665048" y="464531"/>
                  <a:pt x="654111" y="491203"/>
                  <a:pt x="632235" y="507526"/>
                </a:cubicBezTo>
                <a:cubicBezTo>
                  <a:pt x="610359" y="523848"/>
                  <a:pt x="579565" y="532010"/>
                  <a:pt x="539852" y="532010"/>
                </a:cubicBezTo>
                <a:close/>
                <a:moveTo>
                  <a:pt x="3816452" y="535544"/>
                </a:moveTo>
                <a:cubicBezTo>
                  <a:pt x="3797604" y="535544"/>
                  <a:pt x="3780694" y="532430"/>
                  <a:pt x="3765716" y="526204"/>
                </a:cubicBezTo>
                <a:cubicBezTo>
                  <a:pt x="3750740" y="519978"/>
                  <a:pt x="3738708" y="513836"/>
                  <a:pt x="3729622" y="507778"/>
                </a:cubicBezTo>
                <a:lnTo>
                  <a:pt x="3751834" y="462344"/>
                </a:lnTo>
                <a:cubicBezTo>
                  <a:pt x="3760248" y="468065"/>
                  <a:pt x="3770260" y="472861"/>
                  <a:pt x="3781872" y="476731"/>
                </a:cubicBezTo>
                <a:cubicBezTo>
                  <a:pt x="3793482" y="480602"/>
                  <a:pt x="3805178" y="482537"/>
                  <a:pt x="3816956" y="482537"/>
                </a:cubicBezTo>
                <a:cubicBezTo>
                  <a:pt x="3829072" y="482537"/>
                  <a:pt x="3838580" y="479255"/>
                  <a:pt x="3845480" y="472693"/>
                </a:cubicBezTo>
                <a:cubicBezTo>
                  <a:pt x="3852378" y="466130"/>
                  <a:pt x="3855828" y="457127"/>
                  <a:pt x="3855828" y="445685"/>
                </a:cubicBezTo>
                <a:cubicBezTo>
                  <a:pt x="3855828" y="437944"/>
                  <a:pt x="3854230" y="431550"/>
                  <a:pt x="3851032" y="426501"/>
                </a:cubicBezTo>
                <a:cubicBezTo>
                  <a:pt x="3847836" y="421453"/>
                  <a:pt x="3843712" y="417414"/>
                  <a:pt x="3838664" y="414385"/>
                </a:cubicBezTo>
                <a:cubicBezTo>
                  <a:pt x="3833616" y="411357"/>
                  <a:pt x="3827894" y="409169"/>
                  <a:pt x="3821500" y="407823"/>
                </a:cubicBezTo>
                <a:cubicBezTo>
                  <a:pt x="3815106" y="406477"/>
                  <a:pt x="3808712" y="405803"/>
                  <a:pt x="3802316" y="405803"/>
                </a:cubicBezTo>
                <a:lnTo>
                  <a:pt x="3779094" y="405803"/>
                </a:lnTo>
                <a:lnTo>
                  <a:pt x="3779094" y="354311"/>
                </a:lnTo>
                <a:lnTo>
                  <a:pt x="3798278" y="354311"/>
                </a:lnTo>
                <a:cubicBezTo>
                  <a:pt x="3818470" y="354311"/>
                  <a:pt x="3835130" y="351030"/>
                  <a:pt x="3848256" y="344467"/>
                </a:cubicBezTo>
                <a:cubicBezTo>
                  <a:pt x="3861380" y="337904"/>
                  <a:pt x="3867944" y="326378"/>
                  <a:pt x="3867944" y="309887"/>
                </a:cubicBezTo>
                <a:cubicBezTo>
                  <a:pt x="3867944" y="296425"/>
                  <a:pt x="3863652" y="285150"/>
                  <a:pt x="3855072" y="276063"/>
                </a:cubicBezTo>
                <a:cubicBezTo>
                  <a:pt x="3846488" y="266977"/>
                  <a:pt x="3831596" y="262433"/>
                  <a:pt x="3810394" y="262433"/>
                </a:cubicBezTo>
                <a:cubicBezTo>
                  <a:pt x="3793230" y="262433"/>
                  <a:pt x="3778506" y="264284"/>
                  <a:pt x="3766222" y="267986"/>
                </a:cubicBezTo>
                <a:cubicBezTo>
                  <a:pt x="3753938" y="271688"/>
                  <a:pt x="3743924" y="275222"/>
                  <a:pt x="3736184" y="278588"/>
                </a:cubicBezTo>
                <a:lnTo>
                  <a:pt x="3724068" y="226591"/>
                </a:lnTo>
                <a:cubicBezTo>
                  <a:pt x="3727770" y="224908"/>
                  <a:pt x="3732988" y="223057"/>
                  <a:pt x="3739718" y="221037"/>
                </a:cubicBezTo>
                <a:cubicBezTo>
                  <a:pt x="3746450" y="219018"/>
                  <a:pt x="3753770" y="217167"/>
                  <a:pt x="3761678" y="215484"/>
                </a:cubicBezTo>
                <a:cubicBezTo>
                  <a:pt x="3769588" y="213802"/>
                  <a:pt x="3777832" y="212371"/>
                  <a:pt x="3786414" y="211193"/>
                </a:cubicBezTo>
                <a:cubicBezTo>
                  <a:pt x="3794996" y="210015"/>
                  <a:pt x="3803158" y="209427"/>
                  <a:pt x="3810898" y="209427"/>
                </a:cubicBezTo>
                <a:cubicBezTo>
                  <a:pt x="3831764" y="209427"/>
                  <a:pt x="3849770" y="211867"/>
                  <a:pt x="3864916" y="216746"/>
                </a:cubicBezTo>
                <a:cubicBezTo>
                  <a:pt x="3880060" y="221626"/>
                  <a:pt x="3892512" y="228526"/>
                  <a:pt x="3902272" y="237444"/>
                </a:cubicBezTo>
                <a:cubicBezTo>
                  <a:pt x="3912032" y="246363"/>
                  <a:pt x="3919268" y="256880"/>
                  <a:pt x="3923980" y="268996"/>
                </a:cubicBezTo>
                <a:cubicBezTo>
                  <a:pt x="3928692" y="281112"/>
                  <a:pt x="3931048" y="294405"/>
                  <a:pt x="3931048" y="308877"/>
                </a:cubicBezTo>
                <a:cubicBezTo>
                  <a:pt x="3931048" y="327051"/>
                  <a:pt x="3926588" y="342700"/>
                  <a:pt x="3917668" y="355826"/>
                </a:cubicBezTo>
                <a:cubicBezTo>
                  <a:pt x="3908750" y="368951"/>
                  <a:pt x="3896214" y="378879"/>
                  <a:pt x="3880060" y="385610"/>
                </a:cubicBezTo>
                <a:cubicBezTo>
                  <a:pt x="3891840" y="391668"/>
                  <a:pt x="3901262" y="400419"/>
                  <a:pt x="3908330" y="411861"/>
                </a:cubicBezTo>
                <a:cubicBezTo>
                  <a:pt x="3915398" y="423304"/>
                  <a:pt x="3918932" y="435252"/>
                  <a:pt x="3918932" y="447704"/>
                </a:cubicBezTo>
                <a:cubicBezTo>
                  <a:pt x="3918932" y="460156"/>
                  <a:pt x="3916912" y="471767"/>
                  <a:pt x="3912874" y="482537"/>
                </a:cubicBezTo>
                <a:cubicBezTo>
                  <a:pt x="3908834" y="493306"/>
                  <a:pt x="3902608" y="502646"/>
                  <a:pt x="3894196" y="510555"/>
                </a:cubicBezTo>
                <a:cubicBezTo>
                  <a:pt x="3885780" y="518464"/>
                  <a:pt x="3875096" y="524606"/>
                  <a:pt x="3862138" y="528981"/>
                </a:cubicBezTo>
                <a:cubicBezTo>
                  <a:pt x="3849180" y="533356"/>
                  <a:pt x="3833952" y="535544"/>
                  <a:pt x="3816452" y="535544"/>
                </a:cubicBezTo>
                <a:close/>
                <a:moveTo>
                  <a:pt x="3567354" y="535544"/>
                </a:moveTo>
                <a:cubicBezTo>
                  <a:pt x="3549854" y="535544"/>
                  <a:pt x="3532268" y="532178"/>
                  <a:pt x="3514600" y="525447"/>
                </a:cubicBezTo>
                <a:cubicBezTo>
                  <a:pt x="3496930" y="518716"/>
                  <a:pt x="3481366" y="508283"/>
                  <a:pt x="3467904" y="494148"/>
                </a:cubicBezTo>
                <a:lnTo>
                  <a:pt x="3498698" y="450733"/>
                </a:lnTo>
                <a:cubicBezTo>
                  <a:pt x="3509130" y="461839"/>
                  <a:pt x="3519732" y="469748"/>
                  <a:pt x="3530502" y="474460"/>
                </a:cubicBezTo>
                <a:cubicBezTo>
                  <a:pt x="3541272" y="479171"/>
                  <a:pt x="3551536" y="481527"/>
                  <a:pt x="3561296" y="481527"/>
                </a:cubicBezTo>
                <a:cubicBezTo>
                  <a:pt x="3573076" y="481527"/>
                  <a:pt x="3582836" y="478078"/>
                  <a:pt x="3590576" y="471178"/>
                </a:cubicBezTo>
                <a:cubicBezTo>
                  <a:pt x="3598316" y="464279"/>
                  <a:pt x="3602186" y="454435"/>
                  <a:pt x="3602188" y="441646"/>
                </a:cubicBezTo>
                <a:cubicBezTo>
                  <a:pt x="3602186" y="432559"/>
                  <a:pt x="3599074" y="423641"/>
                  <a:pt x="3592848" y="414890"/>
                </a:cubicBezTo>
                <a:cubicBezTo>
                  <a:pt x="3586622" y="406140"/>
                  <a:pt x="3578712" y="397053"/>
                  <a:pt x="3569120" y="387630"/>
                </a:cubicBezTo>
                <a:cubicBezTo>
                  <a:pt x="3559528" y="378206"/>
                  <a:pt x="3549264" y="368362"/>
                  <a:pt x="3538326" y="358097"/>
                </a:cubicBezTo>
                <a:cubicBezTo>
                  <a:pt x="3527388" y="347833"/>
                  <a:pt x="3517124" y="336727"/>
                  <a:pt x="3507532" y="324779"/>
                </a:cubicBezTo>
                <a:cubicBezTo>
                  <a:pt x="3497940" y="312831"/>
                  <a:pt x="3490032" y="299790"/>
                  <a:pt x="3483806" y="285655"/>
                </a:cubicBezTo>
                <a:cubicBezTo>
                  <a:pt x="3477580" y="271520"/>
                  <a:pt x="3474466" y="256039"/>
                  <a:pt x="3474466" y="239211"/>
                </a:cubicBezTo>
                <a:cubicBezTo>
                  <a:pt x="3474466" y="237192"/>
                  <a:pt x="3474382" y="233658"/>
                  <a:pt x="3474214" y="228610"/>
                </a:cubicBezTo>
                <a:cubicBezTo>
                  <a:pt x="3474046" y="223562"/>
                  <a:pt x="3474466" y="219355"/>
                  <a:pt x="3475476" y="215989"/>
                </a:cubicBezTo>
                <a:lnTo>
                  <a:pt x="3679426" y="215989"/>
                </a:lnTo>
                <a:lnTo>
                  <a:pt x="3679426" y="267481"/>
                </a:lnTo>
                <a:lnTo>
                  <a:pt x="3545142" y="267481"/>
                </a:lnTo>
                <a:cubicBezTo>
                  <a:pt x="3545142" y="272530"/>
                  <a:pt x="3546908" y="278083"/>
                  <a:pt x="3550442" y="284141"/>
                </a:cubicBezTo>
                <a:cubicBezTo>
                  <a:pt x="3553976" y="290198"/>
                  <a:pt x="3558268" y="296172"/>
                  <a:pt x="3563316" y="302062"/>
                </a:cubicBezTo>
                <a:cubicBezTo>
                  <a:pt x="3568364" y="307952"/>
                  <a:pt x="3573748" y="313673"/>
                  <a:pt x="3579470" y="319226"/>
                </a:cubicBezTo>
                <a:cubicBezTo>
                  <a:pt x="3585190" y="324779"/>
                  <a:pt x="3590240" y="329575"/>
                  <a:pt x="3594614" y="333613"/>
                </a:cubicBezTo>
                <a:cubicBezTo>
                  <a:pt x="3603364" y="341691"/>
                  <a:pt x="3611946" y="350104"/>
                  <a:pt x="3620360" y="358855"/>
                </a:cubicBezTo>
                <a:cubicBezTo>
                  <a:pt x="3628774" y="367605"/>
                  <a:pt x="3636346" y="376692"/>
                  <a:pt x="3643078" y="386115"/>
                </a:cubicBezTo>
                <a:cubicBezTo>
                  <a:pt x="3649808" y="395539"/>
                  <a:pt x="3655194" y="405214"/>
                  <a:pt x="3659232" y="415143"/>
                </a:cubicBezTo>
                <a:cubicBezTo>
                  <a:pt x="3663270" y="425071"/>
                  <a:pt x="3665290" y="435420"/>
                  <a:pt x="3665290" y="446189"/>
                </a:cubicBezTo>
                <a:cubicBezTo>
                  <a:pt x="3665290" y="460998"/>
                  <a:pt x="3662598" y="474039"/>
                  <a:pt x="3657212" y="485313"/>
                </a:cubicBezTo>
                <a:cubicBezTo>
                  <a:pt x="3651828" y="496588"/>
                  <a:pt x="3644592" y="505927"/>
                  <a:pt x="3635506" y="513331"/>
                </a:cubicBezTo>
                <a:cubicBezTo>
                  <a:pt x="3626418" y="520735"/>
                  <a:pt x="3615986" y="526288"/>
                  <a:pt x="3604206" y="529990"/>
                </a:cubicBezTo>
                <a:cubicBezTo>
                  <a:pt x="3592426" y="533692"/>
                  <a:pt x="3580142" y="535544"/>
                  <a:pt x="3567354" y="535544"/>
                </a:cubicBezTo>
                <a:close/>
                <a:moveTo>
                  <a:pt x="3324752" y="535544"/>
                </a:moveTo>
                <a:cubicBezTo>
                  <a:pt x="3290088" y="535544"/>
                  <a:pt x="3263332" y="522081"/>
                  <a:pt x="3244486" y="495157"/>
                </a:cubicBezTo>
                <a:cubicBezTo>
                  <a:pt x="3225638" y="468233"/>
                  <a:pt x="3216214" y="427511"/>
                  <a:pt x="3216214" y="372990"/>
                </a:cubicBezTo>
                <a:cubicBezTo>
                  <a:pt x="3216214" y="317796"/>
                  <a:pt x="3225470" y="276737"/>
                  <a:pt x="3243980" y="249813"/>
                </a:cubicBezTo>
                <a:cubicBezTo>
                  <a:pt x="3262490" y="222889"/>
                  <a:pt x="3289414" y="209427"/>
                  <a:pt x="3324752" y="209427"/>
                </a:cubicBezTo>
                <a:cubicBezTo>
                  <a:pt x="3360090" y="209427"/>
                  <a:pt x="3387014" y="222889"/>
                  <a:pt x="3405524" y="249813"/>
                </a:cubicBezTo>
                <a:cubicBezTo>
                  <a:pt x="3424034" y="276737"/>
                  <a:pt x="3433290" y="317796"/>
                  <a:pt x="3433290" y="372990"/>
                </a:cubicBezTo>
                <a:cubicBezTo>
                  <a:pt x="3433290" y="427847"/>
                  <a:pt x="3424034" y="468654"/>
                  <a:pt x="3405524" y="495410"/>
                </a:cubicBezTo>
                <a:cubicBezTo>
                  <a:pt x="3387014" y="522166"/>
                  <a:pt x="3360090" y="535544"/>
                  <a:pt x="3324752" y="535544"/>
                </a:cubicBezTo>
                <a:close/>
                <a:moveTo>
                  <a:pt x="3062528" y="535544"/>
                </a:moveTo>
                <a:cubicBezTo>
                  <a:pt x="3045028" y="535544"/>
                  <a:pt x="3027444" y="532178"/>
                  <a:pt x="3009774" y="525447"/>
                </a:cubicBezTo>
                <a:cubicBezTo>
                  <a:pt x="2992106" y="518716"/>
                  <a:pt x="2976540" y="508283"/>
                  <a:pt x="2963078" y="494148"/>
                </a:cubicBezTo>
                <a:lnTo>
                  <a:pt x="2993872" y="450733"/>
                </a:lnTo>
                <a:cubicBezTo>
                  <a:pt x="3004306" y="461839"/>
                  <a:pt x="3014908" y="469748"/>
                  <a:pt x="3025676" y="474460"/>
                </a:cubicBezTo>
                <a:cubicBezTo>
                  <a:pt x="3036446" y="479171"/>
                  <a:pt x="3046712" y="481527"/>
                  <a:pt x="3056472" y="481527"/>
                </a:cubicBezTo>
                <a:cubicBezTo>
                  <a:pt x="3068250" y="481527"/>
                  <a:pt x="3078010" y="478078"/>
                  <a:pt x="3085752" y="471178"/>
                </a:cubicBezTo>
                <a:cubicBezTo>
                  <a:pt x="3093492" y="464279"/>
                  <a:pt x="3097362" y="454435"/>
                  <a:pt x="3097362" y="441646"/>
                </a:cubicBezTo>
                <a:cubicBezTo>
                  <a:pt x="3097362" y="432559"/>
                  <a:pt x="3094248" y="423641"/>
                  <a:pt x="3088022" y="414890"/>
                </a:cubicBezTo>
                <a:cubicBezTo>
                  <a:pt x="3081796" y="406140"/>
                  <a:pt x="3073888" y="397053"/>
                  <a:pt x="3064296" y="387630"/>
                </a:cubicBezTo>
                <a:cubicBezTo>
                  <a:pt x="3054704" y="378206"/>
                  <a:pt x="3044440" y="368362"/>
                  <a:pt x="3033502" y="358097"/>
                </a:cubicBezTo>
                <a:cubicBezTo>
                  <a:pt x="3022564" y="347833"/>
                  <a:pt x="3012298" y="336727"/>
                  <a:pt x="3002708" y="324779"/>
                </a:cubicBezTo>
                <a:cubicBezTo>
                  <a:pt x="2993116" y="312831"/>
                  <a:pt x="2985206" y="299790"/>
                  <a:pt x="2978980" y="285655"/>
                </a:cubicBezTo>
                <a:cubicBezTo>
                  <a:pt x="2972754" y="271520"/>
                  <a:pt x="2969642" y="256039"/>
                  <a:pt x="2969642" y="239211"/>
                </a:cubicBezTo>
                <a:cubicBezTo>
                  <a:pt x="2969642" y="237192"/>
                  <a:pt x="2969558" y="233658"/>
                  <a:pt x="2969388" y="228610"/>
                </a:cubicBezTo>
                <a:cubicBezTo>
                  <a:pt x="2969220" y="223562"/>
                  <a:pt x="2969640" y="219355"/>
                  <a:pt x="2970650" y="215989"/>
                </a:cubicBezTo>
                <a:lnTo>
                  <a:pt x="3174600" y="215989"/>
                </a:lnTo>
                <a:lnTo>
                  <a:pt x="3174600" y="267481"/>
                </a:lnTo>
                <a:lnTo>
                  <a:pt x="3040316" y="267481"/>
                </a:lnTo>
                <a:cubicBezTo>
                  <a:pt x="3040316" y="272530"/>
                  <a:pt x="3042084" y="278083"/>
                  <a:pt x="3045618" y="284141"/>
                </a:cubicBezTo>
                <a:cubicBezTo>
                  <a:pt x="3049152" y="290198"/>
                  <a:pt x="3053442" y="296172"/>
                  <a:pt x="3058490" y="302062"/>
                </a:cubicBezTo>
                <a:cubicBezTo>
                  <a:pt x="3063538" y="307952"/>
                  <a:pt x="3068924" y="313673"/>
                  <a:pt x="3074644" y="319226"/>
                </a:cubicBezTo>
                <a:cubicBezTo>
                  <a:pt x="3080366" y="324779"/>
                  <a:pt x="3085414" y="329575"/>
                  <a:pt x="3089790" y="333613"/>
                </a:cubicBezTo>
                <a:cubicBezTo>
                  <a:pt x="3098540" y="341691"/>
                  <a:pt x="3107122" y="350104"/>
                  <a:pt x="3115536" y="358855"/>
                </a:cubicBezTo>
                <a:cubicBezTo>
                  <a:pt x="3123950" y="367605"/>
                  <a:pt x="3131522" y="376692"/>
                  <a:pt x="3138252" y="386115"/>
                </a:cubicBezTo>
                <a:cubicBezTo>
                  <a:pt x="3144984" y="395539"/>
                  <a:pt x="3150368" y="405214"/>
                  <a:pt x="3154408" y="415143"/>
                </a:cubicBezTo>
                <a:cubicBezTo>
                  <a:pt x="3158446" y="425071"/>
                  <a:pt x="3160464" y="435420"/>
                  <a:pt x="3160464" y="446189"/>
                </a:cubicBezTo>
                <a:cubicBezTo>
                  <a:pt x="3160464" y="460998"/>
                  <a:pt x="3157772" y="474039"/>
                  <a:pt x="3152388" y="485313"/>
                </a:cubicBezTo>
                <a:cubicBezTo>
                  <a:pt x="3147002" y="496588"/>
                  <a:pt x="3139766" y="505927"/>
                  <a:pt x="3130680" y="513331"/>
                </a:cubicBezTo>
                <a:cubicBezTo>
                  <a:pt x="3121594" y="520735"/>
                  <a:pt x="3111160" y="526288"/>
                  <a:pt x="3099382" y="529990"/>
                </a:cubicBezTo>
                <a:cubicBezTo>
                  <a:pt x="3087602" y="533692"/>
                  <a:pt x="3075318" y="535544"/>
                  <a:pt x="3062528" y="535544"/>
                </a:cubicBezTo>
                <a:close/>
                <a:moveTo>
                  <a:pt x="2292890" y="561290"/>
                </a:moveTo>
                <a:cubicBezTo>
                  <a:pt x="2282120" y="561290"/>
                  <a:pt x="2272949" y="557756"/>
                  <a:pt x="2265377" y="550688"/>
                </a:cubicBezTo>
                <a:cubicBezTo>
                  <a:pt x="2257805" y="543621"/>
                  <a:pt x="2254018" y="533861"/>
                  <a:pt x="2254018" y="521408"/>
                </a:cubicBezTo>
                <a:cubicBezTo>
                  <a:pt x="2254018" y="509293"/>
                  <a:pt x="2257805" y="499701"/>
                  <a:pt x="2265377" y="492633"/>
                </a:cubicBezTo>
                <a:cubicBezTo>
                  <a:pt x="2272949" y="485566"/>
                  <a:pt x="2282120" y="482032"/>
                  <a:pt x="2292890" y="482032"/>
                </a:cubicBezTo>
                <a:cubicBezTo>
                  <a:pt x="2303660" y="482032"/>
                  <a:pt x="2312914" y="485566"/>
                  <a:pt x="2320655" y="492633"/>
                </a:cubicBezTo>
                <a:cubicBezTo>
                  <a:pt x="2328396" y="499701"/>
                  <a:pt x="2332266" y="509293"/>
                  <a:pt x="2332266" y="521408"/>
                </a:cubicBezTo>
                <a:cubicBezTo>
                  <a:pt x="2332266" y="533861"/>
                  <a:pt x="2328396" y="543621"/>
                  <a:pt x="2320655" y="550688"/>
                </a:cubicBezTo>
                <a:cubicBezTo>
                  <a:pt x="2312914" y="557756"/>
                  <a:pt x="2303660" y="561290"/>
                  <a:pt x="2292890" y="561290"/>
                </a:cubicBezTo>
                <a:close/>
                <a:moveTo>
                  <a:pt x="1959420" y="563309"/>
                </a:moveTo>
                <a:lnTo>
                  <a:pt x="1959420" y="511817"/>
                </a:lnTo>
                <a:lnTo>
                  <a:pt x="2025047" y="511817"/>
                </a:lnTo>
                <a:lnTo>
                  <a:pt x="2025047" y="310392"/>
                </a:lnTo>
                <a:cubicBezTo>
                  <a:pt x="2025047" y="277746"/>
                  <a:pt x="2031610" y="252926"/>
                  <a:pt x="2044735" y="235930"/>
                </a:cubicBezTo>
                <a:cubicBezTo>
                  <a:pt x="2057860" y="218934"/>
                  <a:pt x="2078727" y="210436"/>
                  <a:pt x="2107333" y="210436"/>
                </a:cubicBezTo>
                <a:cubicBezTo>
                  <a:pt x="2117767" y="210436"/>
                  <a:pt x="2127106" y="211109"/>
                  <a:pt x="2135351" y="212455"/>
                </a:cubicBezTo>
                <a:cubicBezTo>
                  <a:pt x="2143597" y="213802"/>
                  <a:pt x="2150580" y="215400"/>
                  <a:pt x="2156302" y="217251"/>
                </a:cubicBezTo>
                <a:cubicBezTo>
                  <a:pt x="2162023" y="219102"/>
                  <a:pt x="2166650" y="220869"/>
                  <a:pt x="2170184" y="222552"/>
                </a:cubicBezTo>
                <a:cubicBezTo>
                  <a:pt x="2173718" y="224235"/>
                  <a:pt x="2175990" y="225413"/>
                  <a:pt x="2176999" y="226086"/>
                </a:cubicBezTo>
                <a:lnTo>
                  <a:pt x="2168922" y="276063"/>
                </a:lnTo>
                <a:cubicBezTo>
                  <a:pt x="2166230" y="275054"/>
                  <a:pt x="2160677" y="272866"/>
                  <a:pt x="2152263" y="269501"/>
                </a:cubicBezTo>
                <a:cubicBezTo>
                  <a:pt x="2143849" y="266135"/>
                  <a:pt x="2133416" y="264452"/>
                  <a:pt x="2120964" y="264452"/>
                </a:cubicBezTo>
                <a:cubicBezTo>
                  <a:pt x="2111204" y="264452"/>
                  <a:pt x="2103126" y="267313"/>
                  <a:pt x="2096732" y="273034"/>
                </a:cubicBezTo>
                <a:cubicBezTo>
                  <a:pt x="2090338" y="278756"/>
                  <a:pt x="2087140" y="289694"/>
                  <a:pt x="2087140" y="305848"/>
                </a:cubicBezTo>
                <a:lnTo>
                  <a:pt x="2087140" y="563309"/>
                </a:lnTo>
                <a:close/>
                <a:moveTo>
                  <a:pt x="1607052" y="565833"/>
                </a:moveTo>
                <a:cubicBezTo>
                  <a:pt x="1594263" y="565833"/>
                  <a:pt x="1581811" y="564234"/>
                  <a:pt x="1569695" y="561037"/>
                </a:cubicBezTo>
                <a:cubicBezTo>
                  <a:pt x="1557579" y="557840"/>
                  <a:pt x="1546810" y="552455"/>
                  <a:pt x="1537386" y="544883"/>
                </a:cubicBezTo>
                <a:cubicBezTo>
                  <a:pt x="1527963" y="537310"/>
                  <a:pt x="1520474" y="527214"/>
                  <a:pt x="1514921" y="514593"/>
                </a:cubicBezTo>
                <a:cubicBezTo>
                  <a:pt x="1509368" y="501973"/>
                  <a:pt x="1506592" y="486071"/>
                  <a:pt x="1506592" y="466887"/>
                </a:cubicBezTo>
                <a:lnTo>
                  <a:pt x="1506592" y="453257"/>
                </a:lnTo>
                <a:lnTo>
                  <a:pt x="1454595" y="453257"/>
                </a:lnTo>
                <a:lnTo>
                  <a:pt x="1454595" y="401765"/>
                </a:lnTo>
                <a:lnTo>
                  <a:pt x="1506592" y="401765"/>
                </a:lnTo>
                <a:lnTo>
                  <a:pt x="1506592" y="215989"/>
                </a:lnTo>
                <a:lnTo>
                  <a:pt x="1569190" y="215989"/>
                </a:lnTo>
                <a:lnTo>
                  <a:pt x="1569190" y="401765"/>
                </a:lnTo>
                <a:lnTo>
                  <a:pt x="1666621" y="401765"/>
                </a:lnTo>
                <a:lnTo>
                  <a:pt x="1666621" y="453257"/>
                </a:lnTo>
                <a:lnTo>
                  <a:pt x="1569190" y="453257"/>
                </a:lnTo>
                <a:lnTo>
                  <a:pt x="1569190" y="465878"/>
                </a:lnTo>
                <a:cubicBezTo>
                  <a:pt x="1569190" y="475974"/>
                  <a:pt x="1570368" y="484135"/>
                  <a:pt x="1572724" y="490362"/>
                </a:cubicBezTo>
                <a:cubicBezTo>
                  <a:pt x="1575080" y="496588"/>
                  <a:pt x="1578193" y="501384"/>
                  <a:pt x="1582063" y="504749"/>
                </a:cubicBezTo>
                <a:cubicBezTo>
                  <a:pt x="1585933" y="508115"/>
                  <a:pt x="1590477" y="510302"/>
                  <a:pt x="1595693" y="511312"/>
                </a:cubicBezTo>
                <a:cubicBezTo>
                  <a:pt x="1600910" y="512322"/>
                  <a:pt x="1606379" y="512826"/>
                  <a:pt x="1612100" y="512826"/>
                </a:cubicBezTo>
                <a:cubicBezTo>
                  <a:pt x="1622533" y="512826"/>
                  <a:pt x="1633555" y="511396"/>
                  <a:pt x="1645166" y="508535"/>
                </a:cubicBezTo>
                <a:cubicBezTo>
                  <a:pt x="1656777" y="505675"/>
                  <a:pt x="1666453" y="502898"/>
                  <a:pt x="1674194" y="500206"/>
                </a:cubicBezTo>
                <a:lnTo>
                  <a:pt x="1684795" y="550688"/>
                </a:lnTo>
                <a:cubicBezTo>
                  <a:pt x="1673689" y="556073"/>
                  <a:pt x="1661236" y="559943"/>
                  <a:pt x="1647438" y="562299"/>
                </a:cubicBezTo>
                <a:cubicBezTo>
                  <a:pt x="1633639" y="564655"/>
                  <a:pt x="1620178" y="565833"/>
                  <a:pt x="1607052" y="565833"/>
                </a:cubicBezTo>
                <a:close/>
                <a:moveTo>
                  <a:pt x="0" y="796029"/>
                </a:moveTo>
                <a:lnTo>
                  <a:pt x="4876802" y="796029"/>
                </a:lnTo>
                <a:lnTo>
                  <a:pt x="4824822" y="344498"/>
                </a:lnTo>
                <a:cubicBezTo>
                  <a:pt x="4801968" y="145891"/>
                  <a:pt x="4682292" y="207"/>
                  <a:pt x="4541980" y="155"/>
                </a:cubicBezTo>
                <a:lnTo>
                  <a:pt x="0" y="0"/>
                </a:lnTo>
                <a:close/>
              </a:path>
            </a:pathLst>
          </a:custGeom>
          <a:solidFill>
            <a:schemeClr val="bg1"/>
          </a:solidFill>
          <a:ln w="2834" cap="flat">
            <a:noFill/>
            <a:prstDash val="solid"/>
            <a:miter/>
          </a:ln>
        </p:spPr>
        <p:txBody>
          <a:bodyPr wrap="square" rtlCol="0" anchor="ctr">
            <a:noAutofit/>
          </a:bodyPr>
          <a:lstStyle/>
          <a:p>
            <a:endParaRPr lang="en-US"/>
          </a:p>
        </p:txBody>
      </p:sp>
    </p:spTree>
    <p:extLst>
      <p:ext uri="{BB962C8B-B14F-4D97-AF65-F5344CB8AC3E}">
        <p14:creationId xmlns:p14="http://schemas.microsoft.com/office/powerpoint/2010/main" val="86141095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7_Title and Content">
    <p:spTree>
      <p:nvGrpSpPr>
        <p:cNvPr id="1" name=""/>
        <p:cNvGrpSpPr/>
        <p:nvPr/>
      </p:nvGrpSpPr>
      <p:grpSpPr>
        <a:xfrm>
          <a:off x="0" y="0"/>
          <a:ext cx="0" cy="0"/>
          <a:chOff x="0" y="0"/>
          <a:chExt cx="0" cy="0"/>
        </a:xfrm>
      </p:grpSpPr>
      <p:sp>
        <p:nvSpPr>
          <p:cNvPr id="226" name="bg object 16">
            <a:extLst>
              <a:ext uri="{FF2B5EF4-FFF2-40B4-BE49-F238E27FC236}">
                <a16:creationId xmlns:a16="http://schemas.microsoft.com/office/drawing/2014/main" id="{2C70D2E3-A58A-2E37-9237-F881FE9AC974}"/>
              </a:ext>
            </a:extLst>
          </p:cNvPr>
          <p:cNvSpPr/>
          <p:nvPr userDrawn="1"/>
        </p:nvSpPr>
        <p:spPr>
          <a:xfrm>
            <a:off x="-23840" y="0"/>
            <a:ext cx="20127939" cy="11328091"/>
          </a:xfrm>
          <a:custGeom>
            <a:avLst/>
            <a:gdLst/>
            <a:ahLst/>
            <a:cxnLst/>
            <a:rect l="l" t="t" r="r" b="b"/>
            <a:pathLst>
              <a:path w="20104100" h="11308715">
                <a:moveTo>
                  <a:pt x="20104099" y="0"/>
                </a:moveTo>
                <a:lnTo>
                  <a:pt x="0" y="0"/>
                </a:lnTo>
                <a:lnTo>
                  <a:pt x="0" y="11308556"/>
                </a:lnTo>
                <a:lnTo>
                  <a:pt x="20104099" y="11308556"/>
                </a:lnTo>
                <a:lnTo>
                  <a:pt x="20104099" y="0"/>
                </a:lnTo>
                <a:close/>
              </a:path>
            </a:pathLst>
          </a:custGeom>
          <a:solidFill>
            <a:srgbClr val="0070AD"/>
          </a:solidFill>
        </p:spPr>
        <p:txBody>
          <a:bodyPr wrap="square" lIns="0" tIns="0" rIns="0" bIns="0" rtlCol="0"/>
          <a:lstStyle/>
          <a:p>
            <a:endParaRPr/>
          </a:p>
        </p:txBody>
      </p:sp>
      <p:sp>
        <p:nvSpPr>
          <p:cNvPr id="2" name="Holder 2"/>
          <p:cNvSpPr>
            <a:spLocks noGrp="1"/>
          </p:cNvSpPr>
          <p:nvPr>
            <p:ph type="title"/>
          </p:nvPr>
        </p:nvSpPr>
        <p:spPr>
          <a:xfrm>
            <a:off x="1003191" y="618303"/>
            <a:ext cx="18607228" cy="754053"/>
          </a:xfrm>
        </p:spPr>
        <p:txBody>
          <a:bodyPr lIns="0" tIns="0" rIns="0" bIns="0"/>
          <a:lstStyle>
            <a:lvl1pPr>
              <a:defRPr sz="4900" b="0" i="0">
                <a:solidFill>
                  <a:schemeClr val="bg1"/>
                </a:solidFill>
                <a:latin typeface="Ubuntu Light"/>
                <a:cs typeface="Ubuntu Light"/>
              </a:defRPr>
            </a:lvl1pPr>
          </a:lstStyle>
          <a:p>
            <a:endParaRPr/>
          </a:p>
        </p:txBody>
      </p:sp>
      <p:sp>
        <p:nvSpPr>
          <p:cNvPr id="153" name="object 3">
            <a:extLst>
              <a:ext uri="{FF2B5EF4-FFF2-40B4-BE49-F238E27FC236}">
                <a16:creationId xmlns:a16="http://schemas.microsoft.com/office/drawing/2014/main" id="{A326EBF6-1D24-0046-23A9-97F52C5B3A98}"/>
              </a:ext>
            </a:extLst>
          </p:cNvPr>
          <p:cNvSpPr/>
          <p:nvPr userDrawn="1"/>
        </p:nvSpPr>
        <p:spPr>
          <a:xfrm>
            <a:off x="0" y="8698896"/>
            <a:ext cx="6692265" cy="2609850"/>
          </a:xfrm>
          <a:custGeom>
            <a:avLst/>
            <a:gdLst/>
            <a:ahLst/>
            <a:cxnLst/>
            <a:rect l="l" t="t" r="r" b="b"/>
            <a:pathLst>
              <a:path w="6692265" h="2609850">
                <a:moveTo>
                  <a:pt x="1076896" y="528345"/>
                </a:moveTo>
                <a:lnTo>
                  <a:pt x="1051318" y="485470"/>
                </a:lnTo>
                <a:lnTo>
                  <a:pt x="220433" y="19888"/>
                </a:lnTo>
                <a:lnTo>
                  <a:pt x="183095" y="4965"/>
                </a:lnTo>
                <a:lnTo>
                  <a:pt x="143738" y="0"/>
                </a:lnTo>
                <a:lnTo>
                  <a:pt x="104305" y="4965"/>
                </a:lnTo>
                <a:lnTo>
                  <a:pt x="66979" y="19888"/>
                </a:lnTo>
                <a:lnTo>
                  <a:pt x="0" y="56553"/>
                </a:lnTo>
                <a:lnTo>
                  <a:pt x="0" y="1023200"/>
                </a:lnTo>
                <a:lnTo>
                  <a:pt x="53390" y="1054328"/>
                </a:lnTo>
                <a:lnTo>
                  <a:pt x="90716" y="1069251"/>
                </a:lnTo>
                <a:lnTo>
                  <a:pt x="130111" y="1074216"/>
                </a:lnTo>
                <a:lnTo>
                  <a:pt x="169506" y="1069251"/>
                </a:lnTo>
                <a:lnTo>
                  <a:pt x="206832" y="1054328"/>
                </a:lnTo>
                <a:lnTo>
                  <a:pt x="1051318" y="571207"/>
                </a:lnTo>
                <a:lnTo>
                  <a:pt x="1070495" y="552450"/>
                </a:lnTo>
                <a:lnTo>
                  <a:pt x="1076896" y="528345"/>
                </a:lnTo>
                <a:close/>
              </a:path>
              <a:path w="6692265" h="2609850">
                <a:moveTo>
                  <a:pt x="6692227" y="1758657"/>
                </a:moveTo>
                <a:lnTo>
                  <a:pt x="6687248" y="1720088"/>
                </a:lnTo>
                <a:lnTo>
                  <a:pt x="6672326" y="1683600"/>
                </a:lnTo>
                <a:lnTo>
                  <a:pt x="6647447" y="1651292"/>
                </a:lnTo>
                <a:lnTo>
                  <a:pt x="6612610" y="1625231"/>
                </a:lnTo>
                <a:lnTo>
                  <a:pt x="4026154" y="175920"/>
                </a:lnTo>
                <a:lnTo>
                  <a:pt x="3980853" y="153631"/>
                </a:lnTo>
                <a:lnTo>
                  <a:pt x="3933914" y="136283"/>
                </a:lnTo>
                <a:lnTo>
                  <a:pt x="3885730" y="123901"/>
                </a:lnTo>
                <a:lnTo>
                  <a:pt x="3836733" y="116471"/>
                </a:lnTo>
                <a:lnTo>
                  <a:pt x="3787343" y="113995"/>
                </a:lnTo>
                <a:lnTo>
                  <a:pt x="3737902" y="116471"/>
                </a:lnTo>
                <a:lnTo>
                  <a:pt x="3688905" y="123901"/>
                </a:lnTo>
                <a:lnTo>
                  <a:pt x="3640721" y="136283"/>
                </a:lnTo>
                <a:lnTo>
                  <a:pt x="3593782" y="153631"/>
                </a:lnTo>
                <a:lnTo>
                  <a:pt x="3548481" y="175920"/>
                </a:lnTo>
                <a:lnTo>
                  <a:pt x="914069" y="1617903"/>
                </a:lnTo>
                <a:lnTo>
                  <a:pt x="879246" y="1643964"/>
                </a:lnTo>
                <a:lnTo>
                  <a:pt x="854367" y="1676273"/>
                </a:lnTo>
                <a:lnTo>
                  <a:pt x="839431" y="1712760"/>
                </a:lnTo>
                <a:lnTo>
                  <a:pt x="834466" y="1751304"/>
                </a:lnTo>
                <a:lnTo>
                  <a:pt x="839431" y="1789899"/>
                </a:lnTo>
                <a:lnTo>
                  <a:pt x="854367" y="1826387"/>
                </a:lnTo>
                <a:lnTo>
                  <a:pt x="879246" y="1858695"/>
                </a:lnTo>
                <a:lnTo>
                  <a:pt x="914069" y="1884756"/>
                </a:lnTo>
                <a:lnTo>
                  <a:pt x="2157463" y="2609659"/>
                </a:lnTo>
                <a:lnTo>
                  <a:pt x="5358320" y="2609659"/>
                </a:lnTo>
                <a:lnTo>
                  <a:pt x="6612610" y="1892084"/>
                </a:lnTo>
                <a:lnTo>
                  <a:pt x="6647447" y="1866036"/>
                </a:lnTo>
                <a:lnTo>
                  <a:pt x="6672326" y="1833714"/>
                </a:lnTo>
                <a:lnTo>
                  <a:pt x="6687248" y="1797227"/>
                </a:lnTo>
                <a:lnTo>
                  <a:pt x="6692227" y="1758657"/>
                </a:lnTo>
                <a:close/>
              </a:path>
            </a:pathLst>
          </a:custGeom>
          <a:solidFill>
            <a:srgbClr val="00ADE0">
              <a:alpha val="19999"/>
            </a:srgbClr>
          </a:solidFill>
        </p:spPr>
        <p:txBody>
          <a:bodyPr wrap="square" lIns="0" tIns="0" rIns="0" bIns="0" rtlCol="0"/>
          <a:lstStyle/>
          <a:p>
            <a:endParaRPr/>
          </a:p>
        </p:txBody>
      </p:sp>
      <p:sp>
        <p:nvSpPr>
          <p:cNvPr id="154" name="object 4">
            <a:extLst>
              <a:ext uri="{FF2B5EF4-FFF2-40B4-BE49-F238E27FC236}">
                <a16:creationId xmlns:a16="http://schemas.microsoft.com/office/drawing/2014/main" id="{68B535AE-632F-BA28-05F5-A49184199312}"/>
              </a:ext>
            </a:extLst>
          </p:cNvPr>
          <p:cNvSpPr/>
          <p:nvPr userDrawn="1"/>
        </p:nvSpPr>
        <p:spPr>
          <a:xfrm>
            <a:off x="15500745" y="0"/>
            <a:ext cx="2857500" cy="774700"/>
          </a:xfrm>
          <a:custGeom>
            <a:avLst/>
            <a:gdLst/>
            <a:ahLst/>
            <a:cxnLst/>
            <a:rect l="l" t="t" r="r" b="b"/>
            <a:pathLst>
              <a:path w="2857500" h="774700">
                <a:moveTo>
                  <a:pt x="2857272" y="0"/>
                </a:moveTo>
                <a:lnTo>
                  <a:pt x="0" y="0"/>
                </a:lnTo>
                <a:lnTo>
                  <a:pt x="1259421" y="734253"/>
                </a:lnTo>
                <a:lnTo>
                  <a:pt x="1302360" y="754220"/>
                </a:lnTo>
                <a:lnTo>
                  <a:pt x="1347275" y="767531"/>
                </a:lnTo>
                <a:lnTo>
                  <a:pt x="1393374" y="774187"/>
                </a:lnTo>
                <a:lnTo>
                  <a:pt x="1439869" y="774187"/>
                </a:lnTo>
                <a:lnTo>
                  <a:pt x="1485969" y="767531"/>
                </a:lnTo>
                <a:lnTo>
                  <a:pt x="1530886" y="754220"/>
                </a:lnTo>
                <a:lnTo>
                  <a:pt x="1573830" y="734253"/>
                </a:lnTo>
                <a:lnTo>
                  <a:pt x="2857272" y="0"/>
                </a:lnTo>
                <a:close/>
              </a:path>
            </a:pathLst>
          </a:custGeom>
          <a:solidFill>
            <a:srgbClr val="00ADE0">
              <a:alpha val="19999"/>
            </a:srgbClr>
          </a:solidFill>
        </p:spPr>
        <p:txBody>
          <a:bodyPr wrap="square" lIns="0" tIns="0" rIns="0" bIns="0" rtlCol="0"/>
          <a:lstStyle/>
          <a:p>
            <a:endParaRPr/>
          </a:p>
        </p:txBody>
      </p:sp>
      <p:sp>
        <p:nvSpPr>
          <p:cNvPr id="12" name="Marcador de pie de página 11">
            <a:extLst>
              <a:ext uri="{FF2B5EF4-FFF2-40B4-BE49-F238E27FC236}">
                <a16:creationId xmlns:a16="http://schemas.microsoft.com/office/drawing/2014/main" id="{1ACC5C5B-5E0C-897F-54C9-1D842CC0A6D9}"/>
              </a:ext>
            </a:extLst>
          </p:cNvPr>
          <p:cNvSpPr>
            <a:spLocks noGrp="1"/>
          </p:cNvSpPr>
          <p:nvPr>
            <p:ph type="ftr" sz="quarter" idx="10"/>
          </p:nvPr>
        </p:nvSpPr>
        <p:spPr>
          <a:xfrm>
            <a:off x="16376651" y="10759212"/>
            <a:ext cx="3233768" cy="238988"/>
          </a:xfrm>
          <a:prstGeom prst="rect">
            <a:avLst/>
          </a:prstGeom>
        </p:spPr>
        <p:txBody>
          <a:bodyPr/>
          <a:lstStyle>
            <a:lvl1pPr>
              <a:defRPr>
                <a:solidFill>
                  <a:schemeClr val="bg1"/>
                </a:solidFill>
              </a:defRPr>
            </a:lvl1pPr>
          </a:lstStyle>
          <a:p>
            <a:pPr marL="26034">
              <a:spcBef>
                <a:spcPts val="30"/>
              </a:spcBef>
            </a:pPr>
            <a:r>
              <a:rPr lang="es-ES" err="1"/>
              <a:t>Public</a:t>
            </a:r>
            <a:r>
              <a:rPr lang="es-ES"/>
              <a:t> © 2023 Sogeti. </a:t>
            </a:r>
            <a:r>
              <a:rPr lang="es-ES" err="1"/>
              <a:t>All</a:t>
            </a:r>
            <a:r>
              <a:rPr lang="es-ES"/>
              <a:t> </a:t>
            </a:r>
            <a:r>
              <a:rPr lang="es-ES" err="1"/>
              <a:t>rights</a:t>
            </a:r>
            <a:r>
              <a:rPr lang="es-ES"/>
              <a:t> </a:t>
            </a:r>
            <a:r>
              <a:rPr lang="es-ES" err="1"/>
              <a:t>reserved</a:t>
            </a:r>
            <a:endParaRPr lang="es-ES" spc="-10"/>
          </a:p>
        </p:txBody>
      </p:sp>
      <p:sp>
        <p:nvSpPr>
          <p:cNvPr id="3" name="CuadroTexto 2">
            <a:extLst>
              <a:ext uri="{FF2B5EF4-FFF2-40B4-BE49-F238E27FC236}">
                <a16:creationId xmlns:a16="http://schemas.microsoft.com/office/drawing/2014/main" id="{5F9ACFA8-4B18-AEC7-6177-1AAA87AFB4E0}"/>
              </a:ext>
            </a:extLst>
          </p:cNvPr>
          <p:cNvSpPr txBox="1"/>
          <p:nvPr userDrawn="1"/>
        </p:nvSpPr>
        <p:spPr>
          <a:xfrm>
            <a:off x="755650" y="10845800"/>
            <a:ext cx="7772400" cy="292388"/>
          </a:xfrm>
          <a:prstGeom prst="rect">
            <a:avLst/>
          </a:prstGeom>
          <a:noFill/>
        </p:spPr>
        <p:txBody>
          <a:bodyPr wrap="square" rtlCol="0">
            <a:spAutoFit/>
          </a:bodyPr>
          <a:lstStyle/>
          <a:p>
            <a:r>
              <a:rPr lang="es-ES" sz="1300" b="0" i="0">
                <a:solidFill>
                  <a:schemeClr val="bg1"/>
                </a:solidFill>
                <a:latin typeface="Ubuntu Medium" panose="020B0504030602030204" pitchFamily="34" charset="0"/>
              </a:rPr>
              <a:t>#FlourishingDigitalBusinessWithQuality </a:t>
            </a:r>
            <a:r>
              <a:rPr lang="es-ES" sz="1300" b="1" i="0">
                <a:solidFill>
                  <a:schemeClr val="bg1"/>
                </a:solidFill>
                <a:latin typeface="Ubuntu" panose="020B0504030602030204" pitchFamily="34" charset="0"/>
              </a:rPr>
              <a:t> ·</a:t>
            </a:r>
            <a:r>
              <a:rPr lang="es-ES" sz="1300" b="0" i="0">
                <a:solidFill>
                  <a:schemeClr val="bg1"/>
                </a:solidFill>
                <a:latin typeface="Ubuntu Medium" panose="020B0504030602030204" pitchFamily="34" charset="0"/>
              </a:rPr>
              <a:t>   </a:t>
            </a:r>
            <a:r>
              <a:rPr lang="es-ES" sz="1300" b="0" i="0" err="1">
                <a:solidFill>
                  <a:schemeClr val="bg1"/>
                </a:solidFill>
                <a:latin typeface="Ubuntu Medium" panose="020B0504030602030204" pitchFamily="34" charset="0"/>
              </a:rPr>
              <a:t>by</a:t>
            </a:r>
            <a:r>
              <a:rPr lang="es-ES" sz="1300" b="0" i="0">
                <a:solidFill>
                  <a:schemeClr val="bg1"/>
                </a:solidFill>
                <a:latin typeface="Ubuntu Medium" panose="020B0504030602030204" pitchFamily="34" charset="0"/>
              </a:rPr>
              <a:t> </a:t>
            </a:r>
            <a:r>
              <a:rPr lang="es-ES" sz="1300" b="1" i="0">
                <a:solidFill>
                  <a:schemeClr val="bg1"/>
                </a:solidFill>
                <a:latin typeface="Ubuntu" panose="020B0504030602030204" pitchFamily="34" charset="0"/>
              </a:rPr>
              <a:t>Sogeti España</a:t>
            </a:r>
          </a:p>
        </p:txBody>
      </p:sp>
      <p:sp>
        <p:nvSpPr>
          <p:cNvPr id="4" name="Forma libre 3">
            <a:extLst>
              <a:ext uri="{FF2B5EF4-FFF2-40B4-BE49-F238E27FC236}">
                <a16:creationId xmlns:a16="http://schemas.microsoft.com/office/drawing/2014/main" id="{F61EB3F6-11FE-4C49-631D-72DA1DAA5C8C}"/>
              </a:ext>
            </a:extLst>
          </p:cNvPr>
          <p:cNvSpPr/>
          <p:nvPr userDrawn="1"/>
        </p:nvSpPr>
        <p:spPr>
          <a:xfrm flipV="1">
            <a:off x="755650" y="10384024"/>
            <a:ext cx="2362200" cy="385576"/>
          </a:xfrm>
          <a:custGeom>
            <a:avLst/>
            <a:gdLst/>
            <a:ahLst/>
            <a:cxnLst/>
            <a:rect l="l" t="t" r="r" b="b"/>
            <a:pathLst>
              <a:path w="4876802" h="796029">
                <a:moveTo>
                  <a:pt x="2572782" y="405299"/>
                </a:moveTo>
                <a:cubicBezTo>
                  <a:pt x="2589609" y="405299"/>
                  <a:pt x="2601809" y="398820"/>
                  <a:pt x="2609382" y="385863"/>
                </a:cubicBezTo>
                <a:cubicBezTo>
                  <a:pt x="2616954" y="372906"/>
                  <a:pt x="2620740" y="355826"/>
                  <a:pt x="2620740" y="334623"/>
                </a:cubicBezTo>
                <a:cubicBezTo>
                  <a:pt x="2620740" y="313420"/>
                  <a:pt x="2616618" y="296256"/>
                  <a:pt x="2608372" y="283131"/>
                </a:cubicBezTo>
                <a:cubicBezTo>
                  <a:pt x="2600126" y="270006"/>
                  <a:pt x="2587927" y="263443"/>
                  <a:pt x="2571772" y="263443"/>
                </a:cubicBezTo>
                <a:cubicBezTo>
                  <a:pt x="2554945" y="263443"/>
                  <a:pt x="2542744" y="270006"/>
                  <a:pt x="2535172" y="283131"/>
                </a:cubicBezTo>
                <a:cubicBezTo>
                  <a:pt x="2527600" y="296256"/>
                  <a:pt x="2523814" y="313420"/>
                  <a:pt x="2523814" y="334623"/>
                </a:cubicBezTo>
                <a:cubicBezTo>
                  <a:pt x="2523814" y="355826"/>
                  <a:pt x="2527937" y="372906"/>
                  <a:pt x="2536182" y="385863"/>
                </a:cubicBezTo>
                <a:cubicBezTo>
                  <a:pt x="2544428" y="398820"/>
                  <a:pt x="2556628" y="405299"/>
                  <a:pt x="2572782" y="405299"/>
                </a:cubicBezTo>
                <a:close/>
                <a:moveTo>
                  <a:pt x="1810782" y="405299"/>
                </a:moveTo>
                <a:cubicBezTo>
                  <a:pt x="1827610" y="405299"/>
                  <a:pt x="1839810" y="398820"/>
                  <a:pt x="1847382" y="385863"/>
                </a:cubicBezTo>
                <a:cubicBezTo>
                  <a:pt x="1854954" y="372906"/>
                  <a:pt x="1858740" y="355826"/>
                  <a:pt x="1858740" y="334623"/>
                </a:cubicBezTo>
                <a:cubicBezTo>
                  <a:pt x="1858740" y="313420"/>
                  <a:pt x="1854618" y="296256"/>
                  <a:pt x="1846372" y="283131"/>
                </a:cubicBezTo>
                <a:cubicBezTo>
                  <a:pt x="1838127" y="270006"/>
                  <a:pt x="1825927" y="263443"/>
                  <a:pt x="1809772" y="263443"/>
                </a:cubicBezTo>
                <a:cubicBezTo>
                  <a:pt x="1792945" y="263443"/>
                  <a:pt x="1780745" y="270006"/>
                  <a:pt x="1773173" y="283131"/>
                </a:cubicBezTo>
                <a:cubicBezTo>
                  <a:pt x="1765600" y="296256"/>
                  <a:pt x="1761814" y="313420"/>
                  <a:pt x="1761814" y="334623"/>
                </a:cubicBezTo>
                <a:cubicBezTo>
                  <a:pt x="1761814" y="355826"/>
                  <a:pt x="1765937" y="372906"/>
                  <a:pt x="1774182" y="385863"/>
                </a:cubicBezTo>
                <a:cubicBezTo>
                  <a:pt x="1782428" y="398820"/>
                  <a:pt x="1794628" y="405299"/>
                  <a:pt x="1810782" y="405299"/>
                </a:cubicBezTo>
                <a:close/>
                <a:moveTo>
                  <a:pt x="810657" y="405299"/>
                </a:moveTo>
                <a:cubicBezTo>
                  <a:pt x="827485" y="405299"/>
                  <a:pt x="839684" y="398820"/>
                  <a:pt x="847257" y="385863"/>
                </a:cubicBezTo>
                <a:cubicBezTo>
                  <a:pt x="854829" y="372906"/>
                  <a:pt x="858615" y="355826"/>
                  <a:pt x="858616" y="334623"/>
                </a:cubicBezTo>
                <a:cubicBezTo>
                  <a:pt x="858615" y="313420"/>
                  <a:pt x="854493" y="296256"/>
                  <a:pt x="846247" y="283131"/>
                </a:cubicBezTo>
                <a:cubicBezTo>
                  <a:pt x="838002" y="270006"/>
                  <a:pt x="825802" y="263443"/>
                  <a:pt x="809647" y="263443"/>
                </a:cubicBezTo>
                <a:cubicBezTo>
                  <a:pt x="792820" y="263443"/>
                  <a:pt x="780620" y="270006"/>
                  <a:pt x="773048" y="283131"/>
                </a:cubicBezTo>
                <a:cubicBezTo>
                  <a:pt x="765475" y="296256"/>
                  <a:pt x="761689" y="313420"/>
                  <a:pt x="761689" y="334623"/>
                </a:cubicBezTo>
                <a:cubicBezTo>
                  <a:pt x="761689" y="355826"/>
                  <a:pt x="765812" y="372906"/>
                  <a:pt x="774057" y="385863"/>
                </a:cubicBezTo>
                <a:cubicBezTo>
                  <a:pt x="782303" y="398820"/>
                  <a:pt x="794503" y="405299"/>
                  <a:pt x="810657" y="405299"/>
                </a:cubicBezTo>
                <a:close/>
                <a:moveTo>
                  <a:pt x="3325256" y="411861"/>
                </a:moveTo>
                <a:cubicBezTo>
                  <a:pt x="3316506" y="411861"/>
                  <a:pt x="3309608" y="408496"/>
                  <a:pt x="3304560" y="401765"/>
                </a:cubicBezTo>
                <a:cubicBezTo>
                  <a:pt x="3299512" y="395034"/>
                  <a:pt x="3296988" y="387125"/>
                  <a:pt x="3296988" y="378038"/>
                </a:cubicBezTo>
                <a:cubicBezTo>
                  <a:pt x="3296988" y="368951"/>
                  <a:pt x="3299512" y="361126"/>
                  <a:pt x="3304560" y="354564"/>
                </a:cubicBezTo>
                <a:cubicBezTo>
                  <a:pt x="3309608" y="348001"/>
                  <a:pt x="3316506" y="344720"/>
                  <a:pt x="3325256" y="344720"/>
                </a:cubicBezTo>
                <a:cubicBezTo>
                  <a:pt x="3333334" y="344720"/>
                  <a:pt x="3339980" y="348001"/>
                  <a:pt x="3345198" y="354564"/>
                </a:cubicBezTo>
                <a:cubicBezTo>
                  <a:pt x="3350414" y="361126"/>
                  <a:pt x="3353022" y="368951"/>
                  <a:pt x="3353022" y="378038"/>
                </a:cubicBezTo>
                <a:cubicBezTo>
                  <a:pt x="3353022" y="387125"/>
                  <a:pt x="3350414" y="395034"/>
                  <a:pt x="3345198" y="401765"/>
                </a:cubicBezTo>
                <a:cubicBezTo>
                  <a:pt x="3339980" y="408496"/>
                  <a:pt x="3333334" y="411861"/>
                  <a:pt x="3325256" y="411861"/>
                </a:cubicBezTo>
                <a:close/>
                <a:moveTo>
                  <a:pt x="2207070" y="453257"/>
                </a:moveTo>
                <a:lnTo>
                  <a:pt x="2207070" y="401765"/>
                </a:lnTo>
                <a:lnTo>
                  <a:pt x="2272697" y="401765"/>
                </a:lnTo>
                <a:lnTo>
                  <a:pt x="2272697" y="314430"/>
                </a:lnTo>
                <a:cubicBezTo>
                  <a:pt x="2272697" y="297939"/>
                  <a:pt x="2274043" y="283299"/>
                  <a:pt x="2276735" y="270510"/>
                </a:cubicBezTo>
                <a:cubicBezTo>
                  <a:pt x="2279428" y="257721"/>
                  <a:pt x="2284055" y="246868"/>
                  <a:pt x="2290618" y="237949"/>
                </a:cubicBezTo>
                <a:cubicBezTo>
                  <a:pt x="2297181" y="229031"/>
                  <a:pt x="2305931" y="222215"/>
                  <a:pt x="2316869" y="217504"/>
                </a:cubicBezTo>
                <a:cubicBezTo>
                  <a:pt x="2327807" y="212792"/>
                  <a:pt x="2341353" y="210436"/>
                  <a:pt x="2357508" y="210436"/>
                </a:cubicBezTo>
                <a:cubicBezTo>
                  <a:pt x="2366931" y="210436"/>
                  <a:pt x="2377280" y="211530"/>
                  <a:pt x="2388554" y="213718"/>
                </a:cubicBezTo>
                <a:cubicBezTo>
                  <a:pt x="2399829" y="215905"/>
                  <a:pt x="2411860" y="220028"/>
                  <a:pt x="2424649" y="226086"/>
                </a:cubicBezTo>
                <a:lnTo>
                  <a:pt x="2416572" y="276063"/>
                </a:lnTo>
                <a:cubicBezTo>
                  <a:pt x="2406475" y="271352"/>
                  <a:pt x="2397388" y="268239"/>
                  <a:pt x="2389312" y="266724"/>
                </a:cubicBezTo>
                <a:cubicBezTo>
                  <a:pt x="2381234" y="265210"/>
                  <a:pt x="2374335" y="264452"/>
                  <a:pt x="2368614" y="264452"/>
                </a:cubicBezTo>
                <a:cubicBezTo>
                  <a:pt x="2356498" y="264452"/>
                  <a:pt x="2347832" y="267902"/>
                  <a:pt x="2342615" y="274801"/>
                </a:cubicBezTo>
                <a:cubicBezTo>
                  <a:pt x="2337398" y="281701"/>
                  <a:pt x="2334790" y="292218"/>
                  <a:pt x="2334790" y="306353"/>
                </a:cubicBezTo>
                <a:lnTo>
                  <a:pt x="2334790" y="453257"/>
                </a:lnTo>
                <a:close/>
                <a:moveTo>
                  <a:pt x="1088092" y="457800"/>
                </a:moveTo>
                <a:cubicBezTo>
                  <a:pt x="1064870" y="457800"/>
                  <a:pt x="1044593" y="455949"/>
                  <a:pt x="1027260" y="452247"/>
                </a:cubicBezTo>
                <a:cubicBezTo>
                  <a:pt x="1009928" y="448545"/>
                  <a:pt x="993016" y="443665"/>
                  <a:pt x="976526" y="437607"/>
                </a:cubicBezTo>
                <a:lnTo>
                  <a:pt x="976526" y="215989"/>
                </a:lnTo>
                <a:lnTo>
                  <a:pt x="1039124" y="215989"/>
                </a:lnTo>
                <a:lnTo>
                  <a:pt x="1039124" y="392173"/>
                </a:lnTo>
                <a:cubicBezTo>
                  <a:pt x="1047874" y="394529"/>
                  <a:pt x="1056456" y="396128"/>
                  <a:pt x="1064870" y="396969"/>
                </a:cubicBezTo>
                <a:cubicBezTo>
                  <a:pt x="1073284" y="397810"/>
                  <a:pt x="1081866" y="398231"/>
                  <a:pt x="1090616" y="398231"/>
                </a:cubicBezTo>
                <a:cubicBezTo>
                  <a:pt x="1094318" y="398231"/>
                  <a:pt x="1098861" y="398063"/>
                  <a:pt x="1104246" y="397726"/>
                </a:cubicBezTo>
                <a:cubicBezTo>
                  <a:pt x="1109631" y="397390"/>
                  <a:pt x="1115184" y="396801"/>
                  <a:pt x="1120905" y="395959"/>
                </a:cubicBezTo>
                <a:cubicBezTo>
                  <a:pt x="1126627" y="395118"/>
                  <a:pt x="1132264" y="394192"/>
                  <a:pt x="1137817" y="393183"/>
                </a:cubicBezTo>
                <a:cubicBezTo>
                  <a:pt x="1143370" y="392173"/>
                  <a:pt x="1148166" y="391164"/>
                  <a:pt x="1152205" y="390154"/>
                </a:cubicBezTo>
                <a:lnTo>
                  <a:pt x="1163311" y="447704"/>
                </a:lnTo>
                <a:cubicBezTo>
                  <a:pt x="1157589" y="449723"/>
                  <a:pt x="1151111" y="451322"/>
                  <a:pt x="1143875" y="452500"/>
                </a:cubicBezTo>
                <a:cubicBezTo>
                  <a:pt x="1136639" y="453678"/>
                  <a:pt x="1129487" y="454687"/>
                  <a:pt x="1122420" y="455529"/>
                </a:cubicBezTo>
                <a:cubicBezTo>
                  <a:pt x="1115352" y="456370"/>
                  <a:pt x="1108706" y="456959"/>
                  <a:pt x="1102479" y="457296"/>
                </a:cubicBezTo>
                <a:cubicBezTo>
                  <a:pt x="1096253" y="457632"/>
                  <a:pt x="1091457" y="457800"/>
                  <a:pt x="1088092" y="457800"/>
                </a:cubicBezTo>
                <a:close/>
                <a:moveTo>
                  <a:pt x="2572782" y="459315"/>
                </a:moveTo>
                <a:cubicBezTo>
                  <a:pt x="2556628" y="459315"/>
                  <a:pt x="2541651" y="456370"/>
                  <a:pt x="2527852" y="450480"/>
                </a:cubicBezTo>
                <a:cubicBezTo>
                  <a:pt x="2514054" y="444591"/>
                  <a:pt x="2502190" y="436177"/>
                  <a:pt x="2492262" y="425239"/>
                </a:cubicBezTo>
                <a:cubicBezTo>
                  <a:pt x="2482334" y="414301"/>
                  <a:pt x="2474594" y="401176"/>
                  <a:pt x="2469040" y="385863"/>
                </a:cubicBezTo>
                <a:cubicBezTo>
                  <a:pt x="2463487" y="370550"/>
                  <a:pt x="2460711" y="353638"/>
                  <a:pt x="2460711" y="335128"/>
                </a:cubicBezTo>
                <a:cubicBezTo>
                  <a:pt x="2460711" y="316281"/>
                  <a:pt x="2463403" y="299201"/>
                  <a:pt x="2468788" y="283888"/>
                </a:cubicBezTo>
                <a:cubicBezTo>
                  <a:pt x="2474173" y="268575"/>
                  <a:pt x="2481829" y="255366"/>
                  <a:pt x="2491758" y="244259"/>
                </a:cubicBezTo>
                <a:cubicBezTo>
                  <a:pt x="2501686" y="233153"/>
                  <a:pt x="2513465" y="224571"/>
                  <a:pt x="2527095" y="218513"/>
                </a:cubicBezTo>
                <a:cubicBezTo>
                  <a:pt x="2540726" y="212455"/>
                  <a:pt x="2555954" y="209427"/>
                  <a:pt x="2572782" y="209427"/>
                </a:cubicBezTo>
                <a:cubicBezTo>
                  <a:pt x="2589609" y="209427"/>
                  <a:pt x="2604838" y="212455"/>
                  <a:pt x="2618468" y="218513"/>
                </a:cubicBezTo>
                <a:cubicBezTo>
                  <a:pt x="2632098" y="224571"/>
                  <a:pt x="2643794" y="233153"/>
                  <a:pt x="2653554" y="244259"/>
                </a:cubicBezTo>
                <a:cubicBezTo>
                  <a:pt x="2663314" y="255366"/>
                  <a:pt x="2670886" y="268575"/>
                  <a:pt x="2676271" y="283888"/>
                </a:cubicBezTo>
                <a:cubicBezTo>
                  <a:pt x="2681656" y="299201"/>
                  <a:pt x="2684348" y="316281"/>
                  <a:pt x="2684348" y="335128"/>
                </a:cubicBezTo>
                <a:cubicBezTo>
                  <a:pt x="2684348" y="353638"/>
                  <a:pt x="2681656" y="370550"/>
                  <a:pt x="2676271" y="385863"/>
                </a:cubicBezTo>
                <a:cubicBezTo>
                  <a:pt x="2670886" y="401176"/>
                  <a:pt x="2663230" y="414301"/>
                  <a:pt x="2653302" y="425239"/>
                </a:cubicBezTo>
                <a:cubicBezTo>
                  <a:pt x="2643373" y="436177"/>
                  <a:pt x="2631594" y="444591"/>
                  <a:pt x="2617964" y="450480"/>
                </a:cubicBezTo>
                <a:cubicBezTo>
                  <a:pt x="2604334" y="456370"/>
                  <a:pt x="2589273" y="459315"/>
                  <a:pt x="2572782" y="459315"/>
                </a:cubicBezTo>
                <a:close/>
                <a:moveTo>
                  <a:pt x="1810782" y="459315"/>
                </a:moveTo>
                <a:cubicBezTo>
                  <a:pt x="1794628" y="459315"/>
                  <a:pt x="1779651" y="456370"/>
                  <a:pt x="1765853" y="450480"/>
                </a:cubicBezTo>
                <a:cubicBezTo>
                  <a:pt x="1752054" y="444591"/>
                  <a:pt x="1740191" y="436177"/>
                  <a:pt x="1730262" y="425239"/>
                </a:cubicBezTo>
                <a:cubicBezTo>
                  <a:pt x="1720334" y="414301"/>
                  <a:pt x="1712594" y="401176"/>
                  <a:pt x="1707040" y="385863"/>
                </a:cubicBezTo>
                <a:cubicBezTo>
                  <a:pt x="1701488" y="370550"/>
                  <a:pt x="1698711" y="353638"/>
                  <a:pt x="1698711" y="335128"/>
                </a:cubicBezTo>
                <a:cubicBezTo>
                  <a:pt x="1698711" y="316281"/>
                  <a:pt x="1701403" y="299201"/>
                  <a:pt x="1706788" y="283888"/>
                </a:cubicBezTo>
                <a:cubicBezTo>
                  <a:pt x="1712173" y="268575"/>
                  <a:pt x="1719829" y="255366"/>
                  <a:pt x="1729758" y="244259"/>
                </a:cubicBezTo>
                <a:cubicBezTo>
                  <a:pt x="1739686" y="233153"/>
                  <a:pt x="1751465" y="224571"/>
                  <a:pt x="1765095" y="218513"/>
                </a:cubicBezTo>
                <a:cubicBezTo>
                  <a:pt x="1778726" y="212455"/>
                  <a:pt x="1793954" y="209427"/>
                  <a:pt x="1810782" y="209427"/>
                </a:cubicBezTo>
                <a:cubicBezTo>
                  <a:pt x="1827610" y="209427"/>
                  <a:pt x="1842838" y="212455"/>
                  <a:pt x="1856469" y="218513"/>
                </a:cubicBezTo>
                <a:cubicBezTo>
                  <a:pt x="1870099" y="224571"/>
                  <a:pt x="1881794" y="233153"/>
                  <a:pt x="1891554" y="244259"/>
                </a:cubicBezTo>
                <a:cubicBezTo>
                  <a:pt x="1901314" y="255366"/>
                  <a:pt x="1908886" y="268575"/>
                  <a:pt x="1914271" y="283888"/>
                </a:cubicBezTo>
                <a:cubicBezTo>
                  <a:pt x="1919656" y="299201"/>
                  <a:pt x="1922348" y="316281"/>
                  <a:pt x="1922348" y="335128"/>
                </a:cubicBezTo>
                <a:cubicBezTo>
                  <a:pt x="1922348" y="353638"/>
                  <a:pt x="1919656" y="370550"/>
                  <a:pt x="1914271" y="385863"/>
                </a:cubicBezTo>
                <a:cubicBezTo>
                  <a:pt x="1908886" y="401176"/>
                  <a:pt x="1901230" y="414301"/>
                  <a:pt x="1891302" y="425239"/>
                </a:cubicBezTo>
                <a:cubicBezTo>
                  <a:pt x="1881374" y="436177"/>
                  <a:pt x="1869594" y="444591"/>
                  <a:pt x="1855964" y="450480"/>
                </a:cubicBezTo>
                <a:cubicBezTo>
                  <a:pt x="1842334" y="456370"/>
                  <a:pt x="1827273" y="459315"/>
                  <a:pt x="1810782" y="459315"/>
                </a:cubicBezTo>
                <a:close/>
                <a:moveTo>
                  <a:pt x="810657" y="459315"/>
                </a:moveTo>
                <a:cubicBezTo>
                  <a:pt x="794503" y="459315"/>
                  <a:pt x="779526" y="456370"/>
                  <a:pt x="765728" y="450480"/>
                </a:cubicBezTo>
                <a:cubicBezTo>
                  <a:pt x="751929" y="444591"/>
                  <a:pt x="740066" y="436177"/>
                  <a:pt x="730138" y="425239"/>
                </a:cubicBezTo>
                <a:cubicBezTo>
                  <a:pt x="720209" y="414301"/>
                  <a:pt x="712469" y="401176"/>
                  <a:pt x="706916" y="385863"/>
                </a:cubicBezTo>
                <a:cubicBezTo>
                  <a:pt x="701362" y="370550"/>
                  <a:pt x="698586" y="353638"/>
                  <a:pt x="698586" y="335128"/>
                </a:cubicBezTo>
                <a:cubicBezTo>
                  <a:pt x="698586" y="316281"/>
                  <a:pt x="701278" y="299201"/>
                  <a:pt x="706663" y="283888"/>
                </a:cubicBezTo>
                <a:cubicBezTo>
                  <a:pt x="712048" y="268575"/>
                  <a:pt x="719704" y="255366"/>
                  <a:pt x="729633" y="244259"/>
                </a:cubicBezTo>
                <a:cubicBezTo>
                  <a:pt x="739561" y="233153"/>
                  <a:pt x="751340" y="224571"/>
                  <a:pt x="764970" y="218513"/>
                </a:cubicBezTo>
                <a:cubicBezTo>
                  <a:pt x="778601" y="212455"/>
                  <a:pt x="793830" y="209427"/>
                  <a:pt x="810657" y="209427"/>
                </a:cubicBezTo>
                <a:cubicBezTo>
                  <a:pt x="827485" y="209427"/>
                  <a:pt x="842713" y="212455"/>
                  <a:pt x="856344" y="218513"/>
                </a:cubicBezTo>
                <a:cubicBezTo>
                  <a:pt x="869974" y="224571"/>
                  <a:pt x="881669" y="233153"/>
                  <a:pt x="891429" y="244259"/>
                </a:cubicBezTo>
                <a:cubicBezTo>
                  <a:pt x="901189" y="255366"/>
                  <a:pt x="908761" y="268575"/>
                  <a:pt x="914146" y="283888"/>
                </a:cubicBezTo>
                <a:cubicBezTo>
                  <a:pt x="919531" y="299201"/>
                  <a:pt x="922223" y="316281"/>
                  <a:pt x="922223" y="335128"/>
                </a:cubicBezTo>
                <a:cubicBezTo>
                  <a:pt x="922223" y="353638"/>
                  <a:pt x="919531" y="370550"/>
                  <a:pt x="914146" y="385863"/>
                </a:cubicBezTo>
                <a:cubicBezTo>
                  <a:pt x="908761" y="401176"/>
                  <a:pt x="901105" y="414301"/>
                  <a:pt x="891177" y="425239"/>
                </a:cubicBezTo>
                <a:cubicBezTo>
                  <a:pt x="881248" y="436177"/>
                  <a:pt x="869469" y="444591"/>
                  <a:pt x="855839" y="450480"/>
                </a:cubicBezTo>
                <a:cubicBezTo>
                  <a:pt x="842209" y="456370"/>
                  <a:pt x="827148" y="459315"/>
                  <a:pt x="810657" y="459315"/>
                </a:cubicBezTo>
                <a:close/>
                <a:moveTo>
                  <a:pt x="546919" y="477993"/>
                </a:moveTo>
                <a:cubicBezTo>
                  <a:pt x="563410" y="477993"/>
                  <a:pt x="576620" y="474207"/>
                  <a:pt x="586548" y="466635"/>
                </a:cubicBezTo>
                <a:cubicBezTo>
                  <a:pt x="596476" y="459062"/>
                  <a:pt x="601441" y="446189"/>
                  <a:pt x="601441" y="428016"/>
                </a:cubicBezTo>
                <a:cubicBezTo>
                  <a:pt x="601441" y="408832"/>
                  <a:pt x="596392" y="395286"/>
                  <a:pt x="586296" y="387377"/>
                </a:cubicBezTo>
                <a:cubicBezTo>
                  <a:pt x="576199" y="379468"/>
                  <a:pt x="561223" y="375514"/>
                  <a:pt x="541366" y="375514"/>
                </a:cubicBezTo>
                <a:lnTo>
                  <a:pt x="516125" y="375514"/>
                </a:lnTo>
                <a:lnTo>
                  <a:pt x="516125" y="476479"/>
                </a:lnTo>
                <a:cubicBezTo>
                  <a:pt x="519827" y="477152"/>
                  <a:pt x="524960" y="477573"/>
                  <a:pt x="531522" y="477741"/>
                </a:cubicBezTo>
                <a:cubicBezTo>
                  <a:pt x="538085" y="477909"/>
                  <a:pt x="543217" y="477993"/>
                  <a:pt x="546919" y="477993"/>
                </a:cubicBezTo>
                <a:close/>
                <a:moveTo>
                  <a:pt x="3324752" y="482537"/>
                </a:moveTo>
                <a:cubicBezTo>
                  <a:pt x="3341916" y="482537"/>
                  <a:pt x="3354958" y="473198"/>
                  <a:pt x="3363876" y="454519"/>
                </a:cubicBezTo>
                <a:cubicBezTo>
                  <a:pt x="3372794" y="435841"/>
                  <a:pt x="3377254" y="408664"/>
                  <a:pt x="3377254" y="372990"/>
                </a:cubicBezTo>
                <a:cubicBezTo>
                  <a:pt x="3377254" y="336979"/>
                  <a:pt x="3372794" y="309634"/>
                  <a:pt x="3363876" y="290956"/>
                </a:cubicBezTo>
                <a:cubicBezTo>
                  <a:pt x="3354958" y="272277"/>
                  <a:pt x="3341916" y="262938"/>
                  <a:pt x="3324752" y="262938"/>
                </a:cubicBezTo>
                <a:cubicBezTo>
                  <a:pt x="3307924" y="262938"/>
                  <a:pt x="3294968" y="272277"/>
                  <a:pt x="3285880" y="290956"/>
                </a:cubicBezTo>
                <a:cubicBezTo>
                  <a:pt x="3276794" y="309634"/>
                  <a:pt x="3272250" y="336979"/>
                  <a:pt x="3272250" y="372990"/>
                </a:cubicBezTo>
                <a:cubicBezTo>
                  <a:pt x="3272250" y="408664"/>
                  <a:pt x="3276794" y="435841"/>
                  <a:pt x="3285880" y="454519"/>
                </a:cubicBezTo>
                <a:cubicBezTo>
                  <a:pt x="3294968" y="473198"/>
                  <a:pt x="3307924" y="482537"/>
                  <a:pt x="3324752" y="482537"/>
                </a:cubicBezTo>
                <a:close/>
                <a:moveTo>
                  <a:pt x="1323054" y="522923"/>
                </a:moveTo>
                <a:lnTo>
                  <a:pt x="1260961" y="512826"/>
                </a:lnTo>
                <a:lnTo>
                  <a:pt x="1260961" y="453257"/>
                </a:lnTo>
                <a:lnTo>
                  <a:pt x="1206945" y="453257"/>
                </a:lnTo>
                <a:lnTo>
                  <a:pt x="1206945" y="401765"/>
                </a:lnTo>
                <a:lnTo>
                  <a:pt x="1260961" y="401765"/>
                </a:lnTo>
                <a:lnTo>
                  <a:pt x="1260961" y="304334"/>
                </a:lnTo>
                <a:cubicBezTo>
                  <a:pt x="1260961" y="284477"/>
                  <a:pt x="1262980" y="268407"/>
                  <a:pt x="1267019" y="256123"/>
                </a:cubicBezTo>
                <a:cubicBezTo>
                  <a:pt x="1271057" y="243839"/>
                  <a:pt x="1276947" y="234331"/>
                  <a:pt x="1284688" y="227600"/>
                </a:cubicBezTo>
                <a:cubicBezTo>
                  <a:pt x="1292428" y="220869"/>
                  <a:pt x="1301852" y="216326"/>
                  <a:pt x="1312958" y="213970"/>
                </a:cubicBezTo>
                <a:cubicBezTo>
                  <a:pt x="1324064" y="211614"/>
                  <a:pt x="1336853" y="210436"/>
                  <a:pt x="1351325" y="210436"/>
                </a:cubicBezTo>
                <a:cubicBezTo>
                  <a:pt x="1363777" y="210436"/>
                  <a:pt x="1376650" y="211446"/>
                  <a:pt x="1389944" y="213465"/>
                </a:cubicBezTo>
                <a:cubicBezTo>
                  <a:pt x="1403238" y="215484"/>
                  <a:pt x="1415606" y="218850"/>
                  <a:pt x="1427048" y="223562"/>
                </a:cubicBezTo>
                <a:lnTo>
                  <a:pt x="1418466" y="277073"/>
                </a:lnTo>
                <a:cubicBezTo>
                  <a:pt x="1412745" y="274381"/>
                  <a:pt x="1407444" y="272193"/>
                  <a:pt x="1402564" y="270510"/>
                </a:cubicBezTo>
                <a:cubicBezTo>
                  <a:pt x="1397684" y="268828"/>
                  <a:pt x="1392973" y="267566"/>
                  <a:pt x="1388429" y="266724"/>
                </a:cubicBezTo>
                <a:cubicBezTo>
                  <a:pt x="1383886" y="265883"/>
                  <a:pt x="1379174" y="265294"/>
                  <a:pt x="1374294" y="264957"/>
                </a:cubicBezTo>
                <a:cubicBezTo>
                  <a:pt x="1369414" y="264621"/>
                  <a:pt x="1364114" y="264452"/>
                  <a:pt x="1358392" y="264452"/>
                </a:cubicBezTo>
                <a:cubicBezTo>
                  <a:pt x="1353007" y="264452"/>
                  <a:pt x="1348127" y="264957"/>
                  <a:pt x="1343752" y="265967"/>
                </a:cubicBezTo>
                <a:cubicBezTo>
                  <a:pt x="1339377" y="266977"/>
                  <a:pt x="1335675" y="268996"/>
                  <a:pt x="1332646" y="272025"/>
                </a:cubicBezTo>
                <a:cubicBezTo>
                  <a:pt x="1329617" y="275054"/>
                  <a:pt x="1327261" y="279261"/>
                  <a:pt x="1325579" y="284645"/>
                </a:cubicBezTo>
                <a:cubicBezTo>
                  <a:pt x="1323896" y="290030"/>
                  <a:pt x="1323054" y="297098"/>
                  <a:pt x="1323054" y="305848"/>
                </a:cubicBezTo>
                <a:lnTo>
                  <a:pt x="1323054" y="401765"/>
                </a:lnTo>
                <a:lnTo>
                  <a:pt x="1422505" y="401765"/>
                </a:lnTo>
                <a:lnTo>
                  <a:pt x="1422505" y="453257"/>
                </a:lnTo>
                <a:lnTo>
                  <a:pt x="1323054" y="453257"/>
                </a:lnTo>
                <a:close/>
                <a:moveTo>
                  <a:pt x="539852" y="532010"/>
                </a:moveTo>
                <a:cubicBezTo>
                  <a:pt x="534131" y="532010"/>
                  <a:pt x="527568" y="531841"/>
                  <a:pt x="520164" y="531505"/>
                </a:cubicBezTo>
                <a:cubicBezTo>
                  <a:pt x="512760" y="531168"/>
                  <a:pt x="505187" y="530748"/>
                  <a:pt x="497447" y="530243"/>
                </a:cubicBezTo>
                <a:cubicBezTo>
                  <a:pt x="489706" y="529738"/>
                  <a:pt x="482049" y="528981"/>
                  <a:pt x="474477" y="527971"/>
                </a:cubicBezTo>
                <a:cubicBezTo>
                  <a:pt x="466905" y="526961"/>
                  <a:pt x="460090" y="525784"/>
                  <a:pt x="454032" y="524437"/>
                </a:cubicBezTo>
                <a:lnTo>
                  <a:pt x="454032" y="215989"/>
                </a:lnTo>
                <a:lnTo>
                  <a:pt x="516125" y="215989"/>
                </a:lnTo>
                <a:lnTo>
                  <a:pt x="516125" y="321498"/>
                </a:lnTo>
                <a:lnTo>
                  <a:pt x="538337" y="321498"/>
                </a:lnTo>
                <a:cubicBezTo>
                  <a:pt x="578723" y="321498"/>
                  <a:pt x="609938" y="329827"/>
                  <a:pt x="631982" y="346486"/>
                </a:cubicBezTo>
                <a:cubicBezTo>
                  <a:pt x="654026" y="363146"/>
                  <a:pt x="665048" y="390154"/>
                  <a:pt x="665048" y="427511"/>
                </a:cubicBezTo>
                <a:cubicBezTo>
                  <a:pt x="665048" y="464531"/>
                  <a:pt x="654111" y="491203"/>
                  <a:pt x="632235" y="507526"/>
                </a:cubicBezTo>
                <a:cubicBezTo>
                  <a:pt x="610359" y="523848"/>
                  <a:pt x="579565" y="532010"/>
                  <a:pt x="539852" y="532010"/>
                </a:cubicBezTo>
                <a:close/>
                <a:moveTo>
                  <a:pt x="3816452" y="535544"/>
                </a:moveTo>
                <a:cubicBezTo>
                  <a:pt x="3797604" y="535544"/>
                  <a:pt x="3780694" y="532430"/>
                  <a:pt x="3765716" y="526204"/>
                </a:cubicBezTo>
                <a:cubicBezTo>
                  <a:pt x="3750740" y="519978"/>
                  <a:pt x="3738708" y="513836"/>
                  <a:pt x="3729622" y="507778"/>
                </a:cubicBezTo>
                <a:lnTo>
                  <a:pt x="3751834" y="462344"/>
                </a:lnTo>
                <a:cubicBezTo>
                  <a:pt x="3760248" y="468065"/>
                  <a:pt x="3770260" y="472861"/>
                  <a:pt x="3781872" y="476731"/>
                </a:cubicBezTo>
                <a:cubicBezTo>
                  <a:pt x="3793482" y="480602"/>
                  <a:pt x="3805178" y="482537"/>
                  <a:pt x="3816956" y="482537"/>
                </a:cubicBezTo>
                <a:cubicBezTo>
                  <a:pt x="3829072" y="482537"/>
                  <a:pt x="3838580" y="479255"/>
                  <a:pt x="3845480" y="472693"/>
                </a:cubicBezTo>
                <a:cubicBezTo>
                  <a:pt x="3852378" y="466130"/>
                  <a:pt x="3855828" y="457127"/>
                  <a:pt x="3855828" y="445685"/>
                </a:cubicBezTo>
                <a:cubicBezTo>
                  <a:pt x="3855828" y="437944"/>
                  <a:pt x="3854230" y="431550"/>
                  <a:pt x="3851032" y="426501"/>
                </a:cubicBezTo>
                <a:cubicBezTo>
                  <a:pt x="3847836" y="421453"/>
                  <a:pt x="3843712" y="417414"/>
                  <a:pt x="3838664" y="414385"/>
                </a:cubicBezTo>
                <a:cubicBezTo>
                  <a:pt x="3833616" y="411357"/>
                  <a:pt x="3827894" y="409169"/>
                  <a:pt x="3821500" y="407823"/>
                </a:cubicBezTo>
                <a:cubicBezTo>
                  <a:pt x="3815106" y="406477"/>
                  <a:pt x="3808712" y="405803"/>
                  <a:pt x="3802316" y="405803"/>
                </a:cubicBezTo>
                <a:lnTo>
                  <a:pt x="3779094" y="405803"/>
                </a:lnTo>
                <a:lnTo>
                  <a:pt x="3779094" y="354311"/>
                </a:lnTo>
                <a:lnTo>
                  <a:pt x="3798278" y="354311"/>
                </a:lnTo>
                <a:cubicBezTo>
                  <a:pt x="3818470" y="354311"/>
                  <a:pt x="3835130" y="351030"/>
                  <a:pt x="3848256" y="344467"/>
                </a:cubicBezTo>
                <a:cubicBezTo>
                  <a:pt x="3861380" y="337904"/>
                  <a:pt x="3867944" y="326378"/>
                  <a:pt x="3867944" y="309887"/>
                </a:cubicBezTo>
                <a:cubicBezTo>
                  <a:pt x="3867944" y="296425"/>
                  <a:pt x="3863652" y="285150"/>
                  <a:pt x="3855072" y="276063"/>
                </a:cubicBezTo>
                <a:cubicBezTo>
                  <a:pt x="3846488" y="266977"/>
                  <a:pt x="3831596" y="262433"/>
                  <a:pt x="3810394" y="262433"/>
                </a:cubicBezTo>
                <a:cubicBezTo>
                  <a:pt x="3793230" y="262433"/>
                  <a:pt x="3778506" y="264284"/>
                  <a:pt x="3766222" y="267986"/>
                </a:cubicBezTo>
                <a:cubicBezTo>
                  <a:pt x="3753938" y="271688"/>
                  <a:pt x="3743924" y="275222"/>
                  <a:pt x="3736184" y="278588"/>
                </a:cubicBezTo>
                <a:lnTo>
                  <a:pt x="3724068" y="226591"/>
                </a:lnTo>
                <a:cubicBezTo>
                  <a:pt x="3727770" y="224908"/>
                  <a:pt x="3732988" y="223057"/>
                  <a:pt x="3739718" y="221037"/>
                </a:cubicBezTo>
                <a:cubicBezTo>
                  <a:pt x="3746450" y="219018"/>
                  <a:pt x="3753770" y="217167"/>
                  <a:pt x="3761678" y="215484"/>
                </a:cubicBezTo>
                <a:cubicBezTo>
                  <a:pt x="3769588" y="213802"/>
                  <a:pt x="3777832" y="212371"/>
                  <a:pt x="3786414" y="211193"/>
                </a:cubicBezTo>
                <a:cubicBezTo>
                  <a:pt x="3794996" y="210015"/>
                  <a:pt x="3803158" y="209427"/>
                  <a:pt x="3810898" y="209427"/>
                </a:cubicBezTo>
                <a:cubicBezTo>
                  <a:pt x="3831764" y="209427"/>
                  <a:pt x="3849770" y="211867"/>
                  <a:pt x="3864916" y="216746"/>
                </a:cubicBezTo>
                <a:cubicBezTo>
                  <a:pt x="3880060" y="221626"/>
                  <a:pt x="3892512" y="228526"/>
                  <a:pt x="3902272" y="237444"/>
                </a:cubicBezTo>
                <a:cubicBezTo>
                  <a:pt x="3912032" y="246363"/>
                  <a:pt x="3919268" y="256880"/>
                  <a:pt x="3923980" y="268996"/>
                </a:cubicBezTo>
                <a:cubicBezTo>
                  <a:pt x="3928692" y="281112"/>
                  <a:pt x="3931048" y="294405"/>
                  <a:pt x="3931048" y="308877"/>
                </a:cubicBezTo>
                <a:cubicBezTo>
                  <a:pt x="3931048" y="327051"/>
                  <a:pt x="3926588" y="342700"/>
                  <a:pt x="3917668" y="355826"/>
                </a:cubicBezTo>
                <a:cubicBezTo>
                  <a:pt x="3908750" y="368951"/>
                  <a:pt x="3896214" y="378879"/>
                  <a:pt x="3880060" y="385610"/>
                </a:cubicBezTo>
                <a:cubicBezTo>
                  <a:pt x="3891840" y="391668"/>
                  <a:pt x="3901262" y="400419"/>
                  <a:pt x="3908330" y="411861"/>
                </a:cubicBezTo>
                <a:cubicBezTo>
                  <a:pt x="3915398" y="423304"/>
                  <a:pt x="3918932" y="435252"/>
                  <a:pt x="3918932" y="447704"/>
                </a:cubicBezTo>
                <a:cubicBezTo>
                  <a:pt x="3918932" y="460156"/>
                  <a:pt x="3916912" y="471767"/>
                  <a:pt x="3912874" y="482537"/>
                </a:cubicBezTo>
                <a:cubicBezTo>
                  <a:pt x="3908834" y="493306"/>
                  <a:pt x="3902608" y="502646"/>
                  <a:pt x="3894196" y="510555"/>
                </a:cubicBezTo>
                <a:cubicBezTo>
                  <a:pt x="3885780" y="518464"/>
                  <a:pt x="3875096" y="524606"/>
                  <a:pt x="3862138" y="528981"/>
                </a:cubicBezTo>
                <a:cubicBezTo>
                  <a:pt x="3849180" y="533356"/>
                  <a:pt x="3833952" y="535544"/>
                  <a:pt x="3816452" y="535544"/>
                </a:cubicBezTo>
                <a:close/>
                <a:moveTo>
                  <a:pt x="3567354" y="535544"/>
                </a:moveTo>
                <a:cubicBezTo>
                  <a:pt x="3549854" y="535544"/>
                  <a:pt x="3532268" y="532178"/>
                  <a:pt x="3514600" y="525447"/>
                </a:cubicBezTo>
                <a:cubicBezTo>
                  <a:pt x="3496930" y="518716"/>
                  <a:pt x="3481366" y="508283"/>
                  <a:pt x="3467904" y="494148"/>
                </a:cubicBezTo>
                <a:lnTo>
                  <a:pt x="3498698" y="450733"/>
                </a:lnTo>
                <a:cubicBezTo>
                  <a:pt x="3509130" y="461839"/>
                  <a:pt x="3519732" y="469748"/>
                  <a:pt x="3530502" y="474460"/>
                </a:cubicBezTo>
                <a:cubicBezTo>
                  <a:pt x="3541272" y="479171"/>
                  <a:pt x="3551536" y="481527"/>
                  <a:pt x="3561296" y="481527"/>
                </a:cubicBezTo>
                <a:cubicBezTo>
                  <a:pt x="3573076" y="481527"/>
                  <a:pt x="3582836" y="478078"/>
                  <a:pt x="3590576" y="471178"/>
                </a:cubicBezTo>
                <a:cubicBezTo>
                  <a:pt x="3598316" y="464279"/>
                  <a:pt x="3602186" y="454435"/>
                  <a:pt x="3602188" y="441646"/>
                </a:cubicBezTo>
                <a:cubicBezTo>
                  <a:pt x="3602186" y="432559"/>
                  <a:pt x="3599074" y="423641"/>
                  <a:pt x="3592848" y="414890"/>
                </a:cubicBezTo>
                <a:cubicBezTo>
                  <a:pt x="3586622" y="406140"/>
                  <a:pt x="3578712" y="397053"/>
                  <a:pt x="3569120" y="387630"/>
                </a:cubicBezTo>
                <a:cubicBezTo>
                  <a:pt x="3559528" y="378206"/>
                  <a:pt x="3549264" y="368362"/>
                  <a:pt x="3538326" y="358097"/>
                </a:cubicBezTo>
                <a:cubicBezTo>
                  <a:pt x="3527388" y="347833"/>
                  <a:pt x="3517124" y="336727"/>
                  <a:pt x="3507532" y="324779"/>
                </a:cubicBezTo>
                <a:cubicBezTo>
                  <a:pt x="3497940" y="312831"/>
                  <a:pt x="3490032" y="299790"/>
                  <a:pt x="3483806" y="285655"/>
                </a:cubicBezTo>
                <a:cubicBezTo>
                  <a:pt x="3477580" y="271520"/>
                  <a:pt x="3474466" y="256039"/>
                  <a:pt x="3474466" y="239211"/>
                </a:cubicBezTo>
                <a:cubicBezTo>
                  <a:pt x="3474466" y="237192"/>
                  <a:pt x="3474382" y="233658"/>
                  <a:pt x="3474214" y="228610"/>
                </a:cubicBezTo>
                <a:cubicBezTo>
                  <a:pt x="3474046" y="223562"/>
                  <a:pt x="3474466" y="219355"/>
                  <a:pt x="3475476" y="215989"/>
                </a:cubicBezTo>
                <a:lnTo>
                  <a:pt x="3679426" y="215989"/>
                </a:lnTo>
                <a:lnTo>
                  <a:pt x="3679426" y="267481"/>
                </a:lnTo>
                <a:lnTo>
                  <a:pt x="3545142" y="267481"/>
                </a:lnTo>
                <a:cubicBezTo>
                  <a:pt x="3545142" y="272530"/>
                  <a:pt x="3546908" y="278083"/>
                  <a:pt x="3550442" y="284141"/>
                </a:cubicBezTo>
                <a:cubicBezTo>
                  <a:pt x="3553976" y="290198"/>
                  <a:pt x="3558268" y="296172"/>
                  <a:pt x="3563316" y="302062"/>
                </a:cubicBezTo>
                <a:cubicBezTo>
                  <a:pt x="3568364" y="307952"/>
                  <a:pt x="3573748" y="313673"/>
                  <a:pt x="3579470" y="319226"/>
                </a:cubicBezTo>
                <a:cubicBezTo>
                  <a:pt x="3585190" y="324779"/>
                  <a:pt x="3590240" y="329575"/>
                  <a:pt x="3594614" y="333613"/>
                </a:cubicBezTo>
                <a:cubicBezTo>
                  <a:pt x="3603364" y="341691"/>
                  <a:pt x="3611946" y="350104"/>
                  <a:pt x="3620360" y="358855"/>
                </a:cubicBezTo>
                <a:cubicBezTo>
                  <a:pt x="3628774" y="367605"/>
                  <a:pt x="3636346" y="376692"/>
                  <a:pt x="3643078" y="386115"/>
                </a:cubicBezTo>
                <a:cubicBezTo>
                  <a:pt x="3649808" y="395539"/>
                  <a:pt x="3655194" y="405214"/>
                  <a:pt x="3659232" y="415143"/>
                </a:cubicBezTo>
                <a:cubicBezTo>
                  <a:pt x="3663270" y="425071"/>
                  <a:pt x="3665290" y="435420"/>
                  <a:pt x="3665290" y="446189"/>
                </a:cubicBezTo>
                <a:cubicBezTo>
                  <a:pt x="3665290" y="460998"/>
                  <a:pt x="3662598" y="474039"/>
                  <a:pt x="3657212" y="485313"/>
                </a:cubicBezTo>
                <a:cubicBezTo>
                  <a:pt x="3651828" y="496588"/>
                  <a:pt x="3644592" y="505927"/>
                  <a:pt x="3635506" y="513331"/>
                </a:cubicBezTo>
                <a:cubicBezTo>
                  <a:pt x="3626418" y="520735"/>
                  <a:pt x="3615986" y="526288"/>
                  <a:pt x="3604206" y="529990"/>
                </a:cubicBezTo>
                <a:cubicBezTo>
                  <a:pt x="3592426" y="533692"/>
                  <a:pt x="3580142" y="535544"/>
                  <a:pt x="3567354" y="535544"/>
                </a:cubicBezTo>
                <a:close/>
                <a:moveTo>
                  <a:pt x="3324752" y="535544"/>
                </a:moveTo>
                <a:cubicBezTo>
                  <a:pt x="3290088" y="535544"/>
                  <a:pt x="3263332" y="522081"/>
                  <a:pt x="3244486" y="495157"/>
                </a:cubicBezTo>
                <a:cubicBezTo>
                  <a:pt x="3225638" y="468233"/>
                  <a:pt x="3216214" y="427511"/>
                  <a:pt x="3216214" y="372990"/>
                </a:cubicBezTo>
                <a:cubicBezTo>
                  <a:pt x="3216214" y="317796"/>
                  <a:pt x="3225470" y="276737"/>
                  <a:pt x="3243980" y="249813"/>
                </a:cubicBezTo>
                <a:cubicBezTo>
                  <a:pt x="3262490" y="222889"/>
                  <a:pt x="3289414" y="209427"/>
                  <a:pt x="3324752" y="209427"/>
                </a:cubicBezTo>
                <a:cubicBezTo>
                  <a:pt x="3360090" y="209427"/>
                  <a:pt x="3387014" y="222889"/>
                  <a:pt x="3405524" y="249813"/>
                </a:cubicBezTo>
                <a:cubicBezTo>
                  <a:pt x="3424034" y="276737"/>
                  <a:pt x="3433290" y="317796"/>
                  <a:pt x="3433290" y="372990"/>
                </a:cubicBezTo>
                <a:cubicBezTo>
                  <a:pt x="3433290" y="427847"/>
                  <a:pt x="3424034" y="468654"/>
                  <a:pt x="3405524" y="495410"/>
                </a:cubicBezTo>
                <a:cubicBezTo>
                  <a:pt x="3387014" y="522166"/>
                  <a:pt x="3360090" y="535544"/>
                  <a:pt x="3324752" y="535544"/>
                </a:cubicBezTo>
                <a:close/>
                <a:moveTo>
                  <a:pt x="3062528" y="535544"/>
                </a:moveTo>
                <a:cubicBezTo>
                  <a:pt x="3045028" y="535544"/>
                  <a:pt x="3027444" y="532178"/>
                  <a:pt x="3009774" y="525447"/>
                </a:cubicBezTo>
                <a:cubicBezTo>
                  <a:pt x="2992106" y="518716"/>
                  <a:pt x="2976540" y="508283"/>
                  <a:pt x="2963078" y="494148"/>
                </a:cubicBezTo>
                <a:lnTo>
                  <a:pt x="2993872" y="450733"/>
                </a:lnTo>
                <a:cubicBezTo>
                  <a:pt x="3004306" y="461839"/>
                  <a:pt x="3014908" y="469748"/>
                  <a:pt x="3025676" y="474460"/>
                </a:cubicBezTo>
                <a:cubicBezTo>
                  <a:pt x="3036446" y="479171"/>
                  <a:pt x="3046712" y="481527"/>
                  <a:pt x="3056472" y="481527"/>
                </a:cubicBezTo>
                <a:cubicBezTo>
                  <a:pt x="3068250" y="481527"/>
                  <a:pt x="3078010" y="478078"/>
                  <a:pt x="3085752" y="471178"/>
                </a:cubicBezTo>
                <a:cubicBezTo>
                  <a:pt x="3093492" y="464279"/>
                  <a:pt x="3097362" y="454435"/>
                  <a:pt x="3097362" y="441646"/>
                </a:cubicBezTo>
                <a:cubicBezTo>
                  <a:pt x="3097362" y="432559"/>
                  <a:pt x="3094248" y="423641"/>
                  <a:pt x="3088022" y="414890"/>
                </a:cubicBezTo>
                <a:cubicBezTo>
                  <a:pt x="3081796" y="406140"/>
                  <a:pt x="3073888" y="397053"/>
                  <a:pt x="3064296" y="387630"/>
                </a:cubicBezTo>
                <a:cubicBezTo>
                  <a:pt x="3054704" y="378206"/>
                  <a:pt x="3044440" y="368362"/>
                  <a:pt x="3033502" y="358097"/>
                </a:cubicBezTo>
                <a:cubicBezTo>
                  <a:pt x="3022564" y="347833"/>
                  <a:pt x="3012298" y="336727"/>
                  <a:pt x="3002708" y="324779"/>
                </a:cubicBezTo>
                <a:cubicBezTo>
                  <a:pt x="2993116" y="312831"/>
                  <a:pt x="2985206" y="299790"/>
                  <a:pt x="2978980" y="285655"/>
                </a:cubicBezTo>
                <a:cubicBezTo>
                  <a:pt x="2972754" y="271520"/>
                  <a:pt x="2969642" y="256039"/>
                  <a:pt x="2969642" y="239211"/>
                </a:cubicBezTo>
                <a:cubicBezTo>
                  <a:pt x="2969642" y="237192"/>
                  <a:pt x="2969558" y="233658"/>
                  <a:pt x="2969388" y="228610"/>
                </a:cubicBezTo>
                <a:cubicBezTo>
                  <a:pt x="2969220" y="223562"/>
                  <a:pt x="2969640" y="219355"/>
                  <a:pt x="2970650" y="215989"/>
                </a:cubicBezTo>
                <a:lnTo>
                  <a:pt x="3174600" y="215989"/>
                </a:lnTo>
                <a:lnTo>
                  <a:pt x="3174600" y="267481"/>
                </a:lnTo>
                <a:lnTo>
                  <a:pt x="3040316" y="267481"/>
                </a:lnTo>
                <a:cubicBezTo>
                  <a:pt x="3040316" y="272530"/>
                  <a:pt x="3042084" y="278083"/>
                  <a:pt x="3045618" y="284141"/>
                </a:cubicBezTo>
                <a:cubicBezTo>
                  <a:pt x="3049152" y="290198"/>
                  <a:pt x="3053442" y="296172"/>
                  <a:pt x="3058490" y="302062"/>
                </a:cubicBezTo>
                <a:cubicBezTo>
                  <a:pt x="3063538" y="307952"/>
                  <a:pt x="3068924" y="313673"/>
                  <a:pt x="3074644" y="319226"/>
                </a:cubicBezTo>
                <a:cubicBezTo>
                  <a:pt x="3080366" y="324779"/>
                  <a:pt x="3085414" y="329575"/>
                  <a:pt x="3089790" y="333613"/>
                </a:cubicBezTo>
                <a:cubicBezTo>
                  <a:pt x="3098540" y="341691"/>
                  <a:pt x="3107122" y="350104"/>
                  <a:pt x="3115536" y="358855"/>
                </a:cubicBezTo>
                <a:cubicBezTo>
                  <a:pt x="3123950" y="367605"/>
                  <a:pt x="3131522" y="376692"/>
                  <a:pt x="3138252" y="386115"/>
                </a:cubicBezTo>
                <a:cubicBezTo>
                  <a:pt x="3144984" y="395539"/>
                  <a:pt x="3150368" y="405214"/>
                  <a:pt x="3154408" y="415143"/>
                </a:cubicBezTo>
                <a:cubicBezTo>
                  <a:pt x="3158446" y="425071"/>
                  <a:pt x="3160464" y="435420"/>
                  <a:pt x="3160464" y="446189"/>
                </a:cubicBezTo>
                <a:cubicBezTo>
                  <a:pt x="3160464" y="460998"/>
                  <a:pt x="3157772" y="474039"/>
                  <a:pt x="3152388" y="485313"/>
                </a:cubicBezTo>
                <a:cubicBezTo>
                  <a:pt x="3147002" y="496588"/>
                  <a:pt x="3139766" y="505927"/>
                  <a:pt x="3130680" y="513331"/>
                </a:cubicBezTo>
                <a:cubicBezTo>
                  <a:pt x="3121594" y="520735"/>
                  <a:pt x="3111160" y="526288"/>
                  <a:pt x="3099382" y="529990"/>
                </a:cubicBezTo>
                <a:cubicBezTo>
                  <a:pt x="3087602" y="533692"/>
                  <a:pt x="3075318" y="535544"/>
                  <a:pt x="3062528" y="535544"/>
                </a:cubicBezTo>
                <a:close/>
                <a:moveTo>
                  <a:pt x="2292890" y="561290"/>
                </a:moveTo>
                <a:cubicBezTo>
                  <a:pt x="2282120" y="561290"/>
                  <a:pt x="2272949" y="557756"/>
                  <a:pt x="2265377" y="550688"/>
                </a:cubicBezTo>
                <a:cubicBezTo>
                  <a:pt x="2257805" y="543621"/>
                  <a:pt x="2254018" y="533861"/>
                  <a:pt x="2254018" y="521408"/>
                </a:cubicBezTo>
                <a:cubicBezTo>
                  <a:pt x="2254018" y="509293"/>
                  <a:pt x="2257805" y="499701"/>
                  <a:pt x="2265377" y="492633"/>
                </a:cubicBezTo>
                <a:cubicBezTo>
                  <a:pt x="2272949" y="485566"/>
                  <a:pt x="2282120" y="482032"/>
                  <a:pt x="2292890" y="482032"/>
                </a:cubicBezTo>
                <a:cubicBezTo>
                  <a:pt x="2303660" y="482032"/>
                  <a:pt x="2312914" y="485566"/>
                  <a:pt x="2320655" y="492633"/>
                </a:cubicBezTo>
                <a:cubicBezTo>
                  <a:pt x="2328396" y="499701"/>
                  <a:pt x="2332266" y="509293"/>
                  <a:pt x="2332266" y="521408"/>
                </a:cubicBezTo>
                <a:cubicBezTo>
                  <a:pt x="2332266" y="533861"/>
                  <a:pt x="2328396" y="543621"/>
                  <a:pt x="2320655" y="550688"/>
                </a:cubicBezTo>
                <a:cubicBezTo>
                  <a:pt x="2312914" y="557756"/>
                  <a:pt x="2303660" y="561290"/>
                  <a:pt x="2292890" y="561290"/>
                </a:cubicBezTo>
                <a:close/>
                <a:moveTo>
                  <a:pt x="1959420" y="563309"/>
                </a:moveTo>
                <a:lnTo>
                  <a:pt x="1959420" y="511817"/>
                </a:lnTo>
                <a:lnTo>
                  <a:pt x="2025047" y="511817"/>
                </a:lnTo>
                <a:lnTo>
                  <a:pt x="2025047" y="310392"/>
                </a:lnTo>
                <a:cubicBezTo>
                  <a:pt x="2025047" y="277746"/>
                  <a:pt x="2031610" y="252926"/>
                  <a:pt x="2044735" y="235930"/>
                </a:cubicBezTo>
                <a:cubicBezTo>
                  <a:pt x="2057860" y="218934"/>
                  <a:pt x="2078727" y="210436"/>
                  <a:pt x="2107333" y="210436"/>
                </a:cubicBezTo>
                <a:cubicBezTo>
                  <a:pt x="2117767" y="210436"/>
                  <a:pt x="2127106" y="211109"/>
                  <a:pt x="2135351" y="212455"/>
                </a:cubicBezTo>
                <a:cubicBezTo>
                  <a:pt x="2143597" y="213802"/>
                  <a:pt x="2150580" y="215400"/>
                  <a:pt x="2156302" y="217251"/>
                </a:cubicBezTo>
                <a:cubicBezTo>
                  <a:pt x="2162023" y="219102"/>
                  <a:pt x="2166650" y="220869"/>
                  <a:pt x="2170184" y="222552"/>
                </a:cubicBezTo>
                <a:cubicBezTo>
                  <a:pt x="2173718" y="224235"/>
                  <a:pt x="2175990" y="225413"/>
                  <a:pt x="2176999" y="226086"/>
                </a:cubicBezTo>
                <a:lnTo>
                  <a:pt x="2168922" y="276063"/>
                </a:lnTo>
                <a:cubicBezTo>
                  <a:pt x="2166230" y="275054"/>
                  <a:pt x="2160677" y="272866"/>
                  <a:pt x="2152263" y="269501"/>
                </a:cubicBezTo>
                <a:cubicBezTo>
                  <a:pt x="2143849" y="266135"/>
                  <a:pt x="2133416" y="264452"/>
                  <a:pt x="2120964" y="264452"/>
                </a:cubicBezTo>
                <a:cubicBezTo>
                  <a:pt x="2111204" y="264452"/>
                  <a:pt x="2103126" y="267313"/>
                  <a:pt x="2096732" y="273034"/>
                </a:cubicBezTo>
                <a:cubicBezTo>
                  <a:pt x="2090338" y="278756"/>
                  <a:pt x="2087140" y="289694"/>
                  <a:pt x="2087140" y="305848"/>
                </a:cubicBezTo>
                <a:lnTo>
                  <a:pt x="2087140" y="563309"/>
                </a:lnTo>
                <a:close/>
                <a:moveTo>
                  <a:pt x="1607052" y="565833"/>
                </a:moveTo>
                <a:cubicBezTo>
                  <a:pt x="1594263" y="565833"/>
                  <a:pt x="1581811" y="564234"/>
                  <a:pt x="1569695" y="561037"/>
                </a:cubicBezTo>
                <a:cubicBezTo>
                  <a:pt x="1557579" y="557840"/>
                  <a:pt x="1546810" y="552455"/>
                  <a:pt x="1537386" y="544883"/>
                </a:cubicBezTo>
                <a:cubicBezTo>
                  <a:pt x="1527963" y="537310"/>
                  <a:pt x="1520474" y="527214"/>
                  <a:pt x="1514921" y="514593"/>
                </a:cubicBezTo>
                <a:cubicBezTo>
                  <a:pt x="1509368" y="501973"/>
                  <a:pt x="1506592" y="486071"/>
                  <a:pt x="1506592" y="466887"/>
                </a:cubicBezTo>
                <a:lnTo>
                  <a:pt x="1506592" y="453257"/>
                </a:lnTo>
                <a:lnTo>
                  <a:pt x="1454595" y="453257"/>
                </a:lnTo>
                <a:lnTo>
                  <a:pt x="1454595" y="401765"/>
                </a:lnTo>
                <a:lnTo>
                  <a:pt x="1506592" y="401765"/>
                </a:lnTo>
                <a:lnTo>
                  <a:pt x="1506592" y="215989"/>
                </a:lnTo>
                <a:lnTo>
                  <a:pt x="1569190" y="215989"/>
                </a:lnTo>
                <a:lnTo>
                  <a:pt x="1569190" y="401765"/>
                </a:lnTo>
                <a:lnTo>
                  <a:pt x="1666621" y="401765"/>
                </a:lnTo>
                <a:lnTo>
                  <a:pt x="1666621" y="453257"/>
                </a:lnTo>
                <a:lnTo>
                  <a:pt x="1569190" y="453257"/>
                </a:lnTo>
                <a:lnTo>
                  <a:pt x="1569190" y="465878"/>
                </a:lnTo>
                <a:cubicBezTo>
                  <a:pt x="1569190" y="475974"/>
                  <a:pt x="1570368" y="484135"/>
                  <a:pt x="1572724" y="490362"/>
                </a:cubicBezTo>
                <a:cubicBezTo>
                  <a:pt x="1575080" y="496588"/>
                  <a:pt x="1578193" y="501384"/>
                  <a:pt x="1582063" y="504749"/>
                </a:cubicBezTo>
                <a:cubicBezTo>
                  <a:pt x="1585933" y="508115"/>
                  <a:pt x="1590477" y="510302"/>
                  <a:pt x="1595693" y="511312"/>
                </a:cubicBezTo>
                <a:cubicBezTo>
                  <a:pt x="1600910" y="512322"/>
                  <a:pt x="1606379" y="512826"/>
                  <a:pt x="1612100" y="512826"/>
                </a:cubicBezTo>
                <a:cubicBezTo>
                  <a:pt x="1622533" y="512826"/>
                  <a:pt x="1633555" y="511396"/>
                  <a:pt x="1645166" y="508535"/>
                </a:cubicBezTo>
                <a:cubicBezTo>
                  <a:pt x="1656777" y="505675"/>
                  <a:pt x="1666453" y="502898"/>
                  <a:pt x="1674194" y="500206"/>
                </a:cubicBezTo>
                <a:lnTo>
                  <a:pt x="1684795" y="550688"/>
                </a:lnTo>
                <a:cubicBezTo>
                  <a:pt x="1673689" y="556073"/>
                  <a:pt x="1661236" y="559943"/>
                  <a:pt x="1647438" y="562299"/>
                </a:cubicBezTo>
                <a:cubicBezTo>
                  <a:pt x="1633639" y="564655"/>
                  <a:pt x="1620178" y="565833"/>
                  <a:pt x="1607052" y="565833"/>
                </a:cubicBezTo>
                <a:close/>
                <a:moveTo>
                  <a:pt x="0" y="796029"/>
                </a:moveTo>
                <a:lnTo>
                  <a:pt x="4876802" y="796029"/>
                </a:lnTo>
                <a:lnTo>
                  <a:pt x="4824822" y="344498"/>
                </a:lnTo>
                <a:cubicBezTo>
                  <a:pt x="4801968" y="145891"/>
                  <a:pt x="4682292" y="207"/>
                  <a:pt x="4541980" y="155"/>
                </a:cubicBezTo>
                <a:lnTo>
                  <a:pt x="0" y="0"/>
                </a:lnTo>
                <a:close/>
              </a:path>
            </a:pathLst>
          </a:custGeom>
          <a:solidFill>
            <a:schemeClr val="bg1"/>
          </a:solidFill>
          <a:ln w="2834" cap="flat">
            <a:noFill/>
            <a:prstDash val="solid"/>
            <a:miter/>
          </a:ln>
        </p:spPr>
        <p:txBody>
          <a:bodyPr wrap="square" rtlCol="0" anchor="ctr">
            <a:noAutofit/>
          </a:bodyPr>
          <a:lstStyle/>
          <a:p>
            <a:endParaRPr lang="en-US"/>
          </a:p>
        </p:txBody>
      </p:sp>
    </p:spTree>
    <p:extLst>
      <p:ext uri="{BB962C8B-B14F-4D97-AF65-F5344CB8AC3E}">
        <p14:creationId xmlns:p14="http://schemas.microsoft.com/office/powerpoint/2010/main" val="114896242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8_Title and Content">
    <p:spTree>
      <p:nvGrpSpPr>
        <p:cNvPr id="1" name=""/>
        <p:cNvGrpSpPr/>
        <p:nvPr/>
      </p:nvGrpSpPr>
      <p:grpSpPr>
        <a:xfrm>
          <a:off x="0" y="0"/>
          <a:ext cx="0" cy="0"/>
          <a:chOff x="0" y="0"/>
          <a:chExt cx="0" cy="0"/>
        </a:xfrm>
      </p:grpSpPr>
      <p:sp>
        <p:nvSpPr>
          <p:cNvPr id="226" name="bg object 16">
            <a:extLst>
              <a:ext uri="{FF2B5EF4-FFF2-40B4-BE49-F238E27FC236}">
                <a16:creationId xmlns:a16="http://schemas.microsoft.com/office/drawing/2014/main" id="{2C70D2E3-A58A-2E37-9237-F881FE9AC974}"/>
              </a:ext>
            </a:extLst>
          </p:cNvPr>
          <p:cNvSpPr/>
          <p:nvPr userDrawn="1"/>
        </p:nvSpPr>
        <p:spPr>
          <a:xfrm>
            <a:off x="-23840" y="0"/>
            <a:ext cx="20127939" cy="11328091"/>
          </a:xfrm>
          <a:custGeom>
            <a:avLst/>
            <a:gdLst/>
            <a:ahLst/>
            <a:cxnLst/>
            <a:rect l="l" t="t" r="r" b="b"/>
            <a:pathLst>
              <a:path w="20104100" h="11308715">
                <a:moveTo>
                  <a:pt x="20104099" y="0"/>
                </a:moveTo>
                <a:lnTo>
                  <a:pt x="0" y="0"/>
                </a:lnTo>
                <a:lnTo>
                  <a:pt x="0" y="11308556"/>
                </a:lnTo>
                <a:lnTo>
                  <a:pt x="20104099" y="11308556"/>
                </a:lnTo>
                <a:lnTo>
                  <a:pt x="20104099" y="0"/>
                </a:lnTo>
                <a:close/>
              </a:path>
            </a:pathLst>
          </a:custGeom>
          <a:solidFill>
            <a:srgbClr val="12A9D8"/>
          </a:solidFill>
        </p:spPr>
        <p:txBody>
          <a:bodyPr wrap="square" lIns="0" tIns="0" rIns="0" bIns="0" rtlCol="0"/>
          <a:lstStyle/>
          <a:p>
            <a:endParaRPr/>
          </a:p>
        </p:txBody>
      </p:sp>
      <p:sp>
        <p:nvSpPr>
          <p:cNvPr id="2" name="Holder 2"/>
          <p:cNvSpPr>
            <a:spLocks noGrp="1"/>
          </p:cNvSpPr>
          <p:nvPr>
            <p:ph type="title"/>
          </p:nvPr>
        </p:nvSpPr>
        <p:spPr>
          <a:xfrm>
            <a:off x="1003191" y="618303"/>
            <a:ext cx="18607228" cy="754053"/>
          </a:xfrm>
        </p:spPr>
        <p:txBody>
          <a:bodyPr lIns="0" tIns="0" rIns="0" bIns="0"/>
          <a:lstStyle>
            <a:lvl1pPr>
              <a:defRPr sz="4900" b="0" i="0">
                <a:solidFill>
                  <a:schemeClr val="bg1"/>
                </a:solidFill>
                <a:latin typeface="Ubuntu Light"/>
                <a:cs typeface="Ubuntu Light"/>
              </a:defRPr>
            </a:lvl1pPr>
          </a:lstStyle>
          <a:p>
            <a:endParaRPr/>
          </a:p>
        </p:txBody>
      </p:sp>
      <p:sp>
        <p:nvSpPr>
          <p:cNvPr id="153" name="object 3">
            <a:extLst>
              <a:ext uri="{FF2B5EF4-FFF2-40B4-BE49-F238E27FC236}">
                <a16:creationId xmlns:a16="http://schemas.microsoft.com/office/drawing/2014/main" id="{A326EBF6-1D24-0046-23A9-97F52C5B3A98}"/>
              </a:ext>
            </a:extLst>
          </p:cNvPr>
          <p:cNvSpPr/>
          <p:nvPr userDrawn="1"/>
        </p:nvSpPr>
        <p:spPr>
          <a:xfrm>
            <a:off x="0" y="8698896"/>
            <a:ext cx="6692265" cy="2609850"/>
          </a:xfrm>
          <a:custGeom>
            <a:avLst/>
            <a:gdLst/>
            <a:ahLst/>
            <a:cxnLst/>
            <a:rect l="l" t="t" r="r" b="b"/>
            <a:pathLst>
              <a:path w="6692265" h="2609850">
                <a:moveTo>
                  <a:pt x="1076896" y="528345"/>
                </a:moveTo>
                <a:lnTo>
                  <a:pt x="1051318" y="485470"/>
                </a:lnTo>
                <a:lnTo>
                  <a:pt x="220433" y="19888"/>
                </a:lnTo>
                <a:lnTo>
                  <a:pt x="183095" y="4965"/>
                </a:lnTo>
                <a:lnTo>
                  <a:pt x="143738" y="0"/>
                </a:lnTo>
                <a:lnTo>
                  <a:pt x="104305" y="4965"/>
                </a:lnTo>
                <a:lnTo>
                  <a:pt x="66979" y="19888"/>
                </a:lnTo>
                <a:lnTo>
                  <a:pt x="0" y="56553"/>
                </a:lnTo>
                <a:lnTo>
                  <a:pt x="0" y="1023200"/>
                </a:lnTo>
                <a:lnTo>
                  <a:pt x="53390" y="1054328"/>
                </a:lnTo>
                <a:lnTo>
                  <a:pt x="90716" y="1069251"/>
                </a:lnTo>
                <a:lnTo>
                  <a:pt x="130111" y="1074216"/>
                </a:lnTo>
                <a:lnTo>
                  <a:pt x="169506" y="1069251"/>
                </a:lnTo>
                <a:lnTo>
                  <a:pt x="206832" y="1054328"/>
                </a:lnTo>
                <a:lnTo>
                  <a:pt x="1051318" y="571207"/>
                </a:lnTo>
                <a:lnTo>
                  <a:pt x="1070495" y="552450"/>
                </a:lnTo>
                <a:lnTo>
                  <a:pt x="1076896" y="528345"/>
                </a:lnTo>
                <a:close/>
              </a:path>
              <a:path w="6692265" h="2609850">
                <a:moveTo>
                  <a:pt x="6692227" y="1758657"/>
                </a:moveTo>
                <a:lnTo>
                  <a:pt x="6687248" y="1720088"/>
                </a:lnTo>
                <a:lnTo>
                  <a:pt x="6672326" y="1683600"/>
                </a:lnTo>
                <a:lnTo>
                  <a:pt x="6647447" y="1651292"/>
                </a:lnTo>
                <a:lnTo>
                  <a:pt x="6612610" y="1625231"/>
                </a:lnTo>
                <a:lnTo>
                  <a:pt x="4026154" y="175920"/>
                </a:lnTo>
                <a:lnTo>
                  <a:pt x="3980853" y="153631"/>
                </a:lnTo>
                <a:lnTo>
                  <a:pt x="3933914" y="136283"/>
                </a:lnTo>
                <a:lnTo>
                  <a:pt x="3885730" y="123901"/>
                </a:lnTo>
                <a:lnTo>
                  <a:pt x="3836733" y="116471"/>
                </a:lnTo>
                <a:lnTo>
                  <a:pt x="3787343" y="113995"/>
                </a:lnTo>
                <a:lnTo>
                  <a:pt x="3737902" y="116471"/>
                </a:lnTo>
                <a:lnTo>
                  <a:pt x="3688905" y="123901"/>
                </a:lnTo>
                <a:lnTo>
                  <a:pt x="3640721" y="136283"/>
                </a:lnTo>
                <a:lnTo>
                  <a:pt x="3593782" y="153631"/>
                </a:lnTo>
                <a:lnTo>
                  <a:pt x="3548481" y="175920"/>
                </a:lnTo>
                <a:lnTo>
                  <a:pt x="914069" y="1617903"/>
                </a:lnTo>
                <a:lnTo>
                  <a:pt x="879246" y="1643964"/>
                </a:lnTo>
                <a:lnTo>
                  <a:pt x="854367" y="1676273"/>
                </a:lnTo>
                <a:lnTo>
                  <a:pt x="839431" y="1712760"/>
                </a:lnTo>
                <a:lnTo>
                  <a:pt x="834466" y="1751304"/>
                </a:lnTo>
                <a:lnTo>
                  <a:pt x="839431" y="1789899"/>
                </a:lnTo>
                <a:lnTo>
                  <a:pt x="854367" y="1826387"/>
                </a:lnTo>
                <a:lnTo>
                  <a:pt x="879246" y="1858695"/>
                </a:lnTo>
                <a:lnTo>
                  <a:pt x="914069" y="1884756"/>
                </a:lnTo>
                <a:lnTo>
                  <a:pt x="2157463" y="2609659"/>
                </a:lnTo>
                <a:lnTo>
                  <a:pt x="5358320" y="2609659"/>
                </a:lnTo>
                <a:lnTo>
                  <a:pt x="6612610" y="1892084"/>
                </a:lnTo>
                <a:lnTo>
                  <a:pt x="6647447" y="1866036"/>
                </a:lnTo>
                <a:lnTo>
                  <a:pt x="6672326" y="1833714"/>
                </a:lnTo>
                <a:lnTo>
                  <a:pt x="6687248" y="1797227"/>
                </a:lnTo>
                <a:lnTo>
                  <a:pt x="6692227" y="1758657"/>
                </a:lnTo>
                <a:close/>
              </a:path>
            </a:pathLst>
          </a:custGeom>
          <a:solidFill>
            <a:srgbClr val="00ADE0">
              <a:alpha val="19999"/>
            </a:srgbClr>
          </a:solidFill>
        </p:spPr>
        <p:txBody>
          <a:bodyPr wrap="square" lIns="0" tIns="0" rIns="0" bIns="0" rtlCol="0"/>
          <a:lstStyle/>
          <a:p>
            <a:endParaRPr/>
          </a:p>
        </p:txBody>
      </p:sp>
      <p:sp>
        <p:nvSpPr>
          <p:cNvPr id="154" name="object 4">
            <a:extLst>
              <a:ext uri="{FF2B5EF4-FFF2-40B4-BE49-F238E27FC236}">
                <a16:creationId xmlns:a16="http://schemas.microsoft.com/office/drawing/2014/main" id="{68B535AE-632F-BA28-05F5-A49184199312}"/>
              </a:ext>
            </a:extLst>
          </p:cNvPr>
          <p:cNvSpPr/>
          <p:nvPr userDrawn="1"/>
        </p:nvSpPr>
        <p:spPr>
          <a:xfrm>
            <a:off x="15500745" y="0"/>
            <a:ext cx="2857500" cy="774700"/>
          </a:xfrm>
          <a:custGeom>
            <a:avLst/>
            <a:gdLst/>
            <a:ahLst/>
            <a:cxnLst/>
            <a:rect l="l" t="t" r="r" b="b"/>
            <a:pathLst>
              <a:path w="2857500" h="774700">
                <a:moveTo>
                  <a:pt x="2857272" y="0"/>
                </a:moveTo>
                <a:lnTo>
                  <a:pt x="0" y="0"/>
                </a:lnTo>
                <a:lnTo>
                  <a:pt x="1259421" y="734253"/>
                </a:lnTo>
                <a:lnTo>
                  <a:pt x="1302360" y="754220"/>
                </a:lnTo>
                <a:lnTo>
                  <a:pt x="1347275" y="767531"/>
                </a:lnTo>
                <a:lnTo>
                  <a:pt x="1393374" y="774187"/>
                </a:lnTo>
                <a:lnTo>
                  <a:pt x="1439869" y="774187"/>
                </a:lnTo>
                <a:lnTo>
                  <a:pt x="1485969" y="767531"/>
                </a:lnTo>
                <a:lnTo>
                  <a:pt x="1530886" y="754220"/>
                </a:lnTo>
                <a:lnTo>
                  <a:pt x="1573830" y="734253"/>
                </a:lnTo>
                <a:lnTo>
                  <a:pt x="2857272" y="0"/>
                </a:lnTo>
                <a:close/>
              </a:path>
            </a:pathLst>
          </a:custGeom>
          <a:solidFill>
            <a:srgbClr val="00ADE0">
              <a:alpha val="19999"/>
            </a:srgbClr>
          </a:solidFill>
        </p:spPr>
        <p:txBody>
          <a:bodyPr wrap="square" lIns="0" tIns="0" rIns="0" bIns="0" rtlCol="0"/>
          <a:lstStyle/>
          <a:p>
            <a:endParaRPr/>
          </a:p>
        </p:txBody>
      </p:sp>
      <p:sp>
        <p:nvSpPr>
          <p:cNvPr id="12" name="Marcador de pie de página 11">
            <a:extLst>
              <a:ext uri="{FF2B5EF4-FFF2-40B4-BE49-F238E27FC236}">
                <a16:creationId xmlns:a16="http://schemas.microsoft.com/office/drawing/2014/main" id="{1ACC5C5B-5E0C-897F-54C9-1D842CC0A6D9}"/>
              </a:ext>
            </a:extLst>
          </p:cNvPr>
          <p:cNvSpPr>
            <a:spLocks noGrp="1"/>
          </p:cNvSpPr>
          <p:nvPr>
            <p:ph type="ftr" sz="quarter" idx="10"/>
          </p:nvPr>
        </p:nvSpPr>
        <p:spPr>
          <a:xfrm>
            <a:off x="16376651" y="10759212"/>
            <a:ext cx="3233768" cy="238988"/>
          </a:xfrm>
          <a:prstGeom prst="rect">
            <a:avLst/>
          </a:prstGeom>
        </p:spPr>
        <p:txBody>
          <a:bodyPr/>
          <a:lstStyle>
            <a:lvl1pPr>
              <a:defRPr>
                <a:solidFill>
                  <a:schemeClr val="bg1"/>
                </a:solidFill>
              </a:defRPr>
            </a:lvl1pPr>
          </a:lstStyle>
          <a:p>
            <a:pPr marL="26034">
              <a:spcBef>
                <a:spcPts val="30"/>
              </a:spcBef>
            </a:pPr>
            <a:r>
              <a:rPr lang="es-ES" err="1"/>
              <a:t>Public</a:t>
            </a:r>
            <a:r>
              <a:rPr lang="es-ES"/>
              <a:t> © 2023 Sogeti. </a:t>
            </a:r>
            <a:r>
              <a:rPr lang="es-ES" err="1"/>
              <a:t>All</a:t>
            </a:r>
            <a:r>
              <a:rPr lang="es-ES"/>
              <a:t> </a:t>
            </a:r>
            <a:r>
              <a:rPr lang="es-ES" err="1"/>
              <a:t>rights</a:t>
            </a:r>
            <a:r>
              <a:rPr lang="es-ES"/>
              <a:t> </a:t>
            </a:r>
            <a:r>
              <a:rPr lang="es-ES" err="1"/>
              <a:t>reserved</a:t>
            </a:r>
            <a:endParaRPr lang="es-ES" spc="-10"/>
          </a:p>
        </p:txBody>
      </p:sp>
      <p:sp>
        <p:nvSpPr>
          <p:cNvPr id="3" name="CuadroTexto 2">
            <a:extLst>
              <a:ext uri="{FF2B5EF4-FFF2-40B4-BE49-F238E27FC236}">
                <a16:creationId xmlns:a16="http://schemas.microsoft.com/office/drawing/2014/main" id="{5F9ACFA8-4B18-AEC7-6177-1AAA87AFB4E0}"/>
              </a:ext>
            </a:extLst>
          </p:cNvPr>
          <p:cNvSpPr txBox="1"/>
          <p:nvPr userDrawn="1"/>
        </p:nvSpPr>
        <p:spPr>
          <a:xfrm>
            <a:off x="755650" y="10845800"/>
            <a:ext cx="7772400" cy="292388"/>
          </a:xfrm>
          <a:prstGeom prst="rect">
            <a:avLst/>
          </a:prstGeom>
          <a:noFill/>
        </p:spPr>
        <p:txBody>
          <a:bodyPr wrap="square" rtlCol="0">
            <a:spAutoFit/>
          </a:bodyPr>
          <a:lstStyle/>
          <a:p>
            <a:r>
              <a:rPr lang="es-ES" sz="1300" b="0" i="0">
                <a:solidFill>
                  <a:schemeClr val="bg1"/>
                </a:solidFill>
                <a:latin typeface="Ubuntu Medium" panose="020B0504030602030204" pitchFamily="34" charset="0"/>
              </a:rPr>
              <a:t>#FlourishingDigitalBusinessWithQuality </a:t>
            </a:r>
            <a:r>
              <a:rPr lang="es-ES" sz="1300" b="1" i="0">
                <a:solidFill>
                  <a:schemeClr val="bg1"/>
                </a:solidFill>
                <a:latin typeface="Ubuntu" panose="020B0504030602030204" pitchFamily="34" charset="0"/>
              </a:rPr>
              <a:t> ·</a:t>
            </a:r>
            <a:r>
              <a:rPr lang="es-ES" sz="1300" b="0" i="0">
                <a:solidFill>
                  <a:schemeClr val="bg1"/>
                </a:solidFill>
                <a:latin typeface="Ubuntu Medium" panose="020B0504030602030204" pitchFamily="34" charset="0"/>
              </a:rPr>
              <a:t>   </a:t>
            </a:r>
            <a:r>
              <a:rPr lang="es-ES" sz="1300" b="0" i="0" err="1">
                <a:solidFill>
                  <a:schemeClr val="bg1"/>
                </a:solidFill>
                <a:latin typeface="Ubuntu Medium" panose="020B0504030602030204" pitchFamily="34" charset="0"/>
              </a:rPr>
              <a:t>by</a:t>
            </a:r>
            <a:r>
              <a:rPr lang="es-ES" sz="1300" b="0" i="0">
                <a:solidFill>
                  <a:schemeClr val="bg1"/>
                </a:solidFill>
                <a:latin typeface="Ubuntu Medium" panose="020B0504030602030204" pitchFamily="34" charset="0"/>
              </a:rPr>
              <a:t> </a:t>
            </a:r>
            <a:r>
              <a:rPr lang="es-ES" sz="1300" b="1" i="0">
                <a:solidFill>
                  <a:schemeClr val="bg1"/>
                </a:solidFill>
                <a:latin typeface="Ubuntu" panose="020B0504030602030204" pitchFamily="34" charset="0"/>
              </a:rPr>
              <a:t>Sogeti España</a:t>
            </a:r>
          </a:p>
        </p:txBody>
      </p:sp>
      <p:sp>
        <p:nvSpPr>
          <p:cNvPr id="4" name="Forma libre 3">
            <a:extLst>
              <a:ext uri="{FF2B5EF4-FFF2-40B4-BE49-F238E27FC236}">
                <a16:creationId xmlns:a16="http://schemas.microsoft.com/office/drawing/2014/main" id="{F61EB3F6-11FE-4C49-631D-72DA1DAA5C8C}"/>
              </a:ext>
            </a:extLst>
          </p:cNvPr>
          <p:cNvSpPr/>
          <p:nvPr userDrawn="1"/>
        </p:nvSpPr>
        <p:spPr>
          <a:xfrm flipV="1">
            <a:off x="755650" y="10384024"/>
            <a:ext cx="2362200" cy="385576"/>
          </a:xfrm>
          <a:custGeom>
            <a:avLst/>
            <a:gdLst/>
            <a:ahLst/>
            <a:cxnLst/>
            <a:rect l="l" t="t" r="r" b="b"/>
            <a:pathLst>
              <a:path w="4876802" h="796029">
                <a:moveTo>
                  <a:pt x="2572782" y="405299"/>
                </a:moveTo>
                <a:cubicBezTo>
                  <a:pt x="2589609" y="405299"/>
                  <a:pt x="2601809" y="398820"/>
                  <a:pt x="2609382" y="385863"/>
                </a:cubicBezTo>
                <a:cubicBezTo>
                  <a:pt x="2616954" y="372906"/>
                  <a:pt x="2620740" y="355826"/>
                  <a:pt x="2620740" y="334623"/>
                </a:cubicBezTo>
                <a:cubicBezTo>
                  <a:pt x="2620740" y="313420"/>
                  <a:pt x="2616618" y="296256"/>
                  <a:pt x="2608372" y="283131"/>
                </a:cubicBezTo>
                <a:cubicBezTo>
                  <a:pt x="2600126" y="270006"/>
                  <a:pt x="2587927" y="263443"/>
                  <a:pt x="2571772" y="263443"/>
                </a:cubicBezTo>
                <a:cubicBezTo>
                  <a:pt x="2554945" y="263443"/>
                  <a:pt x="2542744" y="270006"/>
                  <a:pt x="2535172" y="283131"/>
                </a:cubicBezTo>
                <a:cubicBezTo>
                  <a:pt x="2527600" y="296256"/>
                  <a:pt x="2523814" y="313420"/>
                  <a:pt x="2523814" y="334623"/>
                </a:cubicBezTo>
                <a:cubicBezTo>
                  <a:pt x="2523814" y="355826"/>
                  <a:pt x="2527937" y="372906"/>
                  <a:pt x="2536182" y="385863"/>
                </a:cubicBezTo>
                <a:cubicBezTo>
                  <a:pt x="2544428" y="398820"/>
                  <a:pt x="2556628" y="405299"/>
                  <a:pt x="2572782" y="405299"/>
                </a:cubicBezTo>
                <a:close/>
                <a:moveTo>
                  <a:pt x="1810782" y="405299"/>
                </a:moveTo>
                <a:cubicBezTo>
                  <a:pt x="1827610" y="405299"/>
                  <a:pt x="1839810" y="398820"/>
                  <a:pt x="1847382" y="385863"/>
                </a:cubicBezTo>
                <a:cubicBezTo>
                  <a:pt x="1854954" y="372906"/>
                  <a:pt x="1858740" y="355826"/>
                  <a:pt x="1858740" y="334623"/>
                </a:cubicBezTo>
                <a:cubicBezTo>
                  <a:pt x="1858740" y="313420"/>
                  <a:pt x="1854618" y="296256"/>
                  <a:pt x="1846372" y="283131"/>
                </a:cubicBezTo>
                <a:cubicBezTo>
                  <a:pt x="1838127" y="270006"/>
                  <a:pt x="1825927" y="263443"/>
                  <a:pt x="1809772" y="263443"/>
                </a:cubicBezTo>
                <a:cubicBezTo>
                  <a:pt x="1792945" y="263443"/>
                  <a:pt x="1780745" y="270006"/>
                  <a:pt x="1773173" y="283131"/>
                </a:cubicBezTo>
                <a:cubicBezTo>
                  <a:pt x="1765600" y="296256"/>
                  <a:pt x="1761814" y="313420"/>
                  <a:pt x="1761814" y="334623"/>
                </a:cubicBezTo>
                <a:cubicBezTo>
                  <a:pt x="1761814" y="355826"/>
                  <a:pt x="1765937" y="372906"/>
                  <a:pt x="1774182" y="385863"/>
                </a:cubicBezTo>
                <a:cubicBezTo>
                  <a:pt x="1782428" y="398820"/>
                  <a:pt x="1794628" y="405299"/>
                  <a:pt x="1810782" y="405299"/>
                </a:cubicBezTo>
                <a:close/>
                <a:moveTo>
                  <a:pt x="810657" y="405299"/>
                </a:moveTo>
                <a:cubicBezTo>
                  <a:pt x="827485" y="405299"/>
                  <a:pt x="839684" y="398820"/>
                  <a:pt x="847257" y="385863"/>
                </a:cubicBezTo>
                <a:cubicBezTo>
                  <a:pt x="854829" y="372906"/>
                  <a:pt x="858615" y="355826"/>
                  <a:pt x="858616" y="334623"/>
                </a:cubicBezTo>
                <a:cubicBezTo>
                  <a:pt x="858615" y="313420"/>
                  <a:pt x="854493" y="296256"/>
                  <a:pt x="846247" y="283131"/>
                </a:cubicBezTo>
                <a:cubicBezTo>
                  <a:pt x="838002" y="270006"/>
                  <a:pt x="825802" y="263443"/>
                  <a:pt x="809647" y="263443"/>
                </a:cubicBezTo>
                <a:cubicBezTo>
                  <a:pt x="792820" y="263443"/>
                  <a:pt x="780620" y="270006"/>
                  <a:pt x="773048" y="283131"/>
                </a:cubicBezTo>
                <a:cubicBezTo>
                  <a:pt x="765475" y="296256"/>
                  <a:pt x="761689" y="313420"/>
                  <a:pt x="761689" y="334623"/>
                </a:cubicBezTo>
                <a:cubicBezTo>
                  <a:pt x="761689" y="355826"/>
                  <a:pt x="765812" y="372906"/>
                  <a:pt x="774057" y="385863"/>
                </a:cubicBezTo>
                <a:cubicBezTo>
                  <a:pt x="782303" y="398820"/>
                  <a:pt x="794503" y="405299"/>
                  <a:pt x="810657" y="405299"/>
                </a:cubicBezTo>
                <a:close/>
                <a:moveTo>
                  <a:pt x="3325256" y="411861"/>
                </a:moveTo>
                <a:cubicBezTo>
                  <a:pt x="3316506" y="411861"/>
                  <a:pt x="3309608" y="408496"/>
                  <a:pt x="3304560" y="401765"/>
                </a:cubicBezTo>
                <a:cubicBezTo>
                  <a:pt x="3299512" y="395034"/>
                  <a:pt x="3296988" y="387125"/>
                  <a:pt x="3296988" y="378038"/>
                </a:cubicBezTo>
                <a:cubicBezTo>
                  <a:pt x="3296988" y="368951"/>
                  <a:pt x="3299512" y="361126"/>
                  <a:pt x="3304560" y="354564"/>
                </a:cubicBezTo>
                <a:cubicBezTo>
                  <a:pt x="3309608" y="348001"/>
                  <a:pt x="3316506" y="344720"/>
                  <a:pt x="3325256" y="344720"/>
                </a:cubicBezTo>
                <a:cubicBezTo>
                  <a:pt x="3333334" y="344720"/>
                  <a:pt x="3339980" y="348001"/>
                  <a:pt x="3345198" y="354564"/>
                </a:cubicBezTo>
                <a:cubicBezTo>
                  <a:pt x="3350414" y="361126"/>
                  <a:pt x="3353022" y="368951"/>
                  <a:pt x="3353022" y="378038"/>
                </a:cubicBezTo>
                <a:cubicBezTo>
                  <a:pt x="3353022" y="387125"/>
                  <a:pt x="3350414" y="395034"/>
                  <a:pt x="3345198" y="401765"/>
                </a:cubicBezTo>
                <a:cubicBezTo>
                  <a:pt x="3339980" y="408496"/>
                  <a:pt x="3333334" y="411861"/>
                  <a:pt x="3325256" y="411861"/>
                </a:cubicBezTo>
                <a:close/>
                <a:moveTo>
                  <a:pt x="2207070" y="453257"/>
                </a:moveTo>
                <a:lnTo>
                  <a:pt x="2207070" y="401765"/>
                </a:lnTo>
                <a:lnTo>
                  <a:pt x="2272697" y="401765"/>
                </a:lnTo>
                <a:lnTo>
                  <a:pt x="2272697" y="314430"/>
                </a:lnTo>
                <a:cubicBezTo>
                  <a:pt x="2272697" y="297939"/>
                  <a:pt x="2274043" y="283299"/>
                  <a:pt x="2276735" y="270510"/>
                </a:cubicBezTo>
                <a:cubicBezTo>
                  <a:pt x="2279428" y="257721"/>
                  <a:pt x="2284055" y="246868"/>
                  <a:pt x="2290618" y="237949"/>
                </a:cubicBezTo>
                <a:cubicBezTo>
                  <a:pt x="2297181" y="229031"/>
                  <a:pt x="2305931" y="222215"/>
                  <a:pt x="2316869" y="217504"/>
                </a:cubicBezTo>
                <a:cubicBezTo>
                  <a:pt x="2327807" y="212792"/>
                  <a:pt x="2341353" y="210436"/>
                  <a:pt x="2357508" y="210436"/>
                </a:cubicBezTo>
                <a:cubicBezTo>
                  <a:pt x="2366931" y="210436"/>
                  <a:pt x="2377280" y="211530"/>
                  <a:pt x="2388554" y="213718"/>
                </a:cubicBezTo>
                <a:cubicBezTo>
                  <a:pt x="2399829" y="215905"/>
                  <a:pt x="2411860" y="220028"/>
                  <a:pt x="2424649" y="226086"/>
                </a:cubicBezTo>
                <a:lnTo>
                  <a:pt x="2416572" y="276063"/>
                </a:lnTo>
                <a:cubicBezTo>
                  <a:pt x="2406475" y="271352"/>
                  <a:pt x="2397388" y="268239"/>
                  <a:pt x="2389312" y="266724"/>
                </a:cubicBezTo>
                <a:cubicBezTo>
                  <a:pt x="2381234" y="265210"/>
                  <a:pt x="2374335" y="264452"/>
                  <a:pt x="2368614" y="264452"/>
                </a:cubicBezTo>
                <a:cubicBezTo>
                  <a:pt x="2356498" y="264452"/>
                  <a:pt x="2347832" y="267902"/>
                  <a:pt x="2342615" y="274801"/>
                </a:cubicBezTo>
                <a:cubicBezTo>
                  <a:pt x="2337398" y="281701"/>
                  <a:pt x="2334790" y="292218"/>
                  <a:pt x="2334790" y="306353"/>
                </a:cubicBezTo>
                <a:lnTo>
                  <a:pt x="2334790" y="453257"/>
                </a:lnTo>
                <a:close/>
                <a:moveTo>
                  <a:pt x="1088092" y="457800"/>
                </a:moveTo>
                <a:cubicBezTo>
                  <a:pt x="1064870" y="457800"/>
                  <a:pt x="1044593" y="455949"/>
                  <a:pt x="1027260" y="452247"/>
                </a:cubicBezTo>
                <a:cubicBezTo>
                  <a:pt x="1009928" y="448545"/>
                  <a:pt x="993016" y="443665"/>
                  <a:pt x="976526" y="437607"/>
                </a:cubicBezTo>
                <a:lnTo>
                  <a:pt x="976526" y="215989"/>
                </a:lnTo>
                <a:lnTo>
                  <a:pt x="1039124" y="215989"/>
                </a:lnTo>
                <a:lnTo>
                  <a:pt x="1039124" y="392173"/>
                </a:lnTo>
                <a:cubicBezTo>
                  <a:pt x="1047874" y="394529"/>
                  <a:pt x="1056456" y="396128"/>
                  <a:pt x="1064870" y="396969"/>
                </a:cubicBezTo>
                <a:cubicBezTo>
                  <a:pt x="1073284" y="397810"/>
                  <a:pt x="1081866" y="398231"/>
                  <a:pt x="1090616" y="398231"/>
                </a:cubicBezTo>
                <a:cubicBezTo>
                  <a:pt x="1094318" y="398231"/>
                  <a:pt x="1098861" y="398063"/>
                  <a:pt x="1104246" y="397726"/>
                </a:cubicBezTo>
                <a:cubicBezTo>
                  <a:pt x="1109631" y="397390"/>
                  <a:pt x="1115184" y="396801"/>
                  <a:pt x="1120905" y="395959"/>
                </a:cubicBezTo>
                <a:cubicBezTo>
                  <a:pt x="1126627" y="395118"/>
                  <a:pt x="1132264" y="394192"/>
                  <a:pt x="1137817" y="393183"/>
                </a:cubicBezTo>
                <a:cubicBezTo>
                  <a:pt x="1143370" y="392173"/>
                  <a:pt x="1148166" y="391164"/>
                  <a:pt x="1152205" y="390154"/>
                </a:cubicBezTo>
                <a:lnTo>
                  <a:pt x="1163311" y="447704"/>
                </a:lnTo>
                <a:cubicBezTo>
                  <a:pt x="1157589" y="449723"/>
                  <a:pt x="1151111" y="451322"/>
                  <a:pt x="1143875" y="452500"/>
                </a:cubicBezTo>
                <a:cubicBezTo>
                  <a:pt x="1136639" y="453678"/>
                  <a:pt x="1129487" y="454687"/>
                  <a:pt x="1122420" y="455529"/>
                </a:cubicBezTo>
                <a:cubicBezTo>
                  <a:pt x="1115352" y="456370"/>
                  <a:pt x="1108706" y="456959"/>
                  <a:pt x="1102479" y="457296"/>
                </a:cubicBezTo>
                <a:cubicBezTo>
                  <a:pt x="1096253" y="457632"/>
                  <a:pt x="1091457" y="457800"/>
                  <a:pt x="1088092" y="457800"/>
                </a:cubicBezTo>
                <a:close/>
                <a:moveTo>
                  <a:pt x="2572782" y="459315"/>
                </a:moveTo>
                <a:cubicBezTo>
                  <a:pt x="2556628" y="459315"/>
                  <a:pt x="2541651" y="456370"/>
                  <a:pt x="2527852" y="450480"/>
                </a:cubicBezTo>
                <a:cubicBezTo>
                  <a:pt x="2514054" y="444591"/>
                  <a:pt x="2502190" y="436177"/>
                  <a:pt x="2492262" y="425239"/>
                </a:cubicBezTo>
                <a:cubicBezTo>
                  <a:pt x="2482334" y="414301"/>
                  <a:pt x="2474594" y="401176"/>
                  <a:pt x="2469040" y="385863"/>
                </a:cubicBezTo>
                <a:cubicBezTo>
                  <a:pt x="2463487" y="370550"/>
                  <a:pt x="2460711" y="353638"/>
                  <a:pt x="2460711" y="335128"/>
                </a:cubicBezTo>
                <a:cubicBezTo>
                  <a:pt x="2460711" y="316281"/>
                  <a:pt x="2463403" y="299201"/>
                  <a:pt x="2468788" y="283888"/>
                </a:cubicBezTo>
                <a:cubicBezTo>
                  <a:pt x="2474173" y="268575"/>
                  <a:pt x="2481829" y="255366"/>
                  <a:pt x="2491758" y="244259"/>
                </a:cubicBezTo>
                <a:cubicBezTo>
                  <a:pt x="2501686" y="233153"/>
                  <a:pt x="2513465" y="224571"/>
                  <a:pt x="2527095" y="218513"/>
                </a:cubicBezTo>
                <a:cubicBezTo>
                  <a:pt x="2540726" y="212455"/>
                  <a:pt x="2555954" y="209427"/>
                  <a:pt x="2572782" y="209427"/>
                </a:cubicBezTo>
                <a:cubicBezTo>
                  <a:pt x="2589609" y="209427"/>
                  <a:pt x="2604838" y="212455"/>
                  <a:pt x="2618468" y="218513"/>
                </a:cubicBezTo>
                <a:cubicBezTo>
                  <a:pt x="2632098" y="224571"/>
                  <a:pt x="2643794" y="233153"/>
                  <a:pt x="2653554" y="244259"/>
                </a:cubicBezTo>
                <a:cubicBezTo>
                  <a:pt x="2663314" y="255366"/>
                  <a:pt x="2670886" y="268575"/>
                  <a:pt x="2676271" y="283888"/>
                </a:cubicBezTo>
                <a:cubicBezTo>
                  <a:pt x="2681656" y="299201"/>
                  <a:pt x="2684348" y="316281"/>
                  <a:pt x="2684348" y="335128"/>
                </a:cubicBezTo>
                <a:cubicBezTo>
                  <a:pt x="2684348" y="353638"/>
                  <a:pt x="2681656" y="370550"/>
                  <a:pt x="2676271" y="385863"/>
                </a:cubicBezTo>
                <a:cubicBezTo>
                  <a:pt x="2670886" y="401176"/>
                  <a:pt x="2663230" y="414301"/>
                  <a:pt x="2653302" y="425239"/>
                </a:cubicBezTo>
                <a:cubicBezTo>
                  <a:pt x="2643373" y="436177"/>
                  <a:pt x="2631594" y="444591"/>
                  <a:pt x="2617964" y="450480"/>
                </a:cubicBezTo>
                <a:cubicBezTo>
                  <a:pt x="2604334" y="456370"/>
                  <a:pt x="2589273" y="459315"/>
                  <a:pt x="2572782" y="459315"/>
                </a:cubicBezTo>
                <a:close/>
                <a:moveTo>
                  <a:pt x="1810782" y="459315"/>
                </a:moveTo>
                <a:cubicBezTo>
                  <a:pt x="1794628" y="459315"/>
                  <a:pt x="1779651" y="456370"/>
                  <a:pt x="1765853" y="450480"/>
                </a:cubicBezTo>
                <a:cubicBezTo>
                  <a:pt x="1752054" y="444591"/>
                  <a:pt x="1740191" y="436177"/>
                  <a:pt x="1730262" y="425239"/>
                </a:cubicBezTo>
                <a:cubicBezTo>
                  <a:pt x="1720334" y="414301"/>
                  <a:pt x="1712594" y="401176"/>
                  <a:pt x="1707040" y="385863"/>
                </a:cubicBezTo>
                <a:cubicBezTo>
                  <a:pt x="1701488" y="370550"/>
                  <a:pt x="1698711" y="353638"/>
                  <a:pt x="1698711" y="335128"/>
                </a:cubicBezTo>
                <a:cubicBezTo>
                  <a:pt x="1698711" y="316281"/>
                  <a:pt x="1701403" y="299201"/>
                  <a:pt x="1706788" y="283888"/>
                </a:cubicBezTo>
                <a:cubicBezTo>
                  <a:pt x="1712173" y="268575"/>
                  <a:pt x="1719829" y="255366"/>
                  <a:pt x="1729758" y="244259"/>
                </a:cubicBezTo>
                <a:cubicBezTo>
                  <a:pt x="1739686" y="233153"/>
                  <a:pt x="1751465" y="224571"/>
                  <a:pt x="1765095" y="218513"/>
                </a:cubicBezTo>
                <a:cubicBezTo>
                  <a:pt x="1778726" y="212455"/>
                  <a:pt x="1793954" y="209427"/>
                  <a:pt x="1810782" y="209427"/>
                </a:cubicBezTo>
                <a:cubicBezTo>
                  <a:pt x="1827610" y="209427"/>
                  <a:pt x="1842838" y="212455"/>
                  <a:pt x="1856469" y="218513"/>
                </a:cubicBezTo>
                <a:cubicBezTo>
                  <a:pt x="1870099" y="224571"/>
                  <a:pt x="1881794" y="233153"/>
                  <a:pt x="1891554" y="244259"/>
                </a:cubicBezTo>
                <a:cubicBezTo>
                  <a:pt x="1901314" y="255366"/>
                  <a:pt x="1908886" y="268575"/>
                  <a:pt x="1914271" y="283888"/>
                </a:cubicBezTo>
                <a:cubicBezTo>
                  <a:pt x="1919656" y="299201"/>
                  <a:pt x="1922348" y="316281"/>
                  <a:pt x="1922348" y="335128"/>
                </a:cubicBezTo>
                <a:cubicBezTo>
                  <a:pt x="1922348" y="353638"/>
                  <a:pt x="1919656" y="370550"/>
                  <a:pt x="1914271" y="385863"/>
                </a:cubicBezTo>
                <a:cubicBezTo>
                  <a:pt x="1908886" y="401176"/>
                  <a:pt x="1901230" y="414301"/>
                  <a:pt x="1891302" y="425239"/>
                </a:cubicBezTo>
                <a:cubicBezTo>
                  <a:pt x="1881374" y="436177"/>
                  <a:pt x="1869594" y="444591"/>
                  <a:pt x="1855964" y="450480"/>
                </a:cubicBezTo>
                <a:cubicBezTo>
                  <a:pt x="1842334" y="456370"/>
                  <a:pt x="1827273" y="459315"/>
                  <a:pt x="1810782" y="459315"/>
                </a:cubicBezTo>
                <a:close/>
                <a:moveTo>
                  <a:pt x="810657" y="459315"/>
                </a:moveTo>
                <a:cubicBezTo>
                  <a:pt x="794503" y="459315"/>
                  <a:pt x="779526" y="456370"/>
                  <a:pt x="765728" y="450480"/>
                </a:cubicBezTo>
                <a:cubicBezTo>
                  <a:pt x="751929" y="444591"/>
                  <a:pt x="740066" y="436177"/>
                  <a:pt x="730138" y="425239"/>
                </a:cubicBezTo>
                <a:cubicBezTo>
                  <a:pt x="720209" y="414301"/>
                  <a:pt x="712469" y="401176"/>
                  <a:pt x="706916" y="385863"/>
                </a:cubicBezTo>
                <a:cubicBezTo>
                  <a:pt x="701362" y="370550"/>
                  <a:pt x="698586" y="353638"/>
                  <a:pt x="698586" y="335128"/>
                </a:cubicBezTo>
                <a:cubicBezTo>
                  <a:pt x="698586" y="316281"/>
                  <a:pt x="701278" y="299201"/>
                  <a:pt x="706663" y="283888"/>
                </a:cubicBezTo>
                <a:cubicBezTo>
                  <a:pt x="712048" y="268575"/>
                  <a:pt x="719704" y="255366"/>
                  <a:pt x="729633" y="244259"/>
                </a:cubicBezTo>
                <a:cubicBezTo>
                  <a:pt x="739561" y="233153"/>
                  <a:pt x="751340" y="224571"/>
                  <a:pt x="764970" y="218513"/>
                </a:cubicBezTo>
                <a:cubicBezTo>
                  <a:pt x="778601" y="212455"/>
                  <a:pt x="793830" y="209427"/>
                  <a:pt x="810657" y="209427"/>
                </a:cubicBezTo>
                <a:cubicBezTo>
                  <a:pt x="827485" y="209427"/>
                  <a:pt x="842713" y="212455"/>
                  <a:pt x="856344" y="218513"/>
                </a:cubicBezTo>
                <a:cubicBezTo>
                  <a:pt x="869974" y="224571"/>
                  <a:pt x="881669" y="233153"/>
                  <a:pt x="891429" y="244259"/>
                </a:cubicBezTo>
                <a:cubicBezTo>
                  <a:pt x="901189" y="255366"/>
                  <a:pt x="908761" y="268575"/>
                  <a:pt x="914146" y="283888"/>
                </a:cubicBezTo>
                <a:cubicBezTo>
                  <a:pt x="919531" y="299201"/>
                  <a:pt x="922223" y="316281"/>
                  <a:pt x="922223" y="335128"/>
                </a:cubicBezTo>
                <a:cubicBezTo>
                  <a:pt x="922223" y="353638"/>
                  <a:pt x="919531" y="370550"/>
                  <a:pt x="914146" y="385863"/>
                </a:cubicBezTo>
                <a:cubicBezTo>
                  <a:pt x="908761" y="401176"/>
                  <a:pt x="901105" y="414301"/>
                  <a:pt x="891177" y="425239"/>
                </a:cubicBezTo>
                <a:cubicBezTo>
                  <a:pt x="881248" y="436177"/>
                  <a:pt x="869469" y="444591"/>
                  <a:pt x="855839" y="450480"/>
                </a:cubicBezTo>
                <a:cubicBezTo>
                  <a:pt x="842209" y="456370"/>
                  <a:pt x="827148" y="459315"/>
                  <a:pt x="810657" y="459315"/>
                </a:cubicBezTo>
                <a:close/>
                <a:moveTo>
                  <a:pt x="546919" y="477993"/>
                </a:moveTo>
                <a:cubicBezTo>
                  <a:pt x="563410" y="477993"/>
                  <a:pt x="576620" y="474207"/>
                  <a:pt x="586548" y="466635"/>
                </a:cubicBezTo>
                <a:cubicBezTo>
                  <a:pt x="596476" y="459062"/>
                  <a:pt x="601441" y="446189"/>
                  <a:pt x="601441" y="428016"/>
                </a:cubicBezTo>
                <a:cubicBezTo>
                  <a:pt x="601441" y="408832"/>
                  <a:pt x="596392" y="395286"/>
                  <a:pt x="586296" y="387377"/>
                </a:cubicBezTo>
                <a:cubicBezTo>
                  <a:pt x="576199" y="379468"/>
                  <a:pt x="561223" y="375514"/>
                  <a:pt x="541366" y="375514"/>
                </a:cubicBezTo>
                <a:lnTo>
                  <a:pt x="516125" y="375514"/>
                </a:lnTo>
                <a:lnTo>
                  <a:pt x="516125" y="476479"/>
                </a:lnTo>
                <a:cubicBezTo>
                  <a:pt x="519827" y="477152"/>
                  <a:pt x="524960" y="477573"/>
                  <a:pt x="531522" y="477741"/>
                </a:cubicBezTo>
                <a:cubicBezTo>
                  <a:pt x="538085" y="477909"/>
                  <a:pt x="543217" y="477993"/>
                  <a:pt x="546919" y="477993"/>
                </a:cubicBezTo>
                <a:close/>
                <a:moveTo>
                  <a:pt x="3324752" y="482537"/>
                </a:moveTo>
                <a:cubicBezTo>
                  <a:pt x="3341916" y="482537"/>
                  <a:pt x="3354958" y="473198"/>
                  <a:pt x="3363876" y="454519"/>
                </a:cubicBezTo>
                <a:cubicBezTo>
                  <a:pt x="3372794" y="435841"/>
                  <a:pt x="3377254" y="408664"/>
                  <a:pt x="3377254" y="372990"/>
                </a:cubicBezTo>
                <a:cubicBezTo>
                  <a:pt x="3377254" y="336979"/>
                  <a:pt x="3372794" y="309634"/>
                  <a:pt x="3363876" y="290956"/>
                </a:cubicBezTo>
                <a:cubicBezTo>
                  <a:pt x="3354958" y="272277"/>
                  <a:pt x="3341916" y="262938"/>
                  <a:pt x="3324752" y="262938"/>
                </a:cubicBezTo>
                <a:cubicBezTo>
                  <a:pt x="3307924" y="262938"/>
                  <a:pt x="3294968" y="272277"/>
                  <a:pt x="3285880" y="290956"/>
                </a:cubicBezTo>
                <a:cubicBezTo>
                  <a:pt x="3276794" y="309634"/>
                  <a:pt x="3272250" y="336979"/>
                  <a:pt x="3272250" y="372990"/>
                </a:cubicBezTo>
                <a:cubicBezTo>
                  <a:pt x="3272250" y="408664"/>
                  <a:pt x="3276794" y="435841"/>
                  <a:pt x="3285880" y="454519"/>
                </a:cubicBezTo>
                <a:cubicBezTo>
                  <a:pt x="3294968" y="473198"/>
                  <a:pt x="3307924" y="482537"/>
                  <a:pt x="3324752" y="482537"/>
                </a:cubicBezTo>
                <a:close/>
                <a:moveTo>
                  <a:pt x="1323054" y="522923"/>
                </a:moveTo>
                <a:lnTo>
                  <a:pt x="1260961" y="512826"/>
                </a:lnTo>
                <a:lnTo>
                  <a:pt x="1260961" y="453257"/>
                </a:lnTo>
                <a:lnTo>
                  <a:pt x="1206945" y="453257"/>
                </a:lnTo>
                <a:lnTo>
                  <a:pt x="1206945" y="401765"/>
                </a:lnTo>
                <a:lnTo>
                  <a:pt x="1260961" y="401765"/>
                </a:lnTo>
                <a:lnTo>
                  <a:pt x="1260961" y="304334"/>
                </a:lnTo>
                <a:cubicBezTo>
                  <a:pt x="1260961" y="284477"/>
                  <a:pt x="1262980" y="268407"/>
                  <a:pt x="1267019" y="256123"/>
                </a:cubicBezTo>
                <a:cubicBezTo>
                  <a:pt x="1271057" y="243839"/>
                  <a:pt x="1276947" y="234331"/>
                  <a:pt x="1284688" y="227600"/>
                </a:cubicBezTo>
                <a:cubicBezTo>
                  <a:pt x="1292428" y="220869"/>
                  <a:pt x="1301852" y="216326"/>
                  <a:pt x="1312958" y="213970"/>
                </a:cubicBezTo>
                <a:cubicBezTo>
                  <a:pt x="1324064" y="211614"/>
                  <a:pt x="1336853" y="210436"/>
                  <a:pt x="1351325" y="210436"/>
                </a:cubicBezTo>
                <a:cubicBezTo>
                  <a:pt x="1363777" y="210436"/>
                  <a:pt x="1376650" y="211446"/>
                  <a:pt x="1389944" y="213465"/>
                </a:cubicBezTo>
                <a:cubicBezTo>
                  <a:pt x="1403238" y="215484"/>
                  <a:pt x="1415606" y="218850"/>
                  <a:pt x="1427048" y="223562"/>
                </a:cubicBezTo>
                <a:lnTo>
                  <a:pt x="1418466" y="277073"/>
                </a:lnTo>
                <a:cubicBezTo>
                  <a:pt x="1412745" y="274381"/>
                  <a:pt x="1407444" y="272193"/>
                  <a:pt x="1402564" y="270510"/>
                </a:cubicBezTo>
                <a:cubicBezTo>
                  <a:pt x="1397684" y="268828"/>
                  <a:pt x="1392973" y="267566"/>
                  <a:pt x="1388429" y="266724"/>
                </a:cubicBezTo>
                <a:cubicBezTo>
                  <a:pt x="1383886" y="265883"/>
                  <a:pt x="1379174" y="265294"/>
                  <a:pt x="1374294" y="264957"/>
                </a:cubicBezTo>
                <a:cubicBezTo>
                  <a:pt x="1369414" y="264621"/>
                  <a:pt x="1364114" y="264452"/>
                  <a:pt x="1358392" y="264452"/>
                </a:cubicBezTo>
                <a:cubicBezTo>
                  <a:pt x="1353007" y="264452"/>
                  <a:pt x="1348127" y="264957"/>
                  <a:pt x="1343752" y="265967"/>
                </a:cubicBezTo>
                <a:cubicBezTo>
                  <a:pt x="1339377" y="266977"/>
                  <a:pt x="1335675" y="268996"/>
                  <a:pt x="1332646" y="272025"/>
                </a:cubicBezTo>
                <a:cubicBezTo>
                  <a:pt x="1329617" y="275054"/>
                  <a:pt x="1327261" y="279261"/>
                  <a:pt x="1325579" y="284645"/>
                </a:cubicBezTo>
                <a:cubicBezTo>
                  <a:pt x="1323896" y="290030"/>
                  <a:pt x="1323054" y="297098"/>
                  <a:pt x="1323054" y="305848"/>
                </a:cubicBezTo>
                <a:lnTo>
                  <a:pt x="1323054" y="401765"/>
                </a:lnTo>
                <a:lnTo>
                  <a:pt x="1422505" y="401765"/>
                </a:lnTo>
                <a:lnTo>
                  <a:pt x="1422505" y="453257"/>
                </a:lnTo>
                <a:lnTo>
                  <a:pt x="1323054" y="453257"/>
                </a:lnTo>
                <a:close/>
                <a:moveTo>
                  <a:pt x="539852" y="532010"/>
                </a:moveTo>
                <a:cubicBezTo>
                  <a:pt x="534131" y="532010"/>
                  <a:pt x="527568" y="531841"/>
                  <a:pt x="520164" y="531505"/>
                </a:cubicBezTo>
                <a:cubicBezTo>
                  <a:pt x="512760" y="531168"/>
                  <a:pt x="505187" y="530748"/>
                  <a:pt x="497447" y="530243"/>
                </a:cubicBezTo>
                <a:cubicBezTo>
                  <a:pt x="489706" y="529738"/>
                  <a:pt x="482049" y="528981"/>
                  <a:pt x="474477" y="527971"/>
                </a:cubicBezTo>
                <a:cubicBezTo>
                  <a:pt x="466905" y="526961"/>
                  <a:pt x="460090" y="525784"/>
                  <a:pt x="454032" y="524437"/>
                </a:cubicBezTo>
                <a:lnTo>
                  <a:pt x="454032" y="215989"/>
                </a:lnTo>
                <a:lnTo>
                  <a:pt x="516125" y="215989"/>
                </a:lnTo>
                <a:lnTo>
                  <a:pt x="516125" y="321498"/>
                </a:lnTo>
                <a:lnTo>
                  <a:pt x="538337" y="321498"/>
                </a:lnTo>
                <a:cubicBezTo>
                  <a:pt x="578723" y="321498"/>
                  <a:pt x="609938" y="329827"/>
                  <a:pt x="631982" y="346486"/>
                </a:cubicBezTo>
                <a:cubicBezTo>
                  <a:pt x="654026" y="363146"/>
                  <a:pt x="665048" y="390154"/>
                  <a:pt x="665048" y="427511"/>
                </a:cubicBezTo>
                <a:cubicBezTo>
                  <a:pt x="665048" y="464531"/>
                  <a:pt x="654111" y="491203"/>
                  <a:pt x="632235" y="507526"/>
                </a:cubicBezTo>
                <a:cubicBezTo>
                  <a:pt x="610359" y="523848"/>
                  <a:pt x="579565" y="532010"/>
                  <a:pt x="539852" y="532010"/>
                </a:cubicBezTo>
                <a:close/>
                <a:moveTo>
                  <a:pt x="3816452" y="535544"/>
                </a:moveTo>
                <a:cubicBezTo>
                  <a:pt x="3797604" y="535544"/>
                  <a:pt x="3780694" y="532430"/>
                  <a:pt x="3765716" y="526204"/>
                </a:cubicBezTo>
                <a:cubicBezTo>
                  <a:pt x="3750740" y="519978"/>
                  <a:pt x="3738708" y="513836"/>
                  <a:pt x="3729622" y="507778"/>
                </a:cubicBezTo>
                <a:lnTo>
                  <a:pt x="3751834" y="462344"/>
                </a:lnTo>
                <a:cubicBezTo>
                  <a:pt x="3760248" y="468065"/>
                  <a:pt x="3770260" y="472861"/>
                  <a:pt x="3781872" y="476731"/>
                </a:cubicBezTo>
                <a:cubicBezTo>
                  <a:pt x="3793482" y="480602"/>
                  <a:pt x="3805178" y="482537"/>
                  <a:pt x="3816956" y="482537"/>
                </a:cubicBezTo>
                <a:cubicBezTo>
                  <a:pt x="3829072" y="482537"/>
                  <a:pt x="3838580" y="479255"/>
                  <a:pt x="3845480" y="472693"/>
                </a:cubicBezTo>
                <a:cubicBezTo>
                  <a:pt x="3852378" y="466130"/>
                  <a:pt x="3855828" y="457127"/>
                  <a:pt x="3855828" y="445685"/>
                </a:cubicBezTo>
                <a:cubicBezTo>
                  <a:pt x="3855828" y="437944"/>
                  <a:pt x="3854230" y="431550"/>
                  <a:pt x="3851032" y="426501"/>
                </a:cubicBezTo>
                <a:cubicBezTo>
                  <a:pt x="3847836" y="421453"/>
                  <a:pt x="3843712" y="417414"/>
                  <a:pt x="3838664" y="414385"/>
                </a:cubicBezTo>
                <a:cubicBezTo>
                  <a:pt x="3833616" y="411357"/>
                  <a:pt x="3827894" y="409169"/>
                  <a:pt x="3821500" y="407823"/>
                </a:cubicBezTo>
                <a:cubicBezTo>
                  <a:pt x="3815106" y="406477"/>
                  <a:pt x="3808712" y="405803"/>
                  <a:pt x="3802316" y="405803"/>
                </a:cubicBezTo>
                <a:lnTo>
                  <a:pt x="3779094" y="405803"/>
                </a:lnTo>
                <a:lnTo>
                  <a:pt x="3779094" y="354311"/>
                </a:lnTo>
                <a:lnTo>
                  <a:pt x="3798278" y="354311"/>
                </a:lnTo>
                <a:cubicBezTo>
                  <a:pt x="3818470" y="354311"/>
                  <a:pt x="3835130" y="351030"/>
                  <a:pt x="3848256" y="344467"/>
                </a:cubicBezTo>
                <a:cubicBezTo>
                  <a:pt x="3861380" y="337904"/>
                  <a:pt x="3867944" y="326378"/>
                  <a:pt x="3867944" y="309887"/>
                </a:cubicBezTo>
                <a:cubicBezTo>
                  <a:pt x="3867944" y="296425"/>
                  <a:pt x="3863652" y="285150"/>
                  <a:pt x="3855072" y="276063"/>
                </a:cubicBezTo>
                <a:cubicBezTo>
                  <a:pt x="3846488" y="266977"/>
                  <a:pt x="3831596" y="262433"/>
                  <a:pt x="3810394" y="262433"/>
                </a:cubicBezTo>
                <a:cubicBezTo>
                  <a:pt x="3793230" y="262433"/>
                  <a:pt x="3778506" y="264284"/>
                  <a:pt x="3766222" y="267986"/>
                </a:cubicBezTo>
                <a:cubicBezTo>
                  <a:pt x="3753938" y="271688"/>
                  <a:pt x="3743924" y="275222"/>
                  <a:pt x="3736184" y="278588"/>
                </a:cubicBezTo>
                <a:lnTo>
                  <a:pt x="3724068" y="226591"/>
                </a:lnTo>
                <a:cubicBezTo>
                  <a:pt x="3727770" y="224908"/>
                  <a:pt x="3732988" y="223057"/>
                  <a:pt x="3739718" y="221037"/>
                </a:cubicBezTo>
                <a:cubicBezTo>
                  <a:pt x="3746450" y="219018"/>
                  <a:pt x="3753770" y="217167"/>
                  <a:pt x="3761678" y="215484"/>
                </a:cubicBezTo>
                <a:cubicBezTo>
                  <a:pt x="3769588" y="213802"/>
                  <a:pt x="3777832" y="212371"/>
                  <a:pt x="3786414" y="211193"/>
                </a:cubicBezTo>
                <a:cubicBezTo>
                  <a:pt x="3794996" y="210015"/>
                  <a:pt x="3803158" y="209427"/>
                  <a:pt x="3810898" y="209427"/>
                </a:cubicBezTo>
                <a:cubicBezTo>
                  <a:pt x="3831764" y="209427"/>
                  <a:pt x="3849770" y="211867"/>
                  <a:pt x="3864916" y="216746"/>
                </a:cubicBezTo>
                <a:cubicBezTo>
                  <a:pt x="3880060" y="221626"/>
                  <a:pt x="3892512" y="228526"/>
                  <a:pt x="3902272" y="237444"/>
                </a:cubicBezTo>
                <a:cubicBezTo>
                  <a:pt x="3912032" y="246363"/>
                  <a:pt x="3919268" y="256880"/>
                  <a:pt x="3923980" y="268996"/>
                </a:cubicBezTo>
                <a:cubicBezTo>
                  <a:pt x="3928692" y="281112"/>
                  <a:pt x="3931048" y="294405"/>
                  <a:pt x="3931048" y="308877"/>
                </a:cubicBezTo>
                <a:cubicBezTo>
                  <a:pt x="3931048" y="327051"/>
                  <a:pt x="3926588" y="342700"/>
                  <a:pt x="3917668" y="355826"/>
                </a:cubicBezTo>
                <a:cubicBezTo>
                  <a:pt x="3908750" y="368951"/>
                  <a:pt x="3896214" y="378879"/>
                  <a:pt x="3880060" y="385610"/>
                </a:cubicBezTo>
                <a:cubicBezTo>
                  <a:pt x="3891840" y="391668"/>
                  <a:pt x="3901262" y="400419"/>
                  <a:pt x="3908330" y="411861"/>
                </a:cubicBezTo>
                <a:cubicBezTo>
                  <a:pt x="3915398" y="423304"/>
                  <a:pt x="3918932" y="435252"/>
                  <a:pt x="3918932" y="447704"/>
                </a:cubicBezTo>
                <a:cubicBezTo>
                  <a:pt x="3918932" y="460156"/>
                  <a:pt x="3916912" y="471767"/>
                  <a:pt x="3912874" y="482537"/>
                </a:cubicBezTo>
                <a:cubicBezTo>
                  <a:pt x="3908834" y="493306"/>
                  <a:pt x="3902608" y="502646"/>
                  <a:pt x="3894196" y="510555"/>
                </a:cubicBezTo>
                <a:cubicBezTo>
                  <a:pt x="3885780" y="518464"/>
                  <a:pt x="3875096" y="524606"/>
                  <a:pt x="3862138" y="528981"/>
                </a:cubicBezTo>
                <a:cubicBezTo>
                  <a:pt x="3849180" y="533356"/>
                  <a:pt x="3833952" y="535544"/>
                  <a:pt x="3816452" y="535544"/>
                </a:cubicBezTo>
                <a:close/>
                <a:moveTo>
                  <a:pt x="3567354" y="535544"/>
                </a:moveTo>
                <a:cubicBezTo>
                  <a:pt x="3549854" y="535544"/>
                  <a:pt x="3532268" y="532178"/>
                  <a:pt x="3514600" y="525447"/>
                </a:cubicBezTo>
                <a:cubicBezTo>
                  <a:pt x="3496930" y="518716"/>
                  <a:pt x="3481366" y="508283"/>
                  <a:pt x="3467904" y="494148"/>
                </a:cubicBezTo>
                <a:lnTo>
                  <a:pt x="3498698" y="450733"/>
                </a:lnTo>
                <a:cubicBezTo>
                  <a:pt x="3509130" y="461839"/>
                  <a:pt x="3519732" y="469748"/>
                  <a:pt x="3530502" y="474460"/>
                </a:cubicBezTo>
                <a:cubicBezTo>
                  <a:pt x="3541272" y="479171"/>
                  <a:pt x="3551536" y="481527"/>
                  <a:pt x="3561296" y="481527"/>
                </a:cubicBezTo>
                <a:cubicBezTo>
                  <a:pt x="3573076" y="481527"/>
                  <a:pt x="3582836" y="478078"/>
                  <a:pt x="3590576" y="471178"/>
                </a:cubicBezTo>
                <a:cubicBezTo>
                  <a:pt x="3598316" y="464279"/>
                  <a:pt x="3602186" y="454435"/>
                  <a:pt x="3602188" y="441646"/>
                </a:cubicBezTo>
                <a:cubicBezTo>
                  <a:pt x="3602186" y="432559"/>
                  <a:pt x="3599074" y="423641"/>
                  <a:pt x="3592848" y="414890"/>
                </a:cubicBezTo>
                <a:cubicBezTo>
                  <a:pt x="3586622" y="406140"/>
                  <a:pt x="3578712" y="397053"/>
                  <a:pt x="3569120" y="387630"/>
                </a:cubicBezTo>
                <a:cubicBezTo>
                  <a:pt x="3559528" y="378206"/>
                  <a:pt x="3549264" y="368362"/>
                  <a:pt x="3538326" y="358097"/>
                </a:cubicBezTo>
                <a:cubicBezTo>
                  <a:pt x="3527388" y="347833"/>
                  <a:pt x="3517124" y="336727"/>
                  <a:pt x="3507532" y="324779"/>
                </a:cubicBezTo>
                <a:cubicBezTo>
                  <a:pt x="3497940" y="312831"/>
                  <a:pt x="3490032" y="299790"/>
                  <a:pt x="3483806" y="285655"/>
                </a:cubicBezTo>
                <a:cubicBezTo>
                  <a:pt x="3477580" y="271520"/>
                  <a:pt x="3474466" y="256039"/>
                  <a:pt x="3474466" y="239211"/>
                </a:cubicBezTo>
                <a:cubicBezTo>
                  <a:pt x="3474466" y="237192"/>
                  <a:pt x="3474382" y="233658"/>
                  <a:pt x="3474214" y="228610"/>
                </a:cubicBezTo>
                <a:cubicBezTo>
                  <a:pt x="3474046" y="223562"/>
                  <a:pt x="3474466" y="219355"/>
                  <a:pt x="3475476" y="215989"/>
                </a:cubicBezTo>
                <a:lnTo>
                  <a:pt x="3679426" y="215989"/>
                </a:lnTo>
                <a:lnTo>
                  <a:pt x="3679426" y="267481"/>
                </a:lnTo>
                <a:lnTo>
                  <a:pt x="3545142" y="267481"/>
                </a:lnTo>
                <a:cubicBezTo>
                  <a:pt x="3545142" y="272530"/>
                  <a:pt x="3546908" y="278083"/>
                  <a:pt x="3550442" y="284141"/>
                </a:cubicBezTo>
                <a:cubicBezTo>
                  <a:pt x="3553976" y="290198"/>
                  <a:pt x="3558268" y="296172"/>
                  <a:pt x="3563316" y="302062"/>
                </a:cubicBezTo>
                <a:cubicBezTo>
                  <a:pt x="3568364" y="307952"/>
                  <a:pt x="3573748" y="313673"/>
                  <a:pt x="3579470" y="319226"/>
                </a:cubicBezTo>
                <a:cubicBezTo>
                  <a:pt x="3585190" y="324779"/>
                  <a:pt x="3590240" y="329575"/>
                  <a:pt x="3594614" y="333613"/>
                </a:cubicBezTo>
                <a:cubicBezTo>
                  <a:pt x="3603364" y="341691"/>
                  <a:pt x="3611946" y="350104"/>
                  <a:pt x="3620360" y="358855"/>
                </a:cubicBezTo>
                <a:cubicBezTo>
                  <a:pt x="3628774" y="367605"/>
                  <a:pt x="3636346" y="376692"/>
                  <a:pt x="3643078" y="386115"/>
                </a:cubicBezTo>
                <a:cubicBezTo>
                  <a:pt x="3649808" y="395539"/>
                  <a:pt x="3655194" y="405214"/>
                  <a:pt x="3659232" y="415143"/>
                </a:cubicBezTo>
                <a:cubicBezTo>
                  <a:pt x="3663270" y="425071"/>
                  <a:pt x="3665290" y="435420"/>
                  <a:pt x="3665290" y="446189"/>
                </a:cubicBezTo>
                <a:cubicBezTo>
                  <a:pt x="3665290" y="460998"/>
                  <a:pt x="3662598" y="474039"/>
                  <a:pt x="3657212" y="485313"/>
                </a:cubicBezTo>
                <a:cubicBezTo>
                  <a:pt x="3651828" y="496588"/>
                  <a:pt x="3644592" y="505927"/>
                  <a:pt x="3635506" y="513331"/>
                </a:cubicBezTo>
                <a:cubicBezTo>
                  <a:pt x="3626418" y="520735"/>
                  <a:pt x="3615986" y="526288"/>
                  <a:pt x="3604206" y="529990"/>
                </a:cubicBezTo>
                <a:cubicBezTo>
                  <a:pt x="3592426" y="533692"/>
                  <a:pt x="3580142" y="535544"/>
                  <a:pt x="3567354" y="535544"/>
                </a:cubicBezTo>
                <a:close/>
                <a:moveTo>
                  <a:pt x="3324752" y="535544"/>
                </a:moveTo>
                <a:cubicBezTo>
                  <a:pt x="3290088" y="535544"/>
                  <a:pt x="3263332" y="522081"/>
                  <a:pt x="3244486" y="495157"/>
                </a:cubicBezTo>
                <a:cubicBezTo>
                  <a:pt x="3225638" y="468233"/>
                  <a:pt x="3216214" y="427511"/>
                  <a:pt x="3216214" y="372990"/>
                </a:cubicBezTo>
                <a:cubicBezTo>
                  <a:pt x="3216214" y="317796"/>
                  <a:pt x="3225470" y="276737"/>
                  <a:pt x="3243980" y="249813"/>
                </a:cubicBezTo>
                <a:cubicBezTo>
                  <a:pt x="3262490" y="222889"/>
                  <a:pt x="3289414" y="209427"/>
                  <a:pt x="3324752" y="209427"/>
                </a:cubicBezTo>
                <a:cubicBezTo>
                  <a:pt x="3360090" y="209427"/>
                  <a:pt x="3387014" y="222889"/>
                  <a:pt x="3405524" y="249813"/>
                </a:cubicBezTo>
                <a:cubicBezTo>
                  <a:pt x="3424034" y="276737"/>
                  <a:pt x="3433290" y="317796"/>
                  <a:pt x="3433290" y="372990"/>
                </a:cubicBezTo>
                <a:cubicBezTo>
                  <a:pt x="3433290" y="427847"/>
                  <a:pt x="3424034" y="468654"/>
                  <a:pt x="3405524" y="495410"/>
                </a:cubicBezTo>
                <a:cubicBezTo>
                  <a:pt x="3387014" y="522166"/>
                  <a:pt x="3360090" y="535544"/>
                  <a:pt x="3324752" y="535544"/>
                </a:cubicBezTo>
                <a:close/>
                <a:moveTo>
                  <a:pt x="3062528" y="535544"/>
                </a:moveTo>
                <a:cubicBezTo>
                  <a:pt x="3045028" y="535544"/>
                  <a:pt x="3027444" y="532178"/>
                  <a:pt x="3009774" y="525447"/>
                </a:cubicBezTo>
                <a:cubicBezTo>
                  <a:pt x="2992106" y="518716"/>
                  <a:pt x="2976540" y="508283"/>
                  <a:pt x="2963078" y="494148"/>
                </a:cubicBezTo>
                <a:lnTo>
                  <a:pt x="2993872" y="450733"/>
                </a:lnTo>
                <a:cubicBezTo>
                  <a:pt x="3004306" y="461839"/>
                  <a:pt x="3014908" y="469748"/>
                  <a:pt x="3025676" y="474460"/>
                </a:cubicBezTo>
                <a:cubicBezTo>
                  <a:pt x="3036446" y="479171"/>
                  <a:pt x="3046712" y="481527"/>
                  <a:pt x="3056472" y="481527"/>
                </a:cubicBezTo>
                <a:cubicBezTo>
                  <a:pt x="3068250" y="481527"/>
                  <a:pt x="3078010" y="478078"/>
                  <a:pt x="3085752" y="471178"/>
                </a:cubicBezTo>
                <a:cubicBezTo>
                  <a:pt x="3093492" y="464279"/>
                  <a:pt x="3097362" y="454435"/>
                  <a:pt x="3097362" y="441646"/>
                </a:cubicBezTo>
                <a:cubicBezTo>
                  <a:pt x="3097362" y="432559"/>
                  <a:pt x="3094248" y="423641"/>
                  <a:pt x="3088022" y="414890"/>
                </a:cubicBezTo>
                <a:cubicBezTo>
                  <a:pt x="3081796" y="406140"/>
                  <a:pt x="3073888" y="397053"/>
                  <a:pt x="3064296" y="387630"/>
                </a:cubicBezTo>
                <a:cubicBezTo>
                  <a:pt x="3054704" y="378206"/>
                  <a:pt x="3044440" y="368362"/>
                  <a:pt x="3033502" y="358097"/>
                </a:cubicBezTo>
                <a:cubicBezTo>
                  <a:pt x="3022564" y="347833"/>
                  <a:pt x="3012298" y="336727"/>
                  <a:pt x="3002708" y="324779"/>
                </a:cubicBezTo>
                <a:cubicBezTo>
                  <a:pt x="2993116" y="312831"/>
                  <a:pt x="2985206" y="299790"/>
                  <a:pt x="2978980" y="285655"/>
                </a:cubicBezTo>
                <a:cubicBezTo>
                  <a:pt x="2972754" y="271520"/>
                  <a:pt x="2969642" y="256039"/>
                  <a:pt x="2969642" y="239211"/>
                </a:cubicBezTo>
                <a:cubicBezTo>
                  <a:pt x="2969642" y="237192"/>
                  <a:pt x="2969558" y="233658"/>
                  <a:pt x="2969388" y="228610"/>
                </a:cubicBezTo>
                <a:cubicBezTo>
                  <a:pt x="2969220" y="223562"/>
                  <a:pt x="2969640" y="219355"/>
                  <a:pt x="2970650" y="215989"/>
                </a:cubicBezTo>
                <a:lnTo>
                  <a:pt x="3174600" y="215989"/>
                </a:lnTo>
                <a:lnTo>
                  <a:pt x="3174600" y="267481"/>
                </a:lnTo>
                <a:lnTo>
                  <a:pt x="3040316" y="267481"/>
                </a:lnTo>
                <a:cubicBezTo>
                  <a:pt x="3040316" y="272530"/>
                  <a:pt x="3042084" y="278083"/>
                  <a:pt x="3045618" y="284141"/>
                </a:cubicBezTo>
                <a:cubicBezTo>
                  <a:pt x="3049152" y="290198"/>
                  <a:pt x="3053442" y="296172"/>
                  <a:pt x="3058490" y="302062"/>
                </a:cubicBezTo>
                <a:cubicBezTo>
                  <a:pt x="3063538" y="307952"/>
                  <a:pt x="3068924" y="313673"/>
                  <a:pt x="3074644" y="319226"/>
                </a:cubicBezTo>
                <a:cubicBezTo>
                  <a:pt x="3080366" y="324779"/>
                  <a:pt x="3085414" y="329575"/>
                  <a:pt x="3089790" y="333613"/>
                </a:cubicBezTo>
                <a:cubicBezTo>
                  <a:pt x="3098540" y="341691"/>
                  <a:pt x="3107122" y="350104"/>
                  <a:pt x="3115536" y="358855"/>
                </a:cubicBezTo>
                <a:cubicBezTo>
                  <a:pt x="3123950" y="367605"/>
                  <a:pt x="3131522" y="376692"/>
                  <a:pt x="3138252" y="386115"/>
                </a:cubicBezTo>
                <a:cubicBezTo>
                  <a:pt x="3144984" y="395539"/>
                  <a:pt x="3150368" y="405214"/>
                  <a:pt x="3154408" y="415143"/>
                </a:cubicBezTo>
                <a:cubicBezTo>
                  <a:pt x="3158446" y="425071"/>
                  <a:pt x="3160464" y="435420"/>
                  <a:pt x="3160464" y="446189"/>
                </a:cubicBezTo>
                <a:cubicBezTo>
                  <a:pt x="3160464" y="460998"/>
                  <a:pt x="3157772" y="474039"/>
                  <a:pt x="3152388" y="485313"/>
                </a:cubicBezTo>
                <a:cubicBezTo>
                  <a:pt x="3147002" y="496588"/>
                  <a:pt x="3139766" y="505927"/>
                  <a:pt x="3130680" y="513331"/>
                </a:cubicBezTo>
                <a:cubicBezTo>
                  <a:pt x="3121594" y="520735"/>
                  <a:pt x="3111160" y="526288"/>
                  <a:pt x="3099382" y="529990"/>
                </a:cubicBezTo>
                <a:cubicBezTo>
                  <a:pt x="3087602" y="533692"/>
                  <a:pt x="3075318" y="535544"/>
                  <a:pt x="3062528" y="535544"/>
                </a:cubicBezTo>
                <a:close/>
                <a:moveTo>
                  <a:pt x="2292890" y="561290"/>
                </a:moveTo>
                <a:cubicBezTo>
                  <a:pt x="2282120" y="561290"/>
                  <a:pt x="2272949" y="557756"/>
                  <a:pt x="2265377" y="550688"/>
                </a:cubicBezTo>
                <a:cubicBezTo>
                  <a:pt x="2257805" y="543621"/>
                  <a:pt x="2254018" y="533861"/>
                  <a:pt x="2254018" y="521408"/>
                </a:cubicBezTo>
                <a:cubicBezTo>
                  <a:pt x="2254018" y="509293"/>
                  <a:pt x="2257805" y="499701"/>
                  <a:pt x="2265377" y="492633"/>
                </a:cubicBezTo>
                <a:cubicBezTo>
                  <a:pt x="2272949" y="485566"/>
                  <a:pt x="2282120" y="482032"/>
                  <a:pt x="2292890" y="482032"/>
                </a:cubicBezTo>
                <a:cubicBezTo>
                  <a:pt x="2303660" y="482032"/>
                  <a:pt x="2312914" y="485566"/>
                  <a:pt x="2320655" y="492633"/>
                </a:cubicBezTo>
                <a:cubicBezTo>
                  <a:pt x="2328396" y="499701"/>
                  <a:pt x="2332266" y="509293"/>
                  <a:pt x="2332266" y="521408"/>
                </a:cubicBezTo>
                <a:cubicBezTo>
                  <a:pt x="2332266" y="533861"/>
                  <a:pt x="2328396" y="543621"/>
                  <a:pt x="2320655" y="550688"/>
                </a:cubicBezTo>
                <a:cubicBezTo>
                  <a:pt x="2312914" y="557756"/>
                  <a:pt x="2303660" y="561290"/>
                  <a:pt x="2292890" y="561290"/>
                </a:cubicBezTo>
                <a:close/>
                <a:moveTo>
                  <a:pt x="1959420" y="563309"/>
                </a:moveTo>
                <a:lnTo>
                  <a:pt x="1959420" y="511817"/>
                </a:lnTo>
                <a:lnTo>
                  <a:pt x="2025047" y="511817"/>
                </a:lnTo>
                <a:lnTo>
                  <a:pt x="2025047" y="310392"/>
                </a:lnTo>
                <a:cubicBezTo>
                  <a:pt x="2025047" y="277746"/>
                  <a:pt x="2031610" y="252926"/>
                  <a:pt x="2044735" y="235930"/>
                </a:cubicBezTo>
                <a:cubicBezTo>
                  <a:pt x="2057860" y="218934"/>
                  <a:pt x="2078727" y="210436"/>
                  <a:pt x="2107333" y="210436"/>
                </a:cubicBezTo>
                <a:cubicBezTo>
                  <a:pt x="2117767" y="210436"/>
                  <a:pt x="2127106" y="211109"/>
                  <a:pt x="2135351" y="212455"/>
                </a:cubicBezTo>
                <a:cubicBezTo>
                  <a:pt x="2143597" y="213802"/>
                  <a:pt x="2150580" y="215400"/>
                  <a:pt x="2156302" y="217251"/>
                </a:cubicBezTo>
                <a:cubicBezTo>
                  <a:pt x="2162023" y="219102"/>
                  <a:pt x="2166650" y="220869"/>
                  <a:pt x="2170184" y="222552"/>
                </a:cubicBezTo>
                <a:cubicBezTo>
                  <a:pt x="2173718" y="224235"/>
                  <a:pt x="2175990" y="225413"/>
                  <a:pt x="2176999" y="226086"/>
                </a:cubicBezTo>
                <a:lnTo>
                  <a:pt x="2168922" y="276063"/>
                </a:lnTo>
                <a:cubicBezTo>
                  <a:pt x="2166230" y="275054"/>
                  <a:pt x="2160677" y="272866"/>
                  <a:pt x="2152263" y="269501"/>
                </a:cubicBezTo>
                <a:cubicBezTo>
                  <a:pt x="2143849" y="266135"/>
                  <a:pt x="2133416" y="264452"/>
                  <a:pt x="2120964" y="264452"/>
                </a:cubicBezTo>
                <a:cubicBezTo>
                  <a:pt x="2111204" y="264452"/>
                  <a:pt x="2103126" y="267313"/>
                  <a:pt x="2096732" y="273034"/>
                </a:cubicBezTo>
                <a:cubicBezTo>
                  <a:pt x="2090338" y="278756"/>
                  <a:pt x="2087140" y="289694"/>
                  <a:pt x="2087140" y="305848"/>
                </a:cubicBezTo>
                <a:lnTo>
                  <a:pt x="2087140" y="563309"/>
                </a:lnTo>
                <a:close/>
                <a:moveTo>
                  <a:pt x="1607052" y="565833"/>
                </a:moveTo>
                <a:cubicBezTo>
                  <a:pt x="1594263" y="565833"/>
                  <a:pt x="1581811" y="564234"/>
                  <a:pt x="1569695" y="561037"/>
                </a:cubicBezTo>
                <a:cubicBezTo>
                  <a:pt x="1557579" y="557840"/>
                  <a:pt x="1546810" y="552455"/>
                  <a:pt x="1537386" y="544883"/>
                </a:cubicBezTo>
                <a:cubicBezTo>
                  <a:pt x="1527963" y="537310"/>
                  <a:pt x="1520474" y="527214"/>
                  <a:pt x="1514921" y="514593"/>
                </a:cubicBezTo>
                <a:cubicBezTo>
                  <a:pt x="1509368" y="501973"/>
                  <a:pt x="1506592" y="486071"/>
                  <a:pt x="1506592" y="466887"/>
                </a:cubicBezTo>
                <a:lnTo>
                  <a:pt x="1506592" y="453257"/>
                </a:lnTo>
                <a:lnTo>
                  <a:pt x="1454595" y="453257"/>
                </a:lnTo>
                <a:lnTo>
                  <a:pt x="1454595" y="401765"/>
                </a:lnTo>
                <a:lnTo>
                  <a:pt x="1506592" y="401765"/>
                </a:lnTo>
                <a:lnTo>
                  <a:pt x="1506592" y="215989"/>
                </a:lnTo>
                <a:lnTo>
                  <a:pt x="1569190" y="215989"/>
                </a:lnTo>
                <a:lnTo>
                  <a:pt x="1569190" y="401765"/>
                </a:lnTo>
                <a:lnTo>
                  <a:pt x="1666621" y="401765"/>
                </a:lnTo>
                <a:lnTo>
                  <a:pt x="1666621" y="453257"/>
                </a:lnTo>
                <a:lnTo>
                  <a:pt x="1569190" y="453257"/>
                </a:lnTo>
                <a:lnTo>
                  <a:pt x="1569190" y="465878"/>
                </a:lnTo>
                <a:cubicBezTo>
                  <a:pt x="1569190" y="475974"/>
                  <a:pt x="1570368" y="484135"/>
                  <a:pt x="1572724" y="490362"/>
                </a:cubicBezTo>
                <a:cubicBezTo>
                  <a:pt x="1575080" y="496588"/>
                  <a:pt x="1578193" y="501384"/>
                  <a:pt x="1582063" y="504749"/>
                </a:cubicBezTo>
                <a:cubicBezTo>
                  <a:pt x="1585933" y="508115"/>
                  <a:pt x="1590477" y="510302"/>
                  <a:pt x="1595693" y="511312"/>
                </a:cubicBezTo>
                <a:cubicBezTo>
                  <a:pt x="1600910" y="512322"/>
                  <a:pt x="1606379" y="512826"/>
                  <a:pt x="1612100" y="512826"/>
                </a:cubicBezTo>
                <a:cubicBezTo>
                  <a:pt x="1622533" y="512826"/>
                  <a:pt x="1633555" y="511396"/>
                  <a:pt x="1645166" y="508535"/>
                </a:cubicBezTo>
                <a:cubicBezTo>
                  <a:pt x="1656777" y="505675"/>
                  <a:pt x="1666453" y="502898"/>
                  <a:pt x="1674194" y="500206"/>
                </a:cubicBezTo>
                <a:lnTo>
                  <a:pt x="1684795" y="550688"/>
                </a:lnTo>
                <a:cubicBezTo>
                  <a:pt x="1673689" y="556073"/>
                  <a:pt x="1661236" y="559943"/>
                  <a:pt x="1647438" y="562299"/>
                </a:cubicBezTo>
                <a:cubicBezTo>
                  <a:pt x="1633639" y="564655"/>
                  <a:pt x="1620178" y="565833"/>
                  <a:pt x="1607052" y="565833"/>
                </a:cubicBezTo>
                <a:close/>
                <a:moveTo>
                  <a:pt x="0" y="796029"/>
                </a:moveTo>
                <a:lnTo>
                  <a:pt x="4876802" y="796029"/>
                </a:lnTo>
                <a:lnTo>
                  <a:pt x="4824822" y="344498"/>
                </a:lnTo>
                <a:cubicBezTo>
                  <a:pt x="4801968" y="145891"/>
                  <a:pt x="4682292" y="207"/>
                  <a:pt x="4541980" y="155"/>
                </a:cubicBezTo>
                <a:lnTo>
                  <a:pt x="0" y="0"/>
                </a:lnTo>
                <a:close/>
              </a:path>
            </a:pathLst>
          </a:custGeom>
          <a:solidFill>
            <a:schemeClr val="bg1"/>
          </a:solidFill>
          <a:ln w="2834" cap="flat">
            <a:noFill/>
            <a:prstDash val="solid"/>
            <a:miter/>
          </a:ln>
        </p:spPr>
        <p:txBody>
          <a:bodyPr wrap="square" rtlCol="0" anchor="ctr">
            <a:noAutofit/>
          </a:bodyPr>
          <a:lstStyle/>
          <a:p>
            <a:endParaRPr lang="en-US"/>
          </a:p>
        </p:txBody>
      </p:sp>
    </p:spTree>
    <p:extLst>
      <p:ext uri="{BB962C8B-B14F-4D97-AF65-F5344CB8AC3E}">
        <p14:creationId xmlns:p14="http://schemas.microsoft.com/office/powerpoint/2010/main" val="9173956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9_Title and Content">
    <p:spTree>
      <p:nvGrpSpPr>
        <p:cNvPr id="1" name=""/>
        <p:cNvGrpSpPr/>
        <p:nvPr/>
      </p:nvGrpSpPr>
      <p:grpSpPr>
        <a:xfrm>
          <a:off x="0" y="0"/>
          <a:ext cx="0" cy="0"/>
          <a:chOff x="0" y="0"/>
          <a:chExt cx="0" cy="0"/>
        </a:xfrm>
      </p:grpSpPr>
      <p:sp>
        <p:nvSpPr>
          <p:cNvPr id="3" name="Rectángulo 2">
            <a:extLst>
              <a:ext uri="{FF2B5EF4-FFF2-40B4-BE49-F238E27FC236}">
                <a16:creationId xmlns:a16="http://schemas.microsoft.com/office/drawing/2014/main" id="{A2C66AAD-EF42-716E-9171-A8D552B03261}"/>
              </a:ext>
            </a:extLst>
          </p:cNvPr>
          <p:cNvSpPr/>
          <p:nvPr userDrawn="1"/>
        </p:nvSpPr>
        <p:spPr>
          <a:xfrm>
            <a:off x="6165850" y="0"/>
            <a:ext cx="13938250" cy="113284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 name="Holder 2"/>
          <p:cNvSpPr>
            <a:spLocks noGrp="1"/>
          </p:cNvSpPr>
          <p:nvPr>
            <p:ph type="title"/>
          </p:nvPr>
        </p:nvSpPr>
        <p:spPr/>
        <p:txBody>
          <a:bodyPr lIns="0" tIns="0" rIns="0" bIns="0"/>
          <a:lstStyle>
            <a:lvl1pPr>
              <a:defRPr sz="4900" b="0" i="0">
                <a:solidFill>
                  <a:srgbClr val="2B0A3D"/>
                </a:solidFill>
                <a:latin typeface="Ubuntu Light"/>
                <a:cs typeface="Ubuntu Light"/>
              </a:defRPr>
            </a:lvl1pPr>
          </a:lstStyle>
          <a:p>
            <a:endParaRPr/>
          </a:p>
        </p:txBody>
      </p:sp>
      <p:sp>
        <p:nvSpPr>
          <p:cNvPr id="4" name="Holder 4"/>
          <p:cNvSpPr>
            <a:spLocks noGrp="1"/>
          </p:cNvSpPr>
          <p:nvPr>
            <p:ph type="ftr" sz="quarter" idx="5"/>
          </p:nvPr>
        </p:nvSpPr>
        <p:spPr>
          <a:xfrm>
            <a:off x="16647741" y="10759212"/>
            <a:ext cx="2962677" cy="200055"/>
          </a:xfrm>
          <a:prstGeom prst="rect">
            <a:avLst/>
          </a:prstGeom>
        </p:spPr>
        <p:txBody>
          <a:bodyPr lIns="0" tIns="0" rIns="0" bIns="0"/>
          <a:lstStyle>
            <a:lvl1pPr>
              <a:defRPr sz="1300" b="0" i="0">
                <a:solidFill>
                  <a:srgbClr val="808080"/>
                </a:solidFill>
                <a:latin typeface="Ubuntu Light"/>
                <a:cs typeface="Ubuntu Light"/>
              </a:defRPr>
            </a:lvl1pPr>
          </a:lstStyle>
          <a:p>
            <a:pPr marL="26034">
              <a:lnSpc>
                <a:spcPct val="100000"/>
              </a:lnSpc>
              <a:spcBef>
                <a:spcPts val="30"/>
              </a:spcBef>
            </a:pPr>
            <a:r>
              <a:rPr>
                <a:solidFill>
                  <a:srgbClr val="666666"/>
                </a:solidFill>
              </a:rPr>
              <a:t>Public</a:t>
            </a:r>
            <a:r>
              <a:rPr spc="-40">
                <a:solidFill>
                  <a:srgbClr val="666666"/>
                </a:solidFill>
              </a:rPr>
              <a:t> </a:t>
            </a:r>
            <a:r>
              <a:rPr>
                <a:solidFill>
                  <a:srgbClr val="666666"/>
                </a:solidFill>
              </a:rPr>
              <a:t>©</a:t>
            </a:r>
            <a:r>
              <a:rPr spc="-40">
                <a:solidFill>
                  <a:srgbClr val="666666"/>
                </a:solidFill>
              </a:rPr>
              <a:t> </a:t>
            </a:r>
            <a:r>
              <a:rPr>
                <a:solidFill>
                  <a:srgbClr val="666666"/>
                </a:solidFill>
              </a:rPr>
              <a:t>202</a:t>
            </a:r>
            <a:r>
              <a:rPr lang="es-ES">
                <a:solidFill>
                  <a:srgbClr val="666666"/>
                </a:solidFill>
              </a:rPr>
              <a:t>3</a:t>
            </a:r>
            <a:r>
              <a:rPr spc="-40">
                <a:solidFill>
                  <a:srgbClr val="666666"/>
                </a:solidFill>
              </a:rPr>
              <a:t> </a:t>
            </a:r>
            <a:r>
              <a:rPr spc="-10">
                <a:solidFill>
                  <a:srgbClr val="666666"/>
                </a:solidFill>
              </a:rPr>
              <a:t>Sogeti.</a:t>
            </a:r>
            <a:r>
              <a:rPr spc="-35">
                <a:solidFill>
                  <a:srgbClr val="666666"/>
                </a:solidFill>
              </a:rPr>
              <a:t> </a:t>
            </a:r>
            <a:r>
              <a:rPr>
                <a:solidFill>
                  <a:srgbClr val="666666"/>
                </a:solidFill>
              </a:rPr>
              <a:t>All</a:t>
            </a:r>
            <a:r>
              <a:rPr spc="-40">
                <a:solidFill>
                  <a:srgbClr val="666666"/>
                </a:solidFill>
              </a:rPr>
              <a:t> </a:t>
            </a:r>
            <a:r>
              <a:rPr>
                <a:solidFill>
                  <a:srgbClr val="666666"/>
                </a:solidFill>
              </a:rPr>
              <a:t>rights</a:t>
            </a:r>
            <a:r>
              <a:rPr spc="-40">
                <a:solidFill>
                  <a:srgbClr val="666666"/>
                </a:solidFill>
              </a:rPr>
              <a:t> </a:t>
            </a:r>
            <a:r>
              <a:rPr spc="-10">
                <a:solidFill>
                  <a:srgbClr val="666666"/>
                </a:solidFill>
              </a:rPr>
              <a:t>reserved</a:t>
            </a:r>
          </a:p>
        </p:txBody>
      </p:sp>
      <p:pic>
        <p:nvPicPr>
          <p:cNvPr id="5" name="Imagen 4" descr="Un dibujo de una cara feliz&#10;&#10;Descripción generada automáticamente con confianza baja">
            <a:extLst>
              <a:ext uri="{FF2B5EF4-FFF2-40B4-BE49-F238E27FC236}">
                <a16:creationId xmlns:a16="http://schemas.microsoft.com/office/drawing/2014/main" id="{0970D80F-4793-EBAF-C1AA-58B1A458F35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7824450" y="406400"/>
            <a:ext cx="1801936" cy="934010"/>
          </a:xfrm>
          <a:prstGeom prst="rect">
            <a:avLst/>
          </a:prstGeom>
        </p:spPr>
      </p:pic>
    </p:spTree>
    <p:extLst>
      <p:ext uri="{BB962C8B-B14F-4D97-AF65-F5344CB8AC3E}">
        <p14:creationId xmlns:p14="http://schemas.microsoft.com/office/powerpoint/2010/main" val="204805750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 content - blue back">
    <p:bg>
      <p:bgPr>
        <a:solidFill>
          <a:srgbClr val="12ABDB"/>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2618" y="2624"/>
          <a:ext cx="2617" cy="2621"/>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18" y="2624"/>
                        <a:ext cx="2617" cy="262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672755" y="416267"/>
            <a:ext cx="18773160" cy="1486667"/>
          </a:xfrm>
        </p:spPr>
        <p:txBody>
          <a:bodyPr vert="horz" lIns="0" tIns="0" rIns="0" bIns="0" rtlCol="0" anchor="ctr" anchorCtr="0">
            <a:noAutofit/>
          </a:bodyPr>
          <a:lstStyle>
            <a:lvl1pPr>
              <a:defRPr lang="en-GB" sz="4947" dirty="0">
                <a:solidFill>
                  <a:schemeClr val="bg1"/>
                </a:solidFill>
                <a:latin typeface="Ubuntu" panose="020B0504030602030204" pitchFamily="34" charset="0"/>
              </a:defRPr>
            </a:lvl1pPr>
          </a:lstStyle>
          <a:p>
            <a:pPr marL="0" lvl="0"/>
            <a:r>
              <a:rPr lang="en-US"/>
              <a:t>Click to edit Master title style</a:t>
            </a:r>
            <a:endParaRPr lang="en-GB"/>
          </a:p>
        </p:txBody>
      </p:sp>
      <p:sp>
        <p:nvSpPr>
          <p:cNvPr id="4" name="Retângulo 43">
            <a:extLst>
              <a:ext uri="{FF2B5EF4-FFF2-40B4-BE49-F238E27FC236}">
                <a16:creationId xmlns:a16="http://schemas.microsoft.com/office/drawing/2014/main" id="{FD297B69-E868-4B9A-AF44-CDF0A9819A86}"/>
              </a:ext>
            </a:extLst>
          </p:cNvPr>
          <p:cNvSpPr/>
          <p:nvPr userDrawn="1"/>
        </p:nvSpPr>
        <p:spPr>
          <a:xfrm>
            <a:off x="9828533" y="10829142"/>
            <a:ext cx="482824" cy="295337"/>
          </a:xfrm>
          <a:prstGeom prst="rect">
            <a:avLst/>
          </a:prstGeom>
        </p:spPr>
        <p:txBody>
          <a:bodyPr wrap="none">
            <a:spAutoFit/>
          </a:bodyPr>
          <a:lstStyle/>
          <a:p>
            <a:pPr algn="r"/>
            <a:fld id="{0502E5A9-B53C-401E-A0E0-4A359BB0A9E5}" type="slidenum">
              <a:rPr lang="en-US" sz="1319" smtClean="0">
                <a:solidFill>
                  <a:schemeClr val="bg1">
                    <a:lumMod val="85000"/>
                  </a:schemeClr>
                </a:solidFill>
                <a:latin typeface="Ubuntu" panose="020B0504030602030204" pitchFamily="34" charset="0"/>
                <a:cs typeface="Arial" panose="020B0604020202020204" pitchFamily="34" charset="0"/>
              </a:rPr>
              <a:t>‹#›</a:t>
            </a:fld>
            <a:endParaRPr lang="en-US" sz="1319">
              <a:solidFill>
                <a:schemeClr val="bg1">
                  <a:lumMod val="85000"/>
                </a:schemeClr>
              </a:solidFill>
              <a:latin typeface="Ubuntu" panose="020B0504030602030204" pitchFamily="34" charset="0"/>
              <a:cs typeface="Arial" panose="020B0604020202020204" pitchFamily="34" charset="0"/>
            </a:endParaRPr>
          </a:p>
        </p:txBody>
      </p:sp>
      <p:sp>
        <p:nvSpPr>
          <p:cNvPr id="6" name="Rectangle 27">
            <a:extLst>
              <a:ext uri="{FF2B5EF4-FFF2-40B4-BE49-F238E27FC236}">
                <a16:creationId xmlns:a16="http://schemas.microsoft.com/office/drawing/2014/main" id="{A1B7906D-4E14-47D9-92AC-B09D1C9F144C}"/>
              </a:ext>
            </a:extLst>
          </p:cNvPr>
          <p:cNvSpPr/>
          <p:nvPr userDrawn="1"/>
        </p:nvSpPr>
        <p:spPr>
          <a:xfrm>
            <a:off x="658187" y="10829493"/>
            <a:ext cx="5624345" cy="362509"/>
          </a:xfrm>
          <a:prstGeom prst="rect">
            <a:avLst/>
          </a:prstGeom>
        </p:spPr>
        <p:txBody>
          <a:bodyPr wrap="square" lIns="0" tIns="0" rIns="0" bIns="0" anchor="ctr" anchorCtr="0">
            <a:noAutofit/>
          </a:bodyPr>
          <a:lstStyle/>
          <a:p>
            <a:pPr marL="0" marR="0" lvl="0" indent="0" algn="l" defTabSz="1507846" rtl="0" eaLnBrk="1" fontAlgn="auto" latinLnBrk="0" hangingPunct="1">
              <a:lnSpc>
                <a:spcPct val="100000"/>
              </a:lnSpc>
              <a:spcBef>
                <a:spcPts val="0"/>
              </a:spcBef>
              <a:spcAft>
                <a:spcPts val="0"/>
              </a:spcAft>
              <a:buClrTx/>
              <a:buSzTx/>
              <a:buFontTx/>
              <a:buNone/>
              <a:tabLst/>
              <a:defRPr/>
            </a:pPr>
            <a:r>
              <a:rPr lang="en-US" sz="1319" kern="0">
                <a:solidFill>
                  <a:schemeClr val="bg1">
                    <a:lumMod val="85000"/>
                  </a:schemeClr>
                </a:solidFill>
                <a:latin typeface="Ubuntu" panose="020B0504030602030204" pitchFamily="34" charset="0"/>
                <a:cs typeface="Arial" panose="020B0604020202020204" pitchFamily="34" charset="0"/>
              </a:rPr>
              <a:t>Sogeti Global Overview</a:t>
            </a:r>
            <a:endParaRPr lang="en-GB" sz="1319" kern="0">
              <a:solidFill>
                <a:schemeClr val="bg1">
                  <a:lumMod val="85000"/>
                </a:schemeClr>
              </a:solidFill>
              <a:latin typeface="Ubuntu" panose="020B0504030602030204" pitchFamily="34" charset="0"/>
              <a:cs typeface="Arial" panose="020B0604020202020204" pitchFamily="34" charset="0"/>
            </a:endParaRPr>
          </a:p>
        </p:txBody>
      </p:sp>
      <p:sp>
        <p:nvSpPr>
          <p:cNvPr id="7" name="Rectangle 27">
            <a:extLst>
              <a:ext uri="{FF2B5EF4-FFF2-40B4-BE49-F238E27FC236}">
                <a16:creationId xmlns:a16="http://schemas.microsoft.com/office/drawing/2014/main" id="{0809E1AE-1AEC-49E5-86E2-3B4D9323E740}"/>
              </a:ext>
            </a:extLst>
          </p:cNvPr>
          <p:cNvSpPr/>
          <p:nvPr userDrawn="1"/>
        </p:nvSpPr>
        <p:spPr>
          <a:xfrm>
            <a:off x="13911021" y="10829493"/>
            <a:ext cx="5534894" cy="362509"/>
          </a:xfrm>
          <a:prstGeom prst="rect">
            <a:avLst/>
          </a:prstGeom>
        </p:spPr>
        <p:txBody>
          <a:bodyPr wrap="square" lIns="0" tIns="0" rIns="0" bIns="0" anchor="ctr" anchorCtr="0">
            <a:noAutofit/>
          </a:bodyPr>
          <a:lstStyle/>
          <a:p>
            <a:pPr marL="0" marR="0" lvl="0" indent="0" algn="r" defTabSz="1507846" rtl="0" eaLnBrk="1" fontAlgn="auto" latinLnBrk="0" hangingPunct="1">
              <a:lnSpc>
                <a:spcPct val="100000"/>
              </a:lnSpc>
              <a:spcBef>
                <a:spcPts val="0"/>
              </a:spcBef>
              <a:spcAft>
                <a:spcPts val="0"/>
              </a:spcAft>
              <a:buClrTx/>
              <a:buSzTx/>
              <a:buFontTx/>
              <a:buNone/>
              <a:tabLst/>
              <a:defRPr/>
            </a:pPr>
            <a:r>
              <a:rPr lang="en-US" sz="1319">
                <a:solidFill>
                  <a:schemeClr val="bg1">
                    <a:lumMod val="85000"/>
                  </a:schemeClr>
                </a:solidFill>
                <a:latin typeface="Ubuntu" panose="020B0504030602030204" pitchFamily="34" charset="0"/>
                <a:cs typeface="Arial" panose="020B0604020202020204" pitchFamily="34" charset="0"/>
              </a:rPr>
              <a:t>© 2022 Sogeti. All rights reserved</a:t>
            </a:r>
            <a:endParaRPr lang="en-GB" sz="1319" kern="0">
              <a:solidFill>
                <a:schemeClr val="bg1">
                  <a:lumMod val="85000"/>
                </a:schemeClr>
              </a:solidFill>
              <a:latin typeface="Ubuntu" panose="020B0504030602030204" pitchFamily="34" charset="0"/>
              <a:cs typeface="Arial" panose="020B0604020202020204" pitchFamily="34" charset="0"/>
            </a:endParaRPr>
          </a:p>
        </p:txBody>
      </p:sp>
      <p:sp>
        <p:nvSpPr>
          <p:cNvPr id="8" name="Text Placeholder 3">
            <a:extLst>
              <a:ext uri="{FF2B5EF4-FFF2-40B4-BE49-F238E27FC236}">
                <a16:creationId xmlns:a16="http://schemas.microsoft.com/office/drawing/2014/main" id="{F1399E04-AFF3-4639-8B46-1093AFA90B97}"/>
              </a:ext>
            </a:extLst>
          </p:cNvPr>
          <p:cNvSpPr>
            <a:spLocks noGrp="1"/>
          </p:cNvSpPr>
          <p:nvPr>
            <p:ph type="body" sz="quarter" idx="10"/>
          </p:nvPr>
        </p:nvSpPr>
        <p:spPr>
          <a:xfrm>
            <a:off x="672755" y="2261023"/>
            <a:ext cx="18773160" cy="8055751"/>
          </a:xfrm>
        </p:spPr>
        <p:txBody>
          <a:bodyPr tIns="36000">
            <a:noAutofit/>
          </a:bodyPr>
          <a:lstStyle>
            <a:lvl1pPr>
              <a:defRPr spc="-33" baseline="0">
                <a:solidFill>
                  <a:schemeClr val="bg1"/>
                </a:solidFill>
              </a:defRPr>
            </a:lvl1pPr>
            <a:lvl2pPr>
              <a:defRPr spc="-33" baseline="0">
                <a:solidFill>
                  <a:schemeClr val="bg1"/>
                </a:solidFill>
              </a:defRPr>
            </a:lvl2pPr>
            <a:lvl3pPr>
              <a:defRPr spc="-33" baseline="0">
                <a:solidFill>
                  <a:schemeClr val="bg1"/>
                </a:solidFill>
              </a:defRPr>
            </a:lvl3pPr>
            <a:lvl4pPr>
              <a:defRPr spc="-33" baseline="0">
                <a:solidFill>
                  <a:schemeClr val="bg1"/>
                </a:solidFill>
              </a:defRPr>
            </a:lvl4pPr>
            <a:lvl5pPr marL="1774860" indent="-376961">
              <a:defRPr spc="-33" baseline="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865810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Closing3">
    <p:spTree>
      <p:nvGrpSpPr>
        <p:cNvPr id="1" name=""/>
        <p:cNvGrpSpPr/>
        <p:nvPr/>
      </p:nvGrpSpPr>
      <p:grpSpPr>
        <a:xfrm>
          <a:off x="0" y="0"/>
          <a:ext cx="0" cy="0"/>
          <a:chOff x="0" y="0"/>
          <a:chExt cx="0" cy="0"/>
        </a:xfrm>
      </p:grpSpPr>
      <p:sp>
        <p:nvSpPr>
          <p:cNvPr id="10" name="Freeform 9"/>
          <p:cNvSpPr/>
          <p:nvPr userDrawn="1"/>
        </p:nvSpPr>
        <p:spPr bwMode="ltGray">
          <a:xfrm>
            <a:off x="0" y="0"/>
            <a:ext cx="10052050" cy="9574239"/>
          </a:xfrm>
          <a:custGeom>
            <a:avLst/>
            <a:gdLst>
              <a:gd name="connsiteX0" fmla="*/ 0 w 6096000"/>
              <a:gd name="connsiteY0" fmla="*/ 0 h 5796064"/>
              <a:gd name="connsiteX1" fmla="*/ 6096000 w 6096000"/>
              <a:gd name="connsiteY1" fmla="*/ 0 h 5796064"/>
              <a:gd name="connsiteX2" fmla="*/ 6096000 w 6096000"/>
              <a:gd name="connsiteY2" fmla="*/ 133757 h 5796064"/>
              <a:gd name="connsiteX3" fmla="*/ 6096000 w 6096000"/>
              <a:gd name="connsiteY3" fmla="*/ 4034055 h 5796064"/>
              <a:gd name="connsiteX4" fmla="*/ 0 w 6096000"/>
              <a:gd name="connsiteY4" fmla="*/ 5309105 h 5796064"/>
              <a:gd name="connsiteX5" fmla="*/ 0 w 6096000"/>
              <a:gd name="connsiteY5" fmla="*/ 8972 h 5796064"/>
              <a:gd name="connsiteX6" fmla="*/ 0 w 6096000"/>
              <a:gd name="connsiteY6" fmla="*/ 0 h 579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0" h="5796064">
                <a:moveTo>
                  <a:pt x="0" y="0"/>
                </a:moveTo>
                <a:lnTo>
                  <a:pt x="6096000" y="0"/>
                </a:lnTo>
                <a:lnTo>
                  <a:pt x="6096000" y="133757"/>
                </a:lnTo>
                <a:cubicBezTo>
                  <a:pt x="6096000" y="1105896"/>
                  <a:pt x="6096000" y="2375629"/>
                  <a:pt x="6096000" y="4034055"/>
                </a:cubicBezTo>
                <a:cubicBezTo>
                  <a:pt x="6096000" y="6848354"/>
                  <a:pt x="721895" y="5492896"/>
                  <a:pt x="0" y="5309105"/>
                </a:cubicBezTo>
                <a:cubicBezTo>
                  <a:pt x="0" y="5309105"/>
                  <a:pt x="0" y="5309105"/>
                  <a:pt x="0" y="8972"/>
                </a:cubicBezTo>
                <a:lnTo>
                  <a:pt x="0" y="0"/>
                </a:ln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09">
              <a:solidFill>
                <a:schemeClr val="tx1"/>
              </a:solidFill>
            </a:endParaRPr>
          </a:p>
        </p:txBody>
      </p:sp>
      <p:sp>
        <p:nvSpPr>
          <p:cNvPr id="23" name="Rectangle 22"/>
          <p:cNvSpPr/>
          <p:nvPr userDrawn="1"/>
        </p:nvSpPr>
        <p:spPr bwMode="white">
          <a:xfrm>
            <a:off x="693431" y="7261222"/>
            <a:ext cx="6594305" cy="1068498"/>
          </a:xfrm>
          <a:prstGeom prst="rect">
            <a:avLst/>
          </a:prstGeom>
        </p:spPr>
        <p:txBody>
          <a:bodyPr wrap="square" lIns="0" tIns="0" rIns="0" bIns="0" anchor="b" anchorCtr="0">
            <a:spAutoFit/>
          </a:bodyPr>
          <a:lstStyle/>
          <a:p>
            <a:pPr algn="l">
              <a:spcAft>
                <a:spcPts val="989"/>
              </a:spcAft>
            </a:pPr>
            <a:r>
              <a:rPr lang="en-US" sz="1319" noProof="0" dirty="0">
                <a:solidFill>
                  <a:schemeClr val="bg1"/>
                </a:solidFill>
                <a:latin typeface="Ubuntu" panose="020B0504030602030204" pitchFamily="34" charset="0"/>
                <a:cs typeface="Arial"/>
              </a:rPr>
              <a:t>This message contains information that may be privileged or confidential and is the property of the Capgemini Group.</a:t>
            </a:r>
          </a:p>
          <a:p>
            <a:pPr algn="l">
              <a:spcAft>
                <a:spcPts val="989"/>
              </a:spcAft>
            </a:pPr>
            <a:r>
              <a:rPr lang="en-US" sz="1319" noProof="0" dirty="0">
                <a:solidFill>
                  <a:schemeClr val="bg1"/>
                </a:solidFill>
                <a:latin typeface="Ubuntu" panose="020B0504030602030204" pitchFamily="34" charset="0"/>
                <a:cs typeface="Arial"/>
              </a:rPr>
              <a:t>Copyright</a:t>
            </a:r>
            <a:r>
              <a:rPr lang="en-US" sz="1319" baseline="30000" noProof="0" dirty="0">
                <a:solidFill>
                  <a:schemeClr val="bg1"/>
                </a:solidFill>
                <a:latin typeface="Ubuntu" panose="020B0504030602030204" pitchFamily="34" charset="0"/>
                <a:cs typeface="Arial"/>
              </a:rPr>
              <a:t>©</a:t>
            </a:r>
            <a:r>
              <a:rPr lang="en-US" sz="1319" noProof="0" dirty="0">
                <a:solidFill>
                  <a:schemeClr val="bg1"/>
                </a:solidFill>
                <a:latin typeface="Ubuntu" panose="020B0504030602030204" pitchFamily="34" charset="0"/>
                <a:cs typeface="Arial"/>
              </a:rPr>
              <a:t> 2023</a:t>
            </a:r>
          </a:p>
          <a:p>
            <a:pPr algn="l">
              <a:spcAft>
                <a:spcPts val="989"/>
              </a:spcAft>
            </a:pPr>
            <a:r>
              <a:rPr lang="en-US" sz="1319" noProof="0" dirty="0">
                <a:solidFill>
                  <a:schemeClr val="bg1"/>
                </a:solidFill>
                <a:latin typeface="Ubuntu" panose="020B0504030602030204" pitchFamily="34" charset="0"/>
                <a:cs typeface="Arial"/>
              </a:rPr>
              <a:t> Sogeti. All rights reserved.</a:t>
            </a:r>
          </a:p>
        </p:txBody>
      </p:sp>
      <p:pic>
        <p:nvPicPr>
          <p:cNvPr id="9" name="Picture 2" descr="D:\My Work\Template\Icons\Social Media\LinkedIN.png">
            <a:hlinkClick r:id="rId2"/>
            <a:extLst>
              <a:ext uri="{FF2B5EF4-FFF2-40B4-BE49-F238E27FC236}">
                <a16:creationId xmlns:a16="http://schemas.microsoft.com/office/drawing/2014/main" id="{69B0AD73-FA6F-418A-94C3-EED4E25A5325}"/>
              </a:ext>
            </a:extLst>
          </p:cNvPr>
          <p:cNvPicPr>
            <a:picLocks noChangeAspect="1" noChangeArrowheads="1"/>
          </p:cNvPicPr>
          <p:nvPr userDrawn="1"/>
        </p:nvPicPr>
        <p:blipFill>
          <a:blip r:embed="rId3" cstate="print"/>
          <a:srcRect/>
          <a:stretch>
            <a:fillRect/>
          </a:stretch>
        </p:blipFill>
        <p:spPr bwMode="auto">
          <a:xfrm>
            <a:off x="693431" y="6545298"/>
            <a:ext cx="549425" cy="550389"/>
          </a:xfrm>
          <a:prstGeom prst="rect">
            <a:avLst/>
          </a:prstGeom>
          <a:noFill/>
        </p:spPr>
      </p:pic>
      <p:pic>
        <p:nvPicPr>
          <p:cNvPr id="12" name="Picture 5" descr="D:\My Work\Template\Icons\Social Media\Twitter.png">
            <a:hlinkClick r:id="rId4"/>
            <a:extLst>
              <a:ext uri="{FF2B5EF4-FFF2-40B4-BE49-F238E27FC236}">
                <a16:creationId xmlns:a16="http://schemas.microsoft.com/office/drawing/2014/main" id="{CD01C794-85B7-4ED7-A647-3BFD39BDA81E}"/>
              </a:ext>
            </a:extLst>
          </p:cNvPr>
          <p:cNvPicPr>
            <a:picLocks noChangeAspect="1" noChangeArrowheads="1"/>
          </p:cNvPicPr>
          <p:nvPr userDrawn="1"/>
        </p:nvPicPr>
        <p:blipFill>
          <a:blip r:embed="rId5" cstate="print"/>
          <a:srcRect/>
          <a:stretch>
            <a:fillRect/>
          </a:stretch>
        </p:blipFill>
        <p:spPr bwMode="auto">
          <a:xfrm>
            <a:off x="1325602" y="6545298"/>
            <a:ext cx="549425" cy="550389"/>
          </a:xfrm>
          <a:prstGeom prst="rect">
            <a:avLst/>
          </a:prstGeom>
          <a:noFill/>
        </p:spPr>
      </p:pic>
      <p:pic>
        <p:nvPicPr>
          <p:cNvPr id="13" name="Picture 6" descr="D:\My Work\Template\Icons\Social Media\YouTube.png">
            <a:hlinkClick r:id="rId6"/>
            <a:extLst>
              <a:ext uri="{FF2B5EF4-FFF2-40B4-BE49-F238E27FC236}">
                <a16:creationId xmlns:a16="http://schemas.microsoft.com/office/drawing/2014/main" id="{721FA104-A027-4E51-8E5C-6108C26E223D}"/>
              </a:ext>
            </a:extLst>
          </p:cNvPr>
          <p:cNvPicPr>
            <a:picLocks noChangeAspect="1" noChangeArrowheads="1"/>
          </p:cNvPicPr>
          <p:nvPr userDrawn="1"/>
        </p:nvPicPr>
        <p:blipFill>
          <a:blip r:embed="rId7" cstate="print"/>
          <a:srcRect/>
          <a:stretch>
            <a:fillRect/>
          </a:stretch>
        </p:blipFill>
        <p:spPr bwMode="auto">
          <a:xfrm>
            <a:off x="1957773" y="6545298"/>
            <a:ext cx="549425" cy="550389"/>
          </a:xfrm>
          <a:prstGeom prst="rect">
            <a:avLst/>
          </a:prstGeom>
          <a:noFill/>
        </p:spPr>
      </p:pic>
      <p:sp>
        <p:nvSpPr>
          <p:cNvPr id="14" name="Rectangle 13">
            <a:extLst>
              <a:ext uri="{FF2B5EF4-FFF2-40B4-BE49-F238E27FC236}">
                <a16:creationId xmlns:a16="http://schemas.microsoft.com/office/drawing/2014/main" id="{16F70F3E-1B6F-463A-B9AF-F5110998898F}"/>
              </a:ext>
            </a:extLst>
          </p:cNvPr>
          <p:cNvSpPr/>
          <p:nvPr userDrawn="1"/>
        </p:nvSpPr>
        <p:spPr>
          <a:xfrm>
            <a:off x="11071064" y="1507036"/>
            <a:ext cx="7425879" cy="78799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gn="l">
              <a:lnSpc>
                <a:spcPct val="300000"/>
              </a:lnSpc>
            </a:pPr>
            <a:r>
              <a:rPr lang="en-US" sz="3600" dirty="0">
                <a:solidFill>
                  <a:srgbClr val="2B0A3D"/>
                </a:solidFill>
                <a:latin typeface="+mj-lt"/>
              </a:rPr>
              <a:t>About Sogeti</a:t>
            </a:r>
          </a:p>
          <a:p>
            <a:pPr algn="l">
              <a:lnSpc>
                <a:spcPct val="114000"/>
              </a:lnSpc>
            </a:pPr>
            <a:r>
              <a:rPr lang="en-GB" sz="1600" kern="1200" dirty="0">
                <a:solidFill>
                  <a:schemeClr val="bg2">
                    <a:lumMod val="25000"/>
                  </a:schemeClr>
                </a:solidFill>
                <a:effectLst/>
                <a:latin typeface="+mj-lt"/>
                <a:ea typeface="+mn-ea"/>
                <a:cs typeface="+mn-cs"/>
              </a:rPr>
              <a:t>Part of the Capgemini Group, Sogeti makes business value through technology for organizations that need to implement innovation at speed and want a local partner with global scale. With a hands-on culture and close proximity to its clients, Sogeti implements solutions that will help organizations work faster, better, and smarter. By combining its agility and speed of implementation through a DevOps approach, Sogeti delivers innovative solutions in quality engineering, cloud and application development, all driven by AI, data and automation.</a:t>
            </a:r>
          </a:p>
          <a:p>
            <a:pPr algn="l">
              <a:lnSpc>
                <a:spcPct val="114000"/>
              </a:lnSpc>
            </a:pPr>
            <a:endParaRPr lang="en-GB" sz="1600" kern="1200" dirty="0">
              <a:solidFill>
                <a:schemeClr val="bg2">
                  <a:lumMod val="25000"/>
                </a:schemeClr>
              </a:solidFill>
              <a:effectLst/>
              <a:latin typeface="+mj-lt"/>
              <a:ea typeface="+mn-ea"/>
              <a:cs typeface="+mn-cs"/>
            </a:endParaRPr>
          </a:p>
          <a:p>
            <a:pPr algn="l">
              <a:lnSpc>
                <a:spcPct val="114000"/>
              </a:lnSpc>
            </a:pPr>
            <a:r>
              <a:rPr lang="en-GB" sz="1600" kern="1200" dirty="0">
                <a:solidFill>
                  <a:schemeClr val="bg2">
                    <a:lumMod val="25000"/>
                  </a:schemeClr>
                </a:solidFill>
                <a:effectLst/>
                <a:latin typeface="+mj-lt"/>
                <a:ea typeface="+mn-ea"/>
                <a:cs typeface="+mn-cs"/>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360,000 team members in more than 50 countries. With its strong 55-year heritage and deep industry expertise, Capgemini is trusted by its clients to address the entire breadth of their business needs, from strategy and design to operations, </a:t>
            </a:r>
            <a:r>
              <a:rPr lang="en-GB" sz="1600" kern="1200" dirty="0" err="1">
                <a:solidFill>
                  <a:schemeClr val="bg2">
                    <a:lumMod val="25000"/>
                  </a:schemeClr>
                </a:solidFill>
                <a:effectLst/>
                <a:latin typeface="+mj-lt"/>
                <a:ea typeface="+mn-ea"/>
                <a:cs typeface="+mn-cs"/>
              </a:rPr>
              <a:t>fueled</a:t>
            </a:r>
            <a:r>
              <a:rPr lang="en-GB" sz="1600" kern="1200" dirty="0">
                <a:solidFill>
                  <a:schemeClr val="bg2">
                    <a:lumMod val="25000"/>
                  </a:schemeClr>
                </a:solidFill>
                <a:effectLst/>
                <a:latin typeface="+mj-lt"/>
                <a:ea typeface="+mn-ea"/>
                <a:cs typeface="+mn-cs"/>
              </a:rPr>
              <a:t> by the fast evolving and innovative world of cloud, data, AI, connectivity, software, digital engineering, and platforms. The Group reported in 2022 global revenues of €22 billion. Get the Future You Want </a:t>
            </a:r>
          </a:p>
          <a:p>
            <a:pPr algn="l"/>
            <a:endParaRPr lang="fr-FR" sz="1600" kern="1200" dirty="0">
              <a:solidFill>
                <a:schemeClr val="bg2">
                  <a:lumMod val="25000"/>
                </a:schemeClr>
              </a:solidFill>
              <a:effectLst/>
              <a:latin typeface="+mj-lt"/>
              <a:ea typeface="+mn-ea"/>
              <a:cs typeface="+mn-cs"/>
            </a:endParaRPr>
          </a:p>
          <a:p>
            <a:pPr algn="l">
              <a:lnSpc>
                <a:spcPct val="100000"/>
              </a:lnSpc>
              <a:spcAft>
                <a:spcPts val="400"/>
              </a:spcAft>
            </a:pPr>
            <a:r>
              <a:rPr lang="en-US" sz="1600" dirty="0">
                <a:solidFill>
                  <a:schemeClr val="bg2">
                    <a:lumMod val="25000"/>
                  </a:schemeClr>
                </a:solidFill>
                <a:latin typeface="+mj-lt"/>
              </a:rPr>
              <a:t>Visit us at</a:t>
            </a:r>
            <a:br>
              <a:rPr lang="en-US" sz="1600" dirty="0">
                <a:solidFill>
                  <a:schemeClr val="bg2">
                    <a:lumMod val="25000"/>
                  </a:schemeClr>
                </a:solidFill>
                <a:latin typeface="+mj-lt"/>
              </a:rPr>
            </a:br>
            <a:r>
              <a:rPr lang="en-US" sz="2000" dirty="0">
                <a:solidFill>
                  <a:schemeClr val="bg2">
                    <a:lumMod val="25000"/>
                  </a:schemeClr>
                </a:solidFill>
                <a:latin typeface="+mj-lt"/>
                <a:hlinkClick r:id="rId8"/>
              </a:rPr>
              <a:t>www.sogeti.com</a:t>
            </a:r>
            <a:endParaRPr lang="en-US" sz="2000" dirty="0">
              <a:solidFill>
                <a:schemeClr val="bg2">
                  <a:lumMod val="25000"/>
                </a:schemeClr>
              </a:solidFill>
              <a:latin typeface="+mj-lt"/>
            </a:endParaRPr>
          </a:p>
          <a:p>
            <a:endParaRPr lang="en-GB" sz="1731" kern="1200" dirty="0">
              <a:solidFill>
                <a:schemeClr val="tx1"/>
              </a:solidFill>
              <a:effectLst/>
              <a:latin typeface="Ubuntu Light" panose="020B0304030602030204" pitchFamily="34" charset="0"/>
              <a:ea typeface="+mn-ea"/>
              <a:cs typeface="+mn-cs"/>
            </a:endParaRPr>
          </a:p>
          <a:p>
            <a:endParaRPr lang="en-GB" sz="1731" kern="1200" dirty="0">
              <a:solidFill>
                <a:schemeClr val="tx1"/>
              </a:solidFill>
              <a:effectLst/>
              <a:latin typeface="Ubuntu Light" panose="020B0304030602030204" pitchFamily="34" charset="0"/>
              <a:ea typeface="+mn-ea"/>
              <a:cs typeface="+mn-cs"/>
            </a:endParaRPr>
          </a:p>
        </p:txBody>
      </p:sp>
    </p:spTree>
    <p:extLst>
      <p:ext uri="{BB962C8B-B14F-4D97-AF65-F5344CB8AC3E}">
        <p14:creationId xmlns:p14="http://schemas.microsoft.com/office/powerpoint/2010/main" val="27058426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Closing3">
    <p:spTree>
      <p:nvGrpSpPr>
        <p:cNvPr id="1" name=""/>
        <p:cNvGrpSpPr/>
        <p:nvPr/>
      </p:nvGrpSpPr>
      <p:grpSpPr>
        <a:xfrm>
          <a:off x="0" y="0"/>
          <a:ext cx="0" cy="0"/>
          <a:chOff x="0" y="0"/>
          <a:chExt cx="0" cy="0"/>
        </a:xfrm>
      </p:grpSpPr>
      <p:sp>
        <p:nvSpPr>
          <p:cNvPr id="10" name="Freeform 9"/>
          <p:cNvSpPr/>
          <p:nvPr userDrawn="1"/>
        </p:nvSpPr>
        <p:spPr>
          <a:xfrm>
            <a:off x="0" y="0"/>
            <a:ext cx="10052050" cy="9574239"/>
          </a:xfrm>
          <a:custGeom>
            <a:avLst/>
            <a:gdLst>
              <a:gd name="connsiteX0" fmla="*/ 0 w 6096000"/>
              <a:gd name="connsiteY0" fmla="*/ 0 h 5796064"/>
              <a:gd name="connsiteX1" fmla="*/ 6096000 w 6096000"/>
              <a:gd name="connsiteY1" fmla="*/ 0 h 5796064"/>
              <a:gd name="connsiteX2" fmla="*/ 6096000 w 6096000"/>
              <a:gd name="connsiteY2" fmla="*/ 133757 h 5796064"/>
              <a:gd name="connsiteX3" fmla="*/ 6096000 w 6096000"/>
              <a:gd name="connsiteY3" fmla="*/ 4034055 h 5796064"/>
              <a:gd name="connsiteX4" fmla="*/ 0 w 6096000"/>
              <a:gd name="connsiteY4" fmla="*/ 5309105 h 5796064"/>
              <a:gd name="connsiteX5" fmla="*/ 0 w 6096000"/>
              <a:gd name="connsiteY5" fmla="*/ 8972 h 5796064"/>
              <a:gd name="connsiteX6" fmla="*/ 0 w 6096000"/>
              <a:gd name="connsiteY6" fmla="*/ 0 h 579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0" h="5796064">
                <a:moveTo>
                  <a:pt x="0" y="0"/>
                </a:moveTo>
                <a:lnTo>
                  <a:pt x="6096000" y="0"/>
                </a:lnTo>
                <a:lnTo>
                  <a:pt x="6096000" y="133757"/>
                </a:lnTo>
                <a:cubicBezTo>
                  <a:pt x="6096000" y="1105896"/>
                  <a:pt x="6096000" y="2375629"/>
                  <a:pt x="6096000" y="4034055"/>
                </a:cubicBezTo>
                <a:cubicBezTo>
                  <a:pt x="6096000" y="6848354"/>
                  <a:pt x="721895" y="5492896"/>
                  <a:pt x="0" y="5309105"/>
                </a:cubicBezTo>
                <a:cubicBezTo>
                  <a:pt x="0" y="5309105"/>
                  <a:pt x="0" y="5309105"/>
                  <a:pt x="0" y="8972"/>
                </a:cubicBezTo>
                <a:lnTo>
                  <a:pt x="0" y="0"/>
                </a:ln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09" dirty="0">
              <a:solidFill>
                <a:schemeClr val="tx1"/>
              </a:solidFill>
            </a:endParaRPr>
          </a:p>
        </p:txBody>
      </p:sp>
      <p:sp>
        <p:nvSpPr>
          <p:cNvPr id="23" name="Rectangle 22"/>
          <p:cNvSpPr/>
          <p:nvPr userDrawn="1"/>
        </p:nvSpPr>
        <p:spPr>
          <a:xfrm>
            <a:off x="693431" y="7592467"/>
            <a:ext cx="6594305" cy="737253"/>
          </a:xfrm>
          <a:prstGeom prst="rect">
            <a:avLst/>
          </a:prstGeom>
        </p:spPr>
        <p:txBody>
          <a:bodyPr wrap="square" lIns="0" tIns="0" rIns="0" bIns="0" anchor="b" anchorCtr="0">
            <a:spAutoFit/>
          </a:bodyPr>
          <a:lstStyle/>
          <a:p>
            <a:pPr algn="l">
              <a:spcAft>
                <a:spcPts val="989"/>
              </a:spcAft>
            </a:pPr>
            <a:r>
              <a:rPr lang="en-US" sz="1319" noProof="0" dirty="0">
                <a:solidFill>
                  <a:schemeClr val="bg1"/>
                </a:solidFill>
                <a:latin typeface="+mn-lt"/>
                <a:cs typeface="Arial"/>
              </a:rPr>
              <a:t>This message contains information that may be privileged or confidential and is the property of the Capgemini Group.</a:t>
            </a:r>
          </a:p>
          <a:p>
            <a:pPr algn="l">
              <a:spcAft>
                <a:spcPts val="989"/>
              </a:spcAft>
            </a:pPr>
            <a:r>
              <a:rPr lang="en-US" sz="1319" noProof="0" dirty="0">
                <a:solidFill>
                  <a:schemeClr val="bg1"/>
                </a:solidFill>
                <a:latin typeface="+mn-lt"/>
                <a:cs typeface="Arial"/>
              </a:rPr>
              <a:t>Copyright</a:t>
            </a:r>
            <a:r>
              <a:rPr lang="en-US" sz="1319" baseline="0" noProof="0" dirty="0">
                <a:solidFill>
                  <a:schemeClr val="bg1"/>
                </a:solidFill>
                <a:latin typeface="+mn-lt"/>
                <a:cs typeface="Arial"/>
              </a:rPr>
              <a:t>©</a:t>
            </a:r>
            <a:r>
              <a:rPr lang="en-US" sz="1319" noProof="0" dirty="0">
                <a:solidFill>
                  <a:schemeClr val="bg1"/>
                </a:solidFill>
                <a:latin typeface="+mn-lt"/>
                <a:cs typeface="Arial"/>
              </a:rPr>
              <a:t> 2023 Sogeti. All rights reserved.</a:t>
            </a:r>
          </a:p>
        </p:txBody>
      </p:sp>
      <p:pic>
        <p:nvPicPr>
          <p:cNvPr id="9" name="Picture 2" descr="D:\My Work\Template\Icons\Social Media\LinkedIN.png">
            <a:hlinkClick r:id="rId2"/>
            <a:extLst>
              <a:ext uri="{FF2B5EF4-FFF2-40B4-BE49-F238E27FC236}">
                <a16:creationId xmlns:a16="http://schemas.microsoft.com/office/drawing/2014/main" id="{69B0AD73-FA6F-418A-94C3-EED4E25A5325}"/>
              </a:ext>
            </a:extLst>
          </p:cNvPr>
          <p:cNvPicPr>
            <a:picLocks noChangeAspect="1" noChangeArrowheads="1"/>
          </p:cNvPicPr>
          <p:nvPr userDrawn="1"/>
        </p:nvPicPr>
        <p:blipFill>
          <a:blip r:embed="rId3" cstate="print"/>
          <a:srcRect/>
          <a:stretch>
            <a:fillRect/>
          </a:stretch>
        </p:blipFill>
        <p:spPr bwMode="auto">
          <a:xfrm>
            <a:off x="693431" y="6545298"/>
            <a:ext cx="549425" cy="550389"/>
          </a:xfrm>
          <a:prstGeom prst="rect">
            <a:avLst/>
          </a:prstGeom>
          <a:noFill/>
        </p:spPr>
      </p:pic>
      <p:pic>
        <p:nvPicPr>
          <p:cNvPr id="12" name="Picture 5" descr="D:\My Work\Template\Icons\Social Media\Twitter.png">
            <a:hlinkClick r:id="rId4"/>
            <a:extLst>
              <a:ext uri="{FF2B5EF4-FFF2-40B4-BE49-F238E27FC236}">
                <a16:creationId xmlns:a16="http://schemas.microsoft.com/office/drawing/2014/main" id="{CD01C794-85B7-4ED7-A647-3BFD39BDA81E}"/>
              </a:ext>
            </a:extLst>
          </p:cNvPr>
          <p:cNvPicPr>
            <a:picLocks noChangeAspect="1" noChangeArrowheads="1"/>
          </p:cNvPicPr>
          <p:nvPr userDrawn="1"/>
        </p:nvPicPr>
        <p:blipFill>
          <a:blip r:embed="rId5" cstate="print"/>
          <a:srcRect/>
          <a:stretch>
            <a:fillRect/>
          </a:stretch>
        </p:blipFill>
        <p:spPr bwMode="auto">
          <a:xfrm>
            <a:off x="1325602" y="6545298"/>
            <a:ext cx="549425" cy="550389"/>
          </a:xfrm>
          <a:prstGeom prst="rect">
            <a:avLst/>
          </a:prstGeom>
          <a:noFill/>
        </p:spPr>
      </p:pic>
      <p:pic>
        <p:nvPicPr>
          <p:cNvPr id="13" name="Picture 6" descr="D:\My Work\Template\Icons\Social Media\YouTube.png">
            <a:hlinkClick r:id="rId6"/>
            <a:extLst>
              <a:ext uri="{FF2B5EF4-FFF2-40B4-BE49-F238E27FC236}">
                <a16:creationId xmlns:a16="http://schemas.microsoft.com/office/drawing/2014/main" id="{721FA104-A027-4E51-8E5C-6108C26E223D}"/>
              </a:ext>
            </a:extLst>
          </p:cNvPr>
          <p:cNvPicPr>
            <a:picLocks noChangeAspect="1" noChangeArrowheads="1"/>
          </p:cNvPicPr>
          <p:nvPr userDrawn="1"/>
        </p:nvPicPr>
        <p:blipFill>
          <a:blip r:embed="rId7" cstate="print"/>
          <a:srcRect/>
          <a:stretch>
            <a:fillRect/>
          </a:stretch>
        </p:blipFill>
        <p:spPr bwMode="auto">
          <a:xfrm>
            <a:off x="1957773" y="6545298"/>
            <a:ext cx="549425" cy="550389"/>
          </a:xfrm>
          <a:prstGeom prst="rect">
            <a:avLst/>
          </a:prstGeom>
          <a:noFill/>
        </p:spPr>
      </p:pic>
      <p:sp>
        <p:nvSpPr>
          <p:cNvPr id="14" name="Rectangle 13">
            <a:extLst>
              <a:ext uri="{FF2B5EF4-FFF2-40B4-BE49-F238E27FC236}">
                <a16:creationId xmlns:a16="http://schemas.microsoft.com/office/drawing/2014/main" id="{10016E2A-610F-4661-8795-E516510B198E}"/>
              </a:ext>
            </a:extLst>
          </p:cNvPr>
          <p:cNvSpPr/>
          <p:nvPr userDrawn="1"/>
        </p:nvSpPr>
        <p:spPr>
          <a:xfrm>
            <a:off x="11239433" y="2571590"/>
            <a:ext cx="7826176" cy="63042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gn="l">
              <a:lnSpc>
                <a:spcPct val="300000"/>
              </a:lnSpc>
            </a:pPr>
            <a:r>
              <a:rPr lang="en-US" sz="2638" dirty="0">
                <a:solidFill>
                  <a:srgbClr val="2B0A3D"/>
                </a:solidFill>
                <a:latin typeface="+mj-lt"/>
              </a:rPr>
              <a:t>About Sogeti</a:t>
            </a:r>
          </a:p>
          <a:p>
            <a:pPr algn="l">
              <a:lnSpc>
                <a:spcPct val="114000"/>
              </a:lnSpc>
            </a:pPr>
            <a:r>
              <a:rPr lang="en-GB" sz="1484" kern="1200" dirty="0">
                <a:solidFill>
                  <a:schemeClr val="bg2">
                    <a:lumMod val="25000"/>
                  </a:schemeClr>
                </a:solidFill>
                <a:effectLst/>
                <a:latin typeface="+mj-lt"/>
                <a:ea typeface="+mn-ea"/>
                <a:cs typeface="+mn-cs"/>
              </a:rPr>
              <a:t>Part of the Capgemini Group, Sogeti makes business value through technology for organizations that need to implement innovation at speed and want a local partner with global scale. With a hands-on culture and close proximity to its clients, Sogeti implements solutions that will help organizations work faster, better, and smarter. By combining its agility and speed of implementation through a DevOps approach, Sogeti delivers innovative solutions in quality engineering, cloud and application development, all driven by AI, data and automation.</a:t>
            </a:r>
          </a:p>
          <a:p>
            <a:pPr algn="l">
              <a:lnSpc>
                <a:spcPct val="114000"/>
              </a:lnSpc>
            </a:pPr>
            <a:endParaRPr lang="en-GB" sz="1484" kern="1200" dirty="0">
              <a:solidFill>
                <a:schemeClr val="bg2">
                  <a:lumMod val="25000"/>
                </a:schemeClr>
              </a:solidFill>
              <a:effectLst/>
              <a:latin typeface="+mj-lt"/>
              <a:ea typeface="+mn-ea"/>
              <a:cs typeface="+mn-cs"/>
            </a:endParaRPr>
          </a:p>
          <a:p>
            <a:pPr algn="l">
              <a:lnSpc>
                <a:spcPct val="114000"/>
              </a:lnSpc>
            </a:pPr>
            <a:r>
              <a:rPr lang="en-GB" sz="1484" kern="1200" dirty="0">
                <a:solidFill>
                  <a:schemeClr val="bg2">
                    <a:lumMod val="25000"/>
                  </a:schemeClr>
                </a:solidFill>
                <a:effectLst/>
                <a:latin typeface="+mj-lt"/>
                <a:ea typeface="+mn-ea"/>
                <a:cs typeface="+mn-cs"/>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360,000 team members in more than 50 countries. With its strong 55-year heritage and deep industry expertise, Capgemini is trusted by its clients to address the entire breadth of their business needs, from strategy and design to operations, </a:t>
            </a:r>
            <a:r>
              <a:rPr lang="en-GB" sz="1484" kern="1200" dirty="0" err="1">
                <a:solidFill>
                  <a:schemeClr val="bg2">
                    <a:lumMod val="25000"/>
                  </a:schemeClr>
                </a:solidFill>
                <a:effectLst/>
                <a:latin typeface="+mj-lt"/>
                <a:ea typeface="+mn-ea"/>
                <a:cs typeface="+mn-cs"/>
              </a:rPr>
              <a:t>fueled</a:t>
            </a:r>
            <a:r>
              <a:rPr lang="en-GB" sz="1484" kern="1200" dirty="0">
                <a:solidFill>
                  <a:schemeClr val="bg2">
                    <a:lumMod val="25000"/>
                  </a:schemeClr>
                </a:solidFill>
                <a:effectLst/>
                <a:latin typeface="+mj-lt"/>
                <a:ea typeface="+mn-ea"/>
                <a:cs typeface="+mn-cs"/>
              </a:rPr>
              <a:t> by the fast evolving and innovative world of cloud, data, AI, connectivity, software, digital engineering, and platforms. The Group reported in 2022 global revenues of €22 billion. Get the Future You Want </a:t>
            </a:r>
          </a:p>
          <a:p>
            <a:pPr algn="l"/>
            <a:endParaRPr lang="fr-FR" sz="1484" kern="1200" dirty="0">
              <a:solidFill>
                <a:schemeClr val="bg2">
                  <a:lumMod val="25000"/>
                </a:schemeClr>
              </a:solidFill>
              <a:effectLst/>
              <a:latin typeface="+mj-lt"/>
              <a:ea typeface="+mn-ea"/>
              <a:cs typeface="+mn-cs"/>
            </a:endParaRPr>
          </a:p>
          <a:p>
            <a:pPr algn="l">
              <a:lnSpc>
                <a:spcPct val="100000"/>
              </a:lnSpc>
              <a:spcAft>
                <a:spcPts val="660"/>
              </a:spcAft>
            </a:pPr>
            <a:r>
              <a:rPr lang="en-US" sz="1484" dirty="0">
                <a:solidFill>
                  <a:schemeClr val="bg2">
                    <a:lumMod val="25000"/>
                  </a:schemeClr>
                </a:solidFill>
                <a:latin typeface="+mj-lt"/>
              </a:rPr>
              <a:t>Visit us at</a:t>
            </a:r>
            <a:br>
              <a:rPr lang="en-US" sz="1484" dirty="0">
                <a:solidFill>
                  <a:schemeClr val="bg2">
                    <a:lumMod val="25000"/>
                  </a:schemeClr>
                </a:solidFill>
                <a:latin typeface="+mj-lt"/>
              </a:rPr>
            </a:br>
            <a:r>
              <a:rPr lang="en-US" sz="1731" dirty="0">
                <a:solidFill>
                  <a:schemeClr val="bg2">
                    <a:lumMod val="25000"/>
                  </a:schemeClr>
                </a:solidFill>
                <a:latin typeface="+mj-lt"/>
                <a:hlinkClick r:id="rId8"/>
              </a:rPr>
              <a:t>www.sogeti.com</a:t>
            </a:r>
            <a:endParaRPr lang="en-US" sz="1731" dirty="0">
              <a:solidFill>
                <a:schemeClr val="bg2">
                  <a:lumMod val="25000"/>
                </a:schemeClr>
              </a:solidFill>
              <a:latin typeface="+mj-lt"/>
            </a:endParaRPr>
          </a:p>
          <a:p>
            <a:pPr algn="l">
              <a:lnSpc>
                <a:spcPts val="3298"/>
              </a:lnSpc>
            </a:pPr>
            <a:endParaRPr lang="en-US" sz="1484" dirty="0">
              <a:solidFill>
                <a:schemeClr val="bg2">
                  <a:lumMod val="25000"/>
                </a:schemeClr>
              </a:solidFill>
              <a:latin typeface="+mj-lt"/>
            </a:endParaRPr>
          </a:p>
        </p:txBody>
      </p:sp>
    </p:spTree>
    <p:extLst>
      <p:ext uri="{BB962C8B-B14F-4D97-AF65-F5344CB8AC3E}">
        <p14:creationId xmlns:p14="http://schemas.microsoft.com/office/powerpoint/2010/main" val="422872506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Portada">
    <p:spTree>
      <p:nvGrpSpPr>
        <p:cNvPr id="1" name=""/>
        <p:cNvGrpSpPr/>
        <p:nvPr/>
      </p:nvGrpSpPr>
      <p:grpSpPr>
        <a:xfrm>
          <a:off x="0" y="0"/>
          <a:ext cx="0" cy="0"/>
          <a:chOff x="0" y="0"/>
          <a:chExt cx="0" cy="0"/>
        </a:xfrm>
      </p:grpSpPr>
      <p:sp>
        <p:nvSpPr>
          <p:cNvPr id="3" name="Marcador de pie de página 2">
            <a:extLst>
              <a:ext uri="{FF2B5EF4-FFF2-40B4-BE49-F238E27FC236}">
                <a16:creationId xmlns:a16="http://schemas.microsoft.com/office/drawing/2014/main" id="{2BAD6E45-71F0-8D7F-356A-FE8083665163}"/>
              </a:ext>
            </a:extLst>
          </p:cNvPr>
          <p:cNvSpPr>
            <a:spLocks noGrp="1"/>
          </p:cNvSpPr>
          <p:nvPr>
            <p:ph type="ftr" sz="quarter" idx="10"/>
          </p:nvPr>
        </p:nvSpPr>
        <p:spPr/>
        <p:txBody>
          <a:bodyPr/>
          <a:lstStyle/>
          <a:p>
            <a:pPr marL="26034">
              <a:spcBef>
                <a:spcPts val="30"/>
              </a:spcBef>
            </a:pPr>
            <a:r>
              <a:rPr lang="es-ES" err="1">
                <a:solidFill>
                  <a:schemeClr val="bg1"/>
                </a:solidFill>
              </a:rPr>
              <a:t>Public</a:t>
            </a:r>
            <a:r>
              <a:rPr lang="es-ES" spc="-40">
                <a:solidFill>
                  <a:schemeClr val="bg1"/>
                </a:solidFill>
              </a:rPr>
              <a:t> </a:t>
            </a:r>
            <a:r>
              <a:rPr lang="es-ES">
                <a:solidFill>
                  <a:schemeClr val="bg1"/>
                </a:solidFill>
              </a:rPr>
              <a:t>©</a:t>
            </a:r>
            <a:r>
              <a:rPr lang="es-ES" spc="-40">
                <a:solidFill>
                  <a:schemeClr val="bg1"/>
                </a:solidFill>
              </a:rPr>
              <a:t> </a:t>
            </a:r>
            <a:r>
              <a:rPr lang="es-ES">
                <a:solidFill>
                  <a:schemeClr val="bg1"/>
                </a:solidFill>
              </a:rPr>
              <a:t>2023</a:t>
            </a:r>
            <a:r>
              <a:rPr lang="es-ES" spc="-40">
                <a:solidFill>
                  <a:schemeClr val="bg1"/>
                </a:solidFill>
              </a:rPr>
              <a:t> </a:t>
            </a:r>
            <a:r>
              <a:rPr lang="es-ES" spc="-10">
                <a:solidFill>
                  <a:schemeClr val="bg1"/>
                </a:solidFill>
              </a:rPr>
              <a:t>Sogeti.</a:t>
            </a:r>
            <a:r>
              <a:rPr lang="es-ES" spc="-35">
                <a:solidFill>
                  <a:schemeClr val="bg1"/>
                </a:solidFill>
              </a:rPr>
              <a:t> </a:t>
            </a:r>
            <a:r>
              <a:rPr lang="es-ES" err="1">
                <a:solidFill>
                  <a:schemeClr val="bg1"/>
                </a:solidFill>
              </a:rPr>
              <a:t>All</a:t>
            </a:r>
            <a:r>
              <a:rPr lang="es-ES" spc="-40">
                <a:solidFill>
                  <a:schemeClr val="bg1"/>
                </a:solidFill>
              </a:rPr>
              <a:t> </a:t>
            </a:r>
            <a:r>
              <a:rPr lang="es-ES" err="1">
                <a:solidFill>
                  <a:schemeClr val="bg1"/>
                </a:solidFill>
              </a:rPr>
              <a:t>rights</a:t>
            </a:r>
            <a:r>
              <a:rPr lang="es-ES" spc="-40">
                <a:solidFill>
                  <a:schemeClr val="bg1"/>
                </a:solidFill>
              </a:rPr>
              <a:t> </a:t>
            </a:r>
            <a:r>
              <a:rPr lang="es-ES" spc="-10" err="1">
                <a:solidFill>
                  <a:schemeClr val="bg1"/>
                </a:solidFill>
              </a:rPr>
              <a:t>reserved</a:t>
            </a:r>
            <a:endParaRPr lang="es-ES" spc="-10">
              <a:solidFill>
                <a:schemeClr val="bg1"/>
              </a:solidFill>
            </a:endParaRPr>
          </a:p>
        </p:txBody>
      </p:sp>
      <p:pic>
        <p:nvPicPr>
          <p:cNvPr id="4" name="Picture 2" descr="D15206-2020-Data Classification Tags - Group Cybersecurity-03">
            <a:extLst>
              <a:ext uri="{FF2B5EF4-FFF2-40B4-BE49-F238E27FC236}">
                <a16:creationId xmlns:a16="http://schemas.microsoft.com/office/drawing/2014/main" id="{D1611490-3CAB-BDCD-177E-3936EA4E4C9E}"/>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18148300" y="9093200"/>
            <a:ext cx="1270000" cy="127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9571509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obj" preserve="1">
  <p:cSld name="1_Two Content">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20104100" cy="11308715"/>
          </a:xfrm>
          <a:custGeom>
            <a:avLst/>
            <a:gdLst/>
            <a:ahLst/>
            <a:cxnLst/>
            <a:rect l="l" t="t" r="r" b="b"/>
            <a:pathLst>
              <a:path w="20104100" h="11308715">
                <a:moveTo>
                  <a:pt x="20104099" y="0"/>
                </a:moveTo>
                <a:lnTo>
                  <a:pt x="0" y="0"/>
                </a:lnTo>
                <a:lnTo>
                  <a:pt x="0" y="11308556"/>
                </a:lnTo>
                <a:lnTo>
                  <a:pt x="20104099" y="11308556"/>
                </a:lnTo>
                <a:lnTo>
                  <a:pt x="20104099" y="0"/>
                </a:lnTo>
                <a:close/>
              </a:path>
            </a:pathLst>
          </a:custGeom>
          <a:solidFill>
            <a:srgbClr val="0070AD"/>
          </a:solidFill>
        </p:spPr>
        <p:txBody>
          <a:bodyPr wrap="square" lIns="0" tIns="0" rIns="0" bIns="0" rtlCol="0"/>
          <a:lstStyle/>
          <a:p>
            <a:endParaRPr/>
          </a:p>
        </p:txBody>
      </p:sp>
      <p:sp>
        <p:nvSpPr>
          <p:cNvPr id="2" name="Holder 2"/>
          <p:cNvSpPr>
            <a:spLocks noGrp="1"/>
          </p:cNvSpPr>
          <p:nvPr>
            <p:ph type="title"/>
          </p:nvPr>
        </p:nvSpPr>
        <p:spPr/>
        <p:txBody>
          <a:bodyPr lIns="0" tIns="0" rIns="0" bIns="0"/>
          <a:lstStyle>
            <a:lvl1pPr>
              <a:defRPr sz="4900" b="0" i="0">
                <a:solidFill>
                  <a:srgbClr val="2B0A3D"/>
                </a:solidFill>
                <a:latin typeface="Ubuntu Light"/>
                <a:cs typeface="Ubuntu Light"/>
              </a:defRPr>
            </a:lvl1pPr>
          </a:lstStyle>
          <a:p>
            <a:endParaRPr/>
          </a:p>
        </p:txBody>
      </p:sp>
      <p:sp>
        <p:nvSpPr>
          <p:cNvPr id="3" name="Holder 3"/>
          <p:cNvSpPr>
            <a:spLocks noGrp="1"/>
          </p:cNvSpPr>
          <p:nvPr>
            <p:ph sz="half" idx="2"/>
          </p:nvPr>
        </p:nvSpPr>
        <p:spPr>
          <a:xfrm>
            <a:off x="1144854" y="2500412"/>
            <a:ext cx="7894955" cy="6466840"/>
          </a:xfrm>
          <a:prstGeom prst="rect">
            <a:avLst/>
          </a:prstGeom>
        </p:spPr>
        <p:txBody>
          <a:bodyPr wrap="square" lIns="0" tIns="0" rIns="0" bIns="0">
            <a:spAutoFit/>
          </a:bodyPr>
          <a:lstStyle>
            <a:lvl1pPr>
              <a:defRPr sz="2450" b="0" i="0">
                <a:solidFill>
                  <a:schemeClr val="bg1"/>
                </a:solidFill>
                <a:latin typeface="Ubuntu Light"/>
                <a:cs typeface="Ubuntu Light"/>
              </a:defRPr>
            </a:lvl1pPr>
          </a:lstStyle>
          <a:p>
            <a:endParaRPr/>
          </a:p>
        </p:txBody>
      </p:sp>
      <p:sp>
        <p:nvSpPr>
          <p:cNvPr id="4" name="Holder 4"/>
          <p:cNvSpPr>
            <a:spLocks noGrp="1"/>
          </p:cNvSpPr>
          <p:nvPr>
            <p:ph sz="half" idx="3"/>
          </p:nvPr>
        </p:nvSpPr>
        <p:spPr>
          <a:xfrm>
            <a:off x="10353611" y="2601150"/>
            <a:ext cx="8745284" cy="7464171"/>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defRPr sz="1300" b="0" i="0">
                <a:solidFill>
                  <a:srgbClr val="808080"/>
                </a:solidFill>
                <a:latin typeface="Ubuntu Light"/>
                <a:cs typeface="Ubuntu Light"/>
              </a:defRPr>
            </a:lvl1pPr>
          </a:lstStyle>
          <a:p>
            <a:pPr marL="26034">
              <a:lnSpc>
                <a:spcPct val="100000"/>
              </a:lnSpc>
              <a:spcBef>
                <a:spcPts val="30"/>
              </a:spcBef>
            </a:pPr>
            <a:r>
              <a:rPr>
                <a:solidFill>
                  <a:srgbClr val="666666"/>
                </a:solidFill>
              </a:rPr>
              <a:t>Public</a:t>
            </a:r>
            <a:r>
              <a:rPr spc="-40">
                <a:solidFill>
                  <a:srgbClr val="666666"/>
                </a:solidFill>
              </a:rPr>
              <a:t> </a:t>
            </a:r>
            <a:r>
              <a:rPr>
                <a:solidFill>
                  <a:srgbClr val="666666"/>
                </a:solidFill>
              </a:rPr>
              <a:t>©</a:t>
            </a:r>
            <a:r>
              <a:rPr spc="-40">
                <a:solidFill>
                  <a:srgbClr val="666666"/>
                </a:solidFill>
              </a:rPr>
              <a:t> </a:t>
            </a:r>
            <a:r>
              <a:rPr>
                <a:solidFill>
                  <a:srgbClr val="666666"/>
                </a:solidFill>
              </a:rPr>
              <a:t>2022</a:t>
            </a:r>
            <a:r>
              <a:rPr spc="-40">
                <a:solidFill>
                  <a:srgbClr val="666666"/>
                </a:solidFill>
              </a:rPr>
              <a:t> </a:t>
            </a:r>
            <a:r>
              <a:rPr spc="-10">
                <a:solidFill>
                  <a:srgbClr val="666666"/>
                </a:solidFill>
              </a:rPr>
              <a:t>Sogeti.</a:t>
            </a:r>
            <a:r>
              <a:rPr spc="-35">
                <a:solidFill>
                  <a:srgbClr val="666666"/>
                </a:solidFill>
              </a:rPr>
              <a:t> </a:t>
            </a:r>
            <a:r>
              <a:rPr>
                <a:solidFill>
                  <a:srgbClr val="666666"/>
                </a:solidFill>
              </a:rPr>
              <a:t>All</a:t>
            </a:r>
            <a:r>
              <a:rPr spc="-40">
                <a:solidFill>
                  <a:srgbClr val="666666"/>
                </a:solidFill>
              </a:rPr>
              <a:t> </a:t>
            </a:r>
            <a:r>
              <a:rPr>
                <a:solidFill>
                  <a:srgbClr val="666666"/>
                </a:solidFill>
              </a:rPr>
              <a:t>rights</a:t>
            </a:r>
            <a:r>
              <a:rPr spc="-40">
                <a:solidFill>
                  <a:srgbClr val="666666"/>
                </a:solidFill>
              </a:rPr>
              <a:t> </a:t>
            </a:r>
            <a:r>
              <a:rPr spc="-10">
                <a:solidFill>
                  <a:srgbClr val="666666"/>
                </a:solidFill>
              </a:rPr>
              <a:t>reserved</a:t>
            </a:r>
          </a:p>
        </p:txBody>
      </p:sp>
      <p:sp>
        <p:nvSpPr>
          <p:cNvPr id="6" name="Holder 6"/>
          <p:cNvSpPr>
            <a:spLocks noGrp="1"/>
          </p:cNvSpPr>
          <p:nvPr>
            <p:ph type="dt" sz="half" idx="6"/>
          </p:nvPr>
        </p:nvSpPr>
        <p:spPr>
          <a:xfrm>
            <a:off x="510835" y="10759212"/>
            <a:ext cx="1314619" cy="214870"/>
          </a:xfrm>
          <a:prstGeom prst="rect">
            <a:avLst/>
          </a:prstGeom>
        </p:spPr>
        <p:txBody>
          <a:bodyPr lIns="0" tIns="0" rIns="0" bIns="0"/>
          <a:lstStyle>
            <a:lvl1pPr>
              <a:defRPr sz="1300" b="0" i="0">
                <a:solidFill>
                  <a:srgbClr val="808080"/>
                </a:solidFill>
                <a:latin typeface="Ubuntu Light"/>
                <a:cs typeface="Ubuntu Light"/>
              </a:defRPr>
            </a:lvl1pPr>
          </a:lstStyle>
          <a:p>
            <a:pPr marL="12700">
              <a:lnSpc>
                <a:spcPct val="100000"/>
              </a:lnSpc>
              <a:spcBef>
                <a:spcPts val="30"/>
              </a:spcBef>
            </a:pPr>
            <a:r>
              <a:rPr spc="-10"/>
              <a:t>Presentation</a:t>
            </a:r>
            <a:r>
              <a:t> </a:t>
            </a:r>
            <a:r>
              <a:rPr spc="-10"/>
              <a:t>title</a:t>
            </a:r>
          </a:p>
        </p:txBody>
      </p:sp>
      <p:sp>
        <p:nvSpPr>
          <p:cNvPr id="7" name="Holder 7"/>
          <p:cNvSpPr>
            <a:spLocks noGrp="1"/>
          </p:cNvSpPr>
          <p:nvPr>
            <p:ph type="sldNum" sz="quarter" idx="7"/>
          </p:nvPr>
        </p:nvSpPr>
        <p:spPr>
          <a:xfrm>
            <a:off x="14474953" y="10517696"/>
            <a:ext cx="4623943" cy="565467"/>
          </a:xfrm>
          <a:prstGeom prst="rect">
            <a:avLst/>
          </a:prstGeom>
        </p:spPr>
        <p:txBody>
          <a:bodyPr lIns="0" tIns="0" rIns="0" bIns="0"/>
          <a:lstStyle>
            <a:lvl1pPr algn="r">
              <a:defRPr>
                <a:solidFill>
                  <a:schemeClr val="tx1">
                    <a:tint val="75000"/>
                  </a:schemeClr>
                </a:solidFill>
              </a:defRPr>
            </a:lvl1pPr>
          </a:lstStyle>
          <a:p>
            <a:fld id="{B6F15528-21DE-4FAA-801E-634DDDAF4B2B}" type="slidenum">
              <a:t>‹#›</a:t>
            </a:fld>
            <a:endParaRPr/>
          </a:p>
        </p:txBody>
      </p:sp>
      <p:sp>
        <p:nvSpPr>
          <p:cNvPr id="8" name="object 2">
            <a:extLst>
              <a:ext uri="{FF2B5EF4-FFF2-40B4-BE49-F238E27FC236}">
                <a16:creationId xmlns:a16="http://schemas.microsoft.com/office/drawing/2014/main" id="{B7AB81C4-6AC0-5D55-2157-DBBC08586FF7}"/>
              </a:ext>
            </a:extLst>
          </p:cNvPr>
          <p:cNvSpPr/>
          <p:nvPr userDrawn="1"/>
        </p:nvSpPr>
        <p:spPr>
          <a:xfrm>
            <a:off x="0" y="0"/>
            <a:ext cx="20104100" cy="11328400"/>
          </a:xfrm>
          <a:custGeom>
            <a:avLst/>
            <a:gdLst/>
            <a:ahLst/>
            <a:cxnLst/>
            <a:rect l="l" t="t" r="r" b="b"/>
            <a:pathLst>
              <a:path w="20104100" h="11308715">
                <a:moveTo>
                  <a:pt x="20104099" y="0"/>
                </a:moveTo>
                <a:lnTo>
                  <a:pt x="0" y="0"/>
                </a:lnTo>
                <a:lnTo>
                  <a:pt x="0" y="11308556"/>
                </a:lnTo>
                <a:lnTo>
                  <a:pt x="20104099" y="11308556"/>
                </a:lnTo>
                <a:lnTo>
                  <a:pt x="20104099" y="0"/>
                </a:lnTo>
                <a:close/>
              </a:path>
            </a:pathLst>
          </a:custGeom>
          <a:solidFill>
            <a:srgbClr val="F5F5F7"/>
          </a:solidFill>
        </p:spPr>
        <p:txBody>
          <a:bodyPr wrap="square" lIns="0" tIns="0" rIns="0" bIns="0" rtlCol="0"/>
          <a:lstStyle/>
          <a:p>
            <a:endParaRPr/>
          </a:p>
        </p:txBody>
      </p:sp>
      <p:sp>
        <p:nvSpPr>
          <p:cNvPr id="9" name="object 3">
            <a:extLst>
              <a:ext uri="{FF2B5EF4-FFF2-40B4-BE49-F238E27FC236}">
                <a16:creationId xmlns:a16="http://schemas.microsoft.com/office/drawing/2014/main" id="{401294B7-D9B3-AB49-E684-1B302AD1463D}"/>
              </a:ext>
            </a:extLst>
          </p:cNvPr>
          <p:cNvSpPr/>
          <p:nvPr userDrawn="1"/>
        </p:nvSpPr>
        <p:spPr>
          <a:xfrm>
            <a:off x="1289536" y="8472292"/>
            <a:ext cx="6842759" cy="2836545"/>
          </a:xfrm>
          <a:custGeom>
            <a:avLst/>
            <a:gdLst/>
            <a:ahLst/>
            <a:cxnLst/>
            <a:rect l="l" t="t" r="r" b="b"/>
            <a:pathLst>
              <a:path w="6842759" h="2836545">
                <a:moveTo>
                  <a:pt x="3449094" y="0"/>
                </a:moveTo>
                <a:lnTo>
                  <a:pt x="3400960" y="2009"/>
                </a:lnTo>
                <a:lnTo>
                  <a:pt x="3353104" y="8039"/>
                </a:lnTo>
                <a:lnTo>
                  <a:pt x="3305805" y="18089"/>
                </a:lnTo>
                <a:lnTo>
                  <a:pt x="3259341" y="32159"/>
                </a:lnTo>
                <a:lnTo>
                  <a:pt x="3213989" y="50249"/>
                </a:lnTo>
                <a:lnTo>
                  <a:pt x="3170029" y="72359"/>
                </a:lnTo>
                <a:lnTo>
                  <a:pt x="91872" y="1757218"/>
                </a:lnTo>
                <a:lnTo>
                  <a:pt x="55123" y="1783881"/>
                </a:lnTo>
                <a:lnTo>
                  <a:pt x="27561" y="1816532"/>
                </a:lnTo>
                <a:lnTo>
                  <a:pt x="9187" y="1853460"/>
                </a:lnTo>
                <a:lnTo>
                  <a:pt x="0" y="1892955"/>
                </a:lnTo>
                <a:lnTo>
                  <a:pt x="0" y="1933305"/>
                </a:lnTo>
                <a:lnTo>
                  <a:pt x="9187" y="1972799"/>
                </a:lnTo>
                <a:lnTo>
                  <a:pt x="27561" y="2009727"/>
                </a:lnTo>
                <a:lnTo>
                  <a:pt x="55123" y="2042378"/>
                </a:lnTo>
                <a:lnTo>
                  <a:pt x="91872" y="2069041"/>
                </a:lnTo>
                <a:lnTo>
                  <a:pt x="1407840" y="2836264"/>
                </a:lnTo>
                <a:lnTo>
                  <a:pt x="5424197" y="2836264"/>
                </a:lnTo>
                <a:lnTo>
                  <a:pt x="6750297" y="2077606"/>
                </a:lnTo>
                <a:lnTo>
                  <a:pt x="6787046" y="2050943"/>
                </a:lnTo>
                <a:lnTo>
                  <a:pt x="6814608" y="2018292"/>
                </a:lnTo>
                <a:lnTo>
                  <a:pt x="6832982" y="1981365"/>
                </a:lnTo>
                <a:lnTo>
                  <a:pt x="6842170" y="1941871"/>
                </a:lnTo>
                <a:lnTo>
                  <a:pt x="6842170" y="1901522"/>
                </a:lnTo>
                <a:lnTo>
                  <a:pt x="6832982" y="1862029"/>
                </a:lnTo>
                <a:lnTo>
                  <a:pt x="6814608" y="1825102"/>
                </a:lnTo>
                <a:lnTo>
                  <a:pt x="6787046" y="1792454"/>
                </a:lnTo>
                <a:lnTo>
                  <a:pt x="6750297" y="1765794"/>
                </a:lnTo>
                <a:lnTo>
                  <a:pt x="3728159" y="72359"/>
                </a:lnTo>
                <a:lnTo>
                  <a:pt x="3684199" y="50249"/>
                </a:lnTo>
                <a:lnTo>
                  <a:pt x="3638848" y="32159"/>
                </a:lnTo>
                <a:lnTo>
                  <a:pt x="3592383" y="18089"/>
                </a:lnTo>
                <a:lnTo>
                  <a:pt x="3545084" y="8039"/>
                </a:lnTo>
                <a:lnTo>
                  <a:pt x="3497228" y="2009"/>
                </a:lnTo>
                <a:lnTo>
                  <a:pt x="3449094" y="0"/>
                </a:lnTo>
                <a:close/>
              </a:path>
            </a:pathLst>
          </a:custGeom>
          <a:solidFill>
            <a:srgbClr val="FFFFFF">
              <a:alpha val="69999"/>
            </a:srgbClr>
          </a:solidFill>
        </p:spPr>
        <p:txBody>
          <a:bodyPr wrap="square" lIns="0" tIns="0" rIns="0" bIns="0" rtlCol="0"/>
          <a:lstStyle/>
          <a:p>
            <a:endParaRPr/>
          </a:p>
        </p:txBody>
      </p:sp>
      <p:sp>
        <p:nvSpPr>
          <p:cNvPr id="10" name="object 4">
            <a:extLst>
              <a:ext uri="{FF2B5EF4-FFF2-40B4-BE49-F238E27FC236}">
                <a16:creationId xmlns:a16="http://schemas.microsoft.com/office/drawing/2014/main" id="{0D9802FD-217E-3E87-4081-5C9479560022}"/>
              </a:ext>
            </a:extLst>
          </p:cNvPr>
          <p:cNvSpPr/>
          <p:nvPr userDrawn="1"/>
        </p:nvSpPr>
        <p:spPr>
          <a:xfrm>
            <a:off x="16915820" y="0"/>
            <a:ext cx="2250440" cy="852169"/>
          </a:xfrm>
          <a:custGeom>
            <a:avLst/>
            <a:gdLst/>
            <a:ahLst/>
            <a:cxnLst/>
            <a:rect l="l" t="t" r="r" b="b"/>
            <a:pathLst>
              <a:path w="2250440" h="852169">
                <a:moveTo>
                  <a:pt x="1956091" y="0"/>
                </a:moveTo>
                <a:lnTo>
                  <a:pt x="295173" y="0"/>
                </a:lnTo>
                <a:lnTo>
                  <a:pt x="30532" y="144852"/>
                </a:lnTo>
                <a:lnTo>
                  <a:pt x="7597" y="167279"/>
                </a:lnTo>
                <a:lnTo>
                  <a:pt x="0" y="195933"/>
                </a:lnTo>
                <a:lnTo>
                  <a:pt x="0" y="196292"/>
                </a:lnTo>
                <a:lnTo>
                  <a:pt x="30532" y="247373"/>
                </a:lnTo>
                <a:lnTo>
                  <a:pt x="1026292" y="827910"/>
                </a:lnTo>
                <a:lnTo>
                  <a:pt x="1070932" y="845751"/>
                </a:lnTo>
                <a:lnTo>
                  <a:pt x="1118044" y="851697"/>
                </a:lnTo>
                <a:lnTo>
                  <a:pt x="1165155" y="845751"/>
                </a:lnTo>
                <a:lnTo>
                  <a:pt x="1209795" y="827910"/>
                </a:lnTo>
                <a:lnTo>
                  <a:pt x="2219628" y="250189"/>
                </a:lnTo>
                <a:lnTo>
                  <a:pt x="2242563" y="227762"/>
                </a:lnTo>
                <a:lnTo>
                  <a:pt x="2250193" y="198986"/>
                </a:lnTo>
                <a:lnTo>
                  <a:pt x="2242563" y="170096"/>
                </a:lnTo>
                <a:lnTo>
                  <a:pt x="2219628" y="147669"/>
                </a:lnTo>
                <a:lnTo>
                  <a:pt x="1956091" y="0"/>
                </a:lnTo>
                <a:close/>
              </a:path>
            </a:pathLst>
          </a:custGeom>
          <a:solidFill>
            <a:srgbClr val="FFFFFF">
              <a:alpha val="69999"/>
            </a:srgbClr>
          </a:solidFill>
        </p:spPr>
        <p:txBody>
          <a:bodyPr wrap="square" lIns="0" tIns="0" rIns="0" bIns="0" rtlCol="0"/>
          <a:lstStyle/>
          <a:p>
            <a:endParaRPr/>
          </a:p>
        </p:txBody>
      </p:sp>
    </p:spTree>
    <p:extLst>
      <p:ext uri="{BB962C8B-B14F-4D97-AF65-F5344CB8AC3E}">
        <p14:creationId xmlns:p14="http://schemas.microsoft.com/office/powerpoint/2010/main" val="28158170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obj" preserve="1">
  <p:cSld name="2_Two Content">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20104100" cy="11308715"/>
          </a:xfrm>
          <a:custGeom>
            <a:avLst/>
            <a:gdLst/>
            <a:ahLst/>
            <a:cxnLst/>
            <a:rect l="l" t="t" r="r" b="b"/>
            <a:pathLst>
              <a:path w="20104100" h="11308715">
                <a:moveTo>
                  <a:pt x="20104099" y="0"/>
                </a:moveTo>
                <a:lnTo>
                  <a:pt x="0" y="0"/>
                </a:lnTo>
                <a:lnTo>
                  <a:pt x="0" y="11308556"/>
                </a:lnTo>
                <a:lnTo>
                  <a:pt x="20104099" y="11308556"/>
                </a:lnTo>
                <a:lnTo>
                  <a:pt x="20104099" y="0"/>
                </a:lnTo>
                <a:close/>
              </a:path>
            </a:pathLst>
          </a:custGeom>
          <a:solidFill>
            <a:srgbClr val="0070AD"/>
          </a:solidFill>
        </p:spPr>
        <p:txBody>
          <a:bodyPr wrap="square" lIns="0" tIns="0" rIns="0" bIns="0" rtlCol="0"/>
          <a:lstStyle/>
          <a:p>
            <a:endParaRPr/>
          </a:p>
        </p:txBody>
      </p:sp>
      <p:sp>
        <p:nvSpPr>
          <p:cNvPr id="2" name="Holder 2"/>
          <p:cNvSpPr>
            <a:spLocks noGrp="1"/>
          </p:cNvSpPr>
          <p:nvPr>
            <p:ph type="title"/>
          </p:nvPr>
        </p:nvSpPr>
        <p:spPr/>
        <p:txBody>
          <a:bodyPr lIns="0" tIns="0" rIns="0" bIns="0"/>
          <a:lstStyle>
            <a:lvl1pPr>
              <a:defRPr sz="4900" b="0" i="0">
                <a:solidFill>
                  <a:srgbClr val="2B0A3D"/>
                </a:solidFill>
                <a:latin typeface="Ubuntu Light"/>
                <a:cs typeface="Ubuntu Light"/>
              </a:defRPr>
            </a:lvl1pPr>
          </a:lstStyle>
          <a:p>
            <a:endParaRPr/>
          </a:p>
        </p:txBody>
      </p:sp>
      <p:sp>
        <p:nvSpPr>
          <p:cNvPr id="3" name="Holder 3"/>
          <p:cNvSpPr>
            <a:spLocks noGrp="1"/>
          </p:cNvSpPr>
          <p:nvPr>
            <p:ph sz="half" idx="2"/>
          </p:nvPr>
        </p:nvSpPr>
        <p:spPr>
          <a:xfrm>
            <a:off x="1144854" y="2500412"/>
            <a:ext cx="7894955" cy="6466840"/>
          </a:xfrm>
          <a:prstGeom prst="rect">
            <a:avLst/>
          </a:prstGeom>
        </p:spPr>
        <p:txBody>
          <a:bodyPr wrap="square" lIns="0" tIns="0" rIns="0" bIns="0">
            <a:spAutoFit/>
          </a:bodyPr>
          <a:lstStyle>
            <a:lvl1pPr>
              <a:defRPr sz="2450" b="0" i="0">
                <a:solidFill>
                  <a:schemeClr val="bg1"/>
                </a:solidFill>
                <a:latin typeface="Ubuntu Light"/>
                <a:cs typeface="Ubuntu Light"/>
              </a:defRPr>
            </a:lvl1pPr>
          </a:lstStyle>
          <a:p>
            <a:endParaRPr/>
          </a:p>
        </p:txBody>
      </p:sp>
      <p:sp>
        <p:nvSpPr>
          <p:cNvPr id="4" name="Holder 4"/>
          <p:cNvSpPr>
            <a:spLocks noGrp="1"/>
          </p:cNvSpPr>
          <p:nvPr>
            <p:ph sz="half" idx="3"/>
          </p:nvPr>
        </p:nvSpPr>
        <p:spPr>
          <a:xfrm>
            <a:off x="10353611" y="2601150"/>
            <a:ext cx="8745284" cy="7464171"/>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defRPr sz="1300" b="0" i="0">
                <a:solidFill>
                  <a:srgbClr val="808080"/>
                </a:solidFill>
                <a:latin typeface="Ubuntu Light"/>
                <a:cs typeface="Ubuntu Light"/>
              </a:defRPr>
            </a:lvl1pPr>
          </a:lstStyle>
          <a:p>
            <a:pPr marL="26034">
              <a:lnSpc>
                <a:spcPct val="100000"/>
              </a:lnSpc>
              <a:spcBef>
                <a:spcPts val="30"/>
              </a:spcBef>
            </a:pPr>
            <a:r>
              <a:rPr>
                <a:solidFill>
                  <a:srgbClr val="666666"/>
                </a:solidFill>
              </a:rPr>
              <a:t>Public</a:t>
            </a:r>
            <a:r>
              <a:rPr spc="-40">
                <a:solidFill>
                  <a:srgbClr val="666666"/>
                </a:solidFill>
              </a:rPr>
              <a:t> </a:t>
            </a:r>
            <a:r>
              <a:rPr>
                <a:solidFill>
                  <a:srgbClr val="666666"/>
                </a:solidFill>
              </a:rPr>
              <a:t>©</a:t>
            </a:r>
            <a:r>
              <a:rPr spc="-40">
                <a:solidFill>
                  <a:srgbClr val="666666"/>
                </a:solidFill>
              </a:rPr>
              <a:t> </a:t>
            </a:r>
            <a:r>
              <a:rPr>
                <a:solidFill>
                  <a:srgbClr val="666666"/>
                </a:solidFill>
              </a:rPr>
              <a:t>2022</a:t>
            </a:r>
            <a:r>
              <a:rPr spc="-40">
                <a:solidFill>
                  <a:srgbClr val="666666"/>
                </a:solidFill>
              </a:rPr>
              <a:t> </a:t>
            </a:r>
            <a:r>
              <a:rPr spc="-10">
                <a:solidFill>
                  <a:srgbClr val="666666"/>
                </a:solidFill>
              </a:rPr>
              <a:t>Sogeti.</a:t>
            </a:r>
            <a:r>
              <a:rPr spc="-35">
                <a:solidFill>
                  <a:srgbClr val="666666"/>
                </a:solidFill>
              </a:rPr>
              <a:t> </a:t>
            </a:r>
            <a:r>
              <a:rPr>
                <a:solidFill>
                  <a:srgbClr val="666666"/>
                </a:solidFill>
              </a:rPr>
              <a:t>All</a:t>
            </a:r>
            <a:r>
              <a:rPr spc="-40">
                <a:solidFill>
                  <a:srgbClr val="666666"/>
                </a:solidFill>
              </a:rPr>
              <a:t> </a:t>
            </a:r>
            <a:r>
              <a:rPr>
                <a:solidFill>
                  <a:srgbClr val="666666"/>
                </a:solidFill>
              </a:rPr>
              <a:t>rights</a:t>
            </a:r>
            <a:r>
              <a:rPr spc="-40">
                <a:solidFill>
                  <a:srgbClr val="666666"/>
                </a:solidFill>
              </a:rPr>
              <a:t> </a:t>
            </a:r>
            <a:r>
              <a:rPr spc="-10">
                <a:solidFill>
                  <a:srgbClr val="666666"/>
                </a:solidFill>
              </a:rPr>
              <a:t>reserved</a:t>
            </a:r>
          </a:p>
        </p:txBody>
      </p:sp>
      <p:sp>
        <p:nvSpPr>
          <p:cNvPr id="6" name="Holder 6"/>
          <p:cNvSpPr>
            <a:spLocks noGrp="1"/>
          </p:cNvSpPr>
          <p:nvPr>
            <p:ph type="dt" sz="half" idx="6"/>
          </p:nvPr>
        </p:nvSpPr>
        <p:spPr>
          <a:xfrm>
            <a:off x="510835" y="10759212"/>
            <a:ext cx="1314619" cy="214870"/>
          </a:xfrm>
          <a:prstGeom prst="rect">
            <a:avLst/>
          </a:prstGeom>
        </p:spPr>
        <p:txBody>
          <a:bodyPr lIns="0" tIns="0" rIns="0" bIns="0"/>
          <a:lstStyle>
            <a:lvl1pPr>
              <a:defRPr sz="1300" b="0" i="0">
                <a:solidFill>
                  <a:srgbClr val="808080"/>
                </a:solidFill>
                <a:latin typeface="Ubuntu Light"/>
                <a:cs typeface="Ubuntu Light"/>
              </a:defRPr>
            </a:lvl1pPr>
          </a:lstStyle>
          <a:p>
            <a:pPr marL="12700">
              <a:lnSpc>
                <a:spcPct val="100000"/>
              </a:lnSpc>
              <a:spcBef>
                <a:spcPts val="30"/>
              </a:spcBef>
            </a:pPr>
            <a:r>
              <a:rPr spc="-10"/>
              <a:t>Presentation</a:t>
            </a:r>
            <a:r>
              <a:t> </a:t>
            </a:r>
            <a:r>
              <a:rPr spc="-10"/>
              <a:t>title</a:t>
            </a:r>
          </a:p>
        </p:txBody>
      </p:sp>
      <p:sp>
        <p:nvSpPr>
          <p:cNvPr id="7" name="Holder 7"/>
          <p:cNvSpPr>
            <a:spLocks noGrp="1"/>
          </p:cNvSpPr>
          <p:nvPr>
            <p:ph type="sldNum" sz="quarter" idx="7"/>
          </p:nvPr>
        </p:nvSpPr>
        <p:spPr>
          <a:xfrm>
            <a:off x="14474953" y="10517696"/>
            <a:ext cx="4623943" cy="565467"/>
          </a:xfrm>
          <a:prstGeom prst="rect">
            <a:avLst/>
          </a:prstGeom>
        </p:spPr>
        <p:txBody>
          <a:bodyPr lIns="0" tIns="0" rIns="0" bIns="0"/>
          <a:lstStyle>
            <a:lvl1pPr algn="r">
              <a:defRPr>
                <a:solidFill>
                  <a:schemeClr val="tx1">
                    <a:tint val="75000"/>
                  </a:schemeClr>
                </a:solidFill>
              </a:defRPr>
            </a:lvl1pPr>
          </a:lstStyle>
          <a:p>
            <a:fld id="{B6F15528-21DE-4FAA-801E-634DDDAF4B2B}" type="slidenum">
              <a:t>‹#›</a:t>
            </a:fld>
            <a:endParaRPr/>
          </a:p>
        </p:txBody>
      </p:sp>
      <p:sp>
        <p:nvSpPr>
          <p:cNvPr id="8" name="object 2">
            <a:extLst>
              <a:ext uri="{FF2B5EF4-FFF2-40B4-BE49-F238E27FC236}">
                <a16:creationId xmlns:a16="http://schemas.microsoft.com/office/drawing/2014/main" id="{B7AB81C4-6AC0-5D55-2157-DBBC08586FF7}"/>
              </a:ext>
            </a:extLst>
          </p:cNvPr>
          <p:cNvSpPr/>
          <p:nvPr userDrawn="1"/>
        </p:nvSpPr>
        <p:spPr>
          <a:xfrm>
            <a:off x="0" y="0"/>
            <a:ext cx="20104100" cy="11328400"/>
          </a:xfrm>
          <a:custGeom>
            <a:avLst/>
            <a:gdLst/>
            <a:ahLst/>
            <a:cxnLst/>
            <a:rect l="l" t="t" r="r" b="b"/>
            <a:pathLst>
              <a:path w="20104100" h="11308715">
                <a:moveTo>
                  <a:pt x="20104099" y="0"/>
                </a:moveTo>
                <a:lnTo>
                  <a:pt x="0" y="0"/>
                </a:lnTo>
                <a:lnTo>
                  <a:pt x="0" y="11308556"/>
                </a:lnTo>
                <a:lnTo>
                  <a:pt x="20104099" y="11308556"/>
                </a:lnTo>
                <a:lnTo>
                  <a:pt x="20104099" y="0"/>
                </a:lnTo>
                <a:close/>
              </a:path>
            </a:pathLst>
          </a:custGeom>
          <a:solidFill>
            <a:srgbClr val="0070AD"/>
          </a:solidFill>
        </p:spPr>
        <p:txBody>
          <a:bodyPr wrap="square" lIns="0" tIns="0" rIns="0" bIns="0" rtlCol="0"/>
          <a:lstStyle/>
          <a:p>
            <a:endParaRPr/>
          </a:p>
        </p:txBody>
      </p:sp>
      <p:sp>
        <p:nvSpPr>
          <p:cNvPr id="9" name="object 3">
            <a:extLst>
              <a:ext uri="{FF2B5EF4-FFF2-40B4-BE49-F238E27FC236}">
                <a16:creationId xmlns:a16="http://schemas.microsoft.com/office/drawing/2014/main" id="{401294B7-D9B3-AB49-E684-1B302AD1463D}"/>
              </a:ext>
            </a:extLst>
          </p:cNvPr>
          <p:cNvSpPr/>
          <p:nvPr userDrawn="1"/>
        </p:nvSpPr>
        <p:spPr>
          <a:xfrm>
            <a:off x="1289536" y="8472292"/>
            <a:ext cx="6842759" cy="2836545"/>
          </a:xfrm>
          <a:custGeom>
            <a:avLst/>
            <a:gdLst/>
            <a:ahLst/>
            <a:cxnLst/>
            <a:rect l="l" t="t" r="r" b="b"/>
            <a:pathLst>
              <a:path w="6842759" h="2836545">
                <a:moveTo>
                  <a:pt x="3449094" y="0"/>
                </a:moveTo>
                <a:lnTo>
                  <a:pt x="3400960" y="2009"/>
                </a:lnTo>
                <a:lnTo>
                  <a:pt x="3353104" y="8039"/>
                </a:lnTo>
                <a:lnTo>
                  <a:pt x="3305805" y="18089"/>
                </a:lnTo>
                <a:lnTo>
                  <a:pt x="3259341" y="32159"/>
                </a:lnTo>
                <a:lnTo>
                  <a:pt x="3213989" y="50249"/>
                </a:lnTo>
                <a:lnTo>
                  <a:pt x="3170029" y="72359"/>
                </a:lnTo>
                <a:lnTo>
                  <a:pt x="91872" y="1757218"/>
                </a:lnTo>
                <a:lnTo>
                  <a:pt x="55123" y="1783881"/>
                </a:lnTo>
                <a:lnTo>
                  <a:pt x="27561" y="1816532"/>
                </a:lnTo>
                <a:lnTo>
                  <a:pt x="9187" y="1853460"/>
                </a:lnTo>
                <a:lnTo>
                  <a:pt x="0" y="1892955"/>
                </a:lnTo>
                <a:lnTo>
                  <a:pt x="0" y="1933305"/>
                </a:lnTo>
                <a:lnTo>
                  <a:pt x="9187" y="1972799"/>
                </a:lnTo>
                <a:lnTo>
                  <a:pt x="27561" y="2009727"/>
                </a:lnTo>
                <a:lnTo>
                  <a:pt x="55123" y="2042378"/>
                </a:lnTo>
                <a:lnTo>
                  <a:pt x="91872" y="2069041"/>
                </a:lnTo>
                <a:lnTo>
                  <a:pt x="1407840" y="2836264"/>
                </a:lnTo>
                <a:lnTo>
                  <a:pt x="5424197" y="2836264"/>
                </a:lnTo>
                <a:lnTo>
                  <a:pt x="6750297" y="2077606"/>
                </a:lnTo>
                <a:lnTo>
                  <a:pt x="6787046" y="2050943"/>
                </a:lnTo>
                <a:lnTo>
                  <a:pt x="6814608" y="2018292"/>
                </a:lnTo>
                <a:lnTo>
                  <a:pt x="6832982" y="1981365"/>
                </a:lnTo>
                <a:lnTo>
                  <a:pt x="6842170" y="1941871"/>
                </a:lnTo>
                <a:lnTo>
                  <a:pt x="6842170" y="1901522"/>
                </a:lnTo>
                <a:lnTo>
                  <a:pt x="6832982" y="1862029"/>
                </a:lnTo>
                <a:lnTo>
                  <a:pt x="6814608" y="1825102"/>
                </a:lnTo>
                <a:lnTo>
                  <a:pt x="6787046" y="1792454"/>
                </a:lnTo>
                <a:lnTo>
                  <a:pt x="6750297" y="1765794"/>
                </a:lnTo>
                <a:lnTo>
                  <a:pt x="3728159" y="72359"/>
                </a:lnTo>
                <a:lnTo>
                  <a:pt x="3684199" y="50249"/>
                </a:lnTo>
                <a:lnTo>
                  <a:pt x="3638848" y="32159"/>
                </a:lnTo>
                <a:lnTo>
                  <a:pt x="3592383" y="18089"/>
                </a:lnTo>
                <a:lnTo>
                  <a:pt x="3545084" y="8039"/>
                </a:lnTo>
                <a:lnTo>
                  <a:pt x="3497228" y="2009"/>
                </a:lnTo>
                <a:lnTo>
                  <a:pt x="3449094" y="0"/>
                </a:lnTo>
                <a:close/>
              </a:path>
            </a:pathLst>
          </a:custGeom>
          <a:solidFill>
            <a:srgbClr val="FFFFFF">
              <a:alpha val="69999"/>
            </a:srgbClr>
          </a:solidFill>
        </p:spPr>
        <p:txBody>
          <a:bodyPr wrap="square" lIns="0" tIns="0" rIns="0" bIns="0" rtlCol="0"/>
          <a:lstStyle/>
          <a:p>
            <a:endParaRPr/>
          </a:p>
        </p:txBody>
      </p:sp>
      <p:sp>
        <p:nvSpPr>
          <p:cNvPr id="10" name="object 4">
            <a:extLst>
              <a:ext uri="{FF2B5EF4-FFF2-40B4-BE49-F238E27FC236}">
                <a16:creationId xmlns:a16="http://schemas.microsoft.com/office/drawing/2014/main" id="{0D9802FD-217E-3E87-4081-5C9479560022}"/>
              </a:ext>
            </a:extLst>
          </p:cNvPr>
          <p:cNvSpPr/>
          <p:nvPr userDrawn="1"/>
        </p:nvSpPr>
        <p:spPr>
          <a:xfrm>
            <a:off x="16915820" y="0"/>
            <a:ext cx="2250440" cy="852169"/>
          </a:xfrm>
          <a:custGeom>
            <a:avLst/>
            <a:gdLst/>
            <a:ahLst/>
            <a:cxnLst/>
            <a:rect l="l" t="t" r="r" b="b"/>
            <a:pathLst>
              <a:path w="2250440" h="852169">
                <a:moveTo>
                  <a:pt x="1956091" y="0"/>
                </a:moveTo>
                <a:lnTo>
                  <a:pt x="295173" y="0"/>
                </a:lnTo>
                <a:lnTo>
                  <a:pt x="30532" y="144852"/>
                </a:lnTo>
                <a:lnTo>
                  <a:pt x="7597" y="167279"/>
                </a:lnTo>
                <a:lnTo>
                  <a:pt x="0" y="195933"/>
                </a:lnTo>
                <a:lnTo>
                  <a:pt x="0" y="196292"/>
                </a:lnTo>
                <a:lnTo>
                  <a:pt x="30532" y="247373"/>
                </a:lnTo>
                <a:lnTo>
                  <a:pt x="1026292" y="827910"/>
                </a:lnTo>
                <a:lnTo>
                  <a:pt x="1070932" y="845751"/>
                </a:lnTo>
                <a:lnTo>
                  <a:pt x="1118044" y="851697"/>
                </a:lnTo>
                <a:lnTo>
                  <a:pt x="1165155" y="845751"/>
                </a:lnTo>
                <a:lnTo>
                  <a:pt x="1209795" y="827910"/>
                </a:lnTo>
                <a:lnTo>
                  <a:pt x="2219628" y="250189"/>
                </a:lnTo>
                <a:lnTo>
                  <a:pt x="2242563" y="227762"/>
                </a:lnTo>
                <a:lnTo>
                  <a:pt x="2250193" y="198986"/>
                </a:lnTo>
                <a:lnTo>
                  <a:pt x="2242563" y="170096"/>
                </a:lnTo>
                <a:lnTo>
                  <a:pt x="2219628" y="147669"/>
                </a:lnTo>
                <a:lnTo>
                  <a:pt x="1956091" y="0"/>
                </a:lnTo>
                <a:close/>
              </a:path>
            </a:pathLst>
          </a:custGeom>
          <a:solidFill>
            <a:srgbClr val="FFFFFF">
              <a:alpha val="69999"/>
            </a:srgbClr>
          </a:solidFill>
        </p:spPr>
        <p:txBody>
          <a:bodyPr wrap="square" lIns="0" tIns="0" rIns="0" bIns="0" rtlCol="0"/>
          <a:lstStyle/>
          <a:p>
            <a:endParaRPr/>
          </a:p>
        </p:txBody>
      </p:sp>
    </p:spTree>
    <p:extLst>
      <p:ext uri="{BB962C8B-B14F-4D97-AF65-F5344CB8AC3E}">
        <p14:creationId xmlns:p14="http://schemas.microsoft.com/office/powerpoint/2010/main" val="276897214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4900" b="0" i="0">
                <a:solidFill>
                  <a:srgbClr val="2B0A3D"/>
                </a:solidFill>
                <a:latin typeface="Ubuntu Light"/>
                <a:cs typeface="Ubuntu Light"/>
              </a:defRPr>
            </a:lvl1pPr>
          </a:lstStyle>
          <a:p>
            <a:endParaRPr/>
          </a:p>
        </p:txBody>
      </p:sp>
      <p:sp>
        <p:nvSpPr>
          <p:cNvPr id="3" name="Holder 3"/>
          <p:cNvSpPr>
            <a:spLocks noGrp="1"/>
          </p:cNvSpPr>
          <p:nvPr>
            <p:ph type="ftr" sz="quarter" idx="5"/>
          </p:nvPr>
        </p:nvSpPr>
        <p:spPr/>
        <p:txBody>
          <a:bodyPr lIns="0" tIns="0" rIns="0" bIns="0"/>
          <a:lstStyle>
            <a:lvl1pPr>
              <a:defRPr sz="1300" b="0" i="0">
                <a:solidFill>
                  <a:srgbClr val="808080"/>
                </a:solidFill>
                <a:latin typeface="Ubuntu Light"/>
                <a:cs typeface="Ubuntu Light"/>
              </a:defRPr>
            </a:lvl1pPr>
          </a:lstStyle>
          <a:p>
            <a:pPr marL="26034">
              <a:lnSpc>
                <a:spcPct val="100000"/>
              </a:lnSpc>
              <a:spcBef>
                <a:spcPts val="30"/>
              </a:spcBef>
            </a:pPr>
            <a:r>
              <a:rPr>
                <a:solidFill>
                  <a:srgbClr val="666666"/>
                </a:solidFill>
              </a:rPr>
              <a:t>Public</a:t>
            </a:r>
            <a:r>
              <a:rPr spc="-40">
                <a:solidFill>
                  <a:srgbClr val="666666"/>
                </a:solidFill>
              </a:rPr>
              <a:t> </a:t>
            </a:r>
            <a:r>
              <a:rPr>
                <a:solidFill>
                  <a:srgbClr val="666666"/>
                </a:solidFill>
              </a:rPr>
              <a:t>©</a:t>
            </a:r>
            <a:r>
              <a:rPr spc="-40">
                <a:solidFill>
                  <a:srgbClr val="666666"/>
                </a:solidFill>
              </a:rPr>
              <a:t> </a:t>
            </a:r>
            <a:r>
              <a:rPr>
                <a:solidFill>
                  <a:srgbClr val="666666"/>
                </a:solidFill>
              </a:rPr>
              <a:t>2022</a:t>
            </a:r>
            <a:r>
              <a:rPr spc="-40">
                <a:solidFill>
                  <a:srgbClr val="666666"/>
                </a:solidFill>
              </a:rPr>
              <a:t> </a:t>
            </a:r>
            <a:r>
              <a:rPr spc="-10">
                <a:solidFill>
                  <a:srgbClr val="666666"/>
                </a:solidFill>
              </a:rPr>
              <a:t>Sogeti.</a:t>
            </a:r>
            <a:r>
              <a:rPr spc="-35">
                <a:solidFill>
                  <a:srgbClr val="666666"/>
                </a:solidFill>
              </a:rPr>
              <a:t> </a:t>
            </a:r>
            <a:r>
              <a:rPr>
                <a:solidFill>
                  <a:srgbClr val="666666"/>
                </a:solidFill>
              </a:rPr>
              <a:t>All</a:t>
            </a:r>
            <a:r>
              <a:rPr spc="-40">
                <a:solidFill>
                  <a:srgbClr val="666666"/>
                </a:solidFill>
              </a:rPr>
              <a:t> </a:t>
            </a:r>
            <a:r>
              <a:rPr>
                <a:solidFill>
                  <a:srgbClr val="666666"/>
                </a:solidFill>
              </a:rPr>
              <a:t>rights</a:t>
            </a:r>
            <a:r>
              <a:rPr spc="-40">
                <a:solidFill>
                  <a:srgbClr val="666666"/>
                </a:solidFill>
              </a:rPr>
              <a:t> </a:t>
            </a:r>
            <a:r>
              <a:rPr spc="-10">
                <a:solidFill>
                  <a:srgbClr val="666666"/>
                </a:solidFill>
              </a:rPr>
              <a:t>reserved</a:t>
            </a:r>
          </a:p>
        </p:txBody>
      </p:sp>
      <p:sp>
        <p:nvSpPr>
          <p:cNvPr id="4" name="Holder 4"/>
          <p:cNvSpPr>
            <a:spLocks noGrp="1"/>
          </p:cNvSpPr>
          <p:nvPr>
            <p:ph type="dt" sz="half" idx="6"/>
          </p:nvPr>
        </p:nvSpPr>
        <p:spPr>
          <a:xfrm>
            <a:off x="510835" y="10759212"/>
            <a:ext cx="1314619" cy="214870"/>
          </a:xfrm>
          <a:prstGeom prst="rect">
            <a:avLst/>
          </a:prstGeom>
        </p:spPr>
        <p:txBody>
          <a:bodyPr lIns="0" tIns="0" rIns="0" bIns="0"/>
          <a:lstStyle>
            <a:lvl1pPr>
              <a:defRPr sz="1300" b="0" i="0">
                <a:solidFill>
                  <a:srgbClr val="808080"/>
                </a:solidFill>
                <a:latin typeface="Ubuntu Light"/>
                <a:cs typeface="Ubuntu Light"/>
              </a:defRPr>
            </a:lvl1pPr>
          </a:lstStyle>
          <a:p>
            <a:pPr marL="12700">
              <a:lnSpc>
                <a:spcPct val="100000"/>
              </a:lnSpc>
              <a:spcBef>
                <a:spcPts val="30"/>
              </a:spcBef>
            </a:pPr>
            <a:r>
              <a:rPr spc="-10"/>
              <a:t>Presentation</a:t>
            </a:r>
            <a:r>
              <a:t> </a:t>
            </a:r>
            <a:r>
              <a:rPr spc="-10"/>
              <a:t>title</a:t>
            </a:r>
          </a:p>
        </p:txBody>
      </p:sp>
      <p:sp>
        <p:nvSpPr>
          <p:cNvPr id="5" name="Holder 5"/>
          <p:cNvSpPr>
            <a:spLocks noGrp="1"/>
          </p:cNvSpPr>
          <p:nvPr>
            <p:ph type="sldNum" sz="quarter" idx="7"/>
          </p:nvPr>
        </p:nvSpPr>
        <p:spPr>
          <a:xfrm>
            <a:off x="14474953" y="10517696"/>
            <a:ext cx="4623943" cy="565467"/>
          </a:xfrm>
          <a:prstGeom prst="rect">
            <a:avLst/>
          </a:prstGeom>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27113579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defRPr sz="1300" b="0" i="0">
                <a:solidFill>
                  <a:srgbClr val="808080"/>
                </a:solidFill>
                <a:latin typeface="Ubuntu Light"/>
                <a:cs typeface="Ubuntu Light"/>
              </a:defRPr>
            </a:lvl1pPr>
          </a:lstStyle>
          <a:p>
            <a:pPr marL="26034">
              <a:lnSpc>
                <a:spcPct val="100000"/>
              </a:lnSpc>
              <a:spcBef>
                <a:spcPts val="30"/>
              </a:spcBef>
            </a:pPr>
            <a:r>
              <a:rPr>
                <a:solidFill>
                  <a:srgbClr val="666666"/>
                </a:solidFill>
              </a:rPr>
              <a:t>Public</a:t>
            </a:r>
            <a:r>
              <a:rPr spc="-40">
                <a:solidFill>
                  <a:srgbClr val="666666"/>
                </a:solidFill>
              </a:rPr>
              <a:t> </a:t>
            </a:r>
            <a:r>
              <a:rPr>
                <a:solidFill>
                  <a:srgbClr val="666666"/>
                </a:solidFill>
              </a:rPr>
              <a:t>©</a:t>
            </a:r>
            <a:r>
              <a:rPr spc="-40">
                <a:solidFill>
                  <a:srgbClr val="666666"/>
                </a:solidFill>
              </a:rPr>
              <a:t> </a:t>
            </a:r>
            <a:r>
              <a:rPr>
                <a:solidFill>
                  <a:srgbClr val="666666"/>
                </a:solidFill>
              </a:rPr>
              <a:t>2022</a:t>
            </a:r>
            <a:r>
              <a:rPr spc="-40">
                <a:solidFill>
                  <a:srgbClr val="666666"/>
                </a:solidFill>
              </a:rPr>
              <a:t> </a:t>
            </a:r>
            <a:r>
              <a:rPr spc="-10">
                <a:solidFill>
                  <a:srgbClr val="666666"/>
                </a:solidFill>
              </a:rPr>
              <a:t>Sogeti.</a:t>
            </a:r>
            <a:r>
              <a:rPr spc="-35">
                <a:solidFill>
                  <a:srgbClr val="666666"/>
                </a:solidFill>
              </a:rPr>
              <a:t> </a:t>
            </a:r>
            <a:r>
              <a:rPr>
                <a:solidFill>
                  <a:srgbClr val="666666"/>
                </a:solidFill>
              </a:rPr>
              <a:t>All</a:t>
            </a:r>
            <a:r>
              <a:rPr spc="-40">
                <a:solidFill>
                  <a:srgbClr val="666666"/>
                </a:solidFill>
              </a:rPr>
              <a:t> </a:t>
            </a:r>
            <a:r>
              <a:rPr>
                <a:solidFill>
                  <a:srgbClr val="666666"/>
                </a:solidFill>
              </a:rPr>
              <a:t>rights</a:t>
            </a:r>
            <a:r>
              <a:rPr spc="-40">
                <a:solidFill>
                  <a:srgbClr val="666666"/>
                </a:solidFill>
              </a:rPr>
              <a:t> </a:t>
            </a:r>
            <a:r>
              <a:rPr spc="-10">
                <a:solidFill>
                  <a:srgbClr val="666666"/>
                </a:solidFill>
              </a:rPr>
              <a:t>reserved</a:t>
            </a:r>
          </a:p>
        </p:txBody>
      </p:sp>
      <p:sp>
        <p:nvSpPr>
          <p:cNvPr id="3" name="Holder 3"/>
          <p:cNvSpPr>
            <a:spLocks noGrp="1"/>
          </p:cNvSpPr>
          <p:nvPr>
            <p:ph type="dt" sz="half" idx="6"/>
          </p:nvPr>
        </p:nvSpPr>
        <p:spPr>
          <a:xfrm>
            <a:off x="510835" y="10759212"/>
            <a:ext cx="1314619" cy="214870"/>
          </a:xfrm>
          <a:prstGeom prst="rect">
            <a:avLst/>
          </a:prstGeom>
        </p:spPr>
        <p:txBody>
          <a:bodyPr lIns="0" tIns="0" rIns="0" bIns="0"/>
          <a:lstStyle>
            <a:lvl1pPr>
              <a:defRPr sz="1300" b="0" i="0">
                <a:solidFill>
                  <a:srgbClr val="808080"/>
                </a:solidFill>
                <a:latin typeface="Ubuntu Light"/>
                <a:cs typeface="Ubuntu Light"/>
              </a:defRPr>
            </a:lvl1pPr>
          </a:lstStyle>
          <a:p>
            <a:pPr marL="12700">
              <a:lnSpc>
                <a:spcPct val="100000"/>
              </a:lnSpc>
              <a:spcBef>
                <a:spcPts val="30"/>
              </a:spcBef>
            </a:pPr>
            <a:r>
              <a:rPr spc="-10"/>
              <a:t>Presentation</a:t>
            </a:r>
            <a:r>
              <a:t> </a:t>
            </a:r>
            <a:r>
              <a:rPr spc="-10"/>
              <a:t>title</a:t>
            </a:r>
          </a:p>
        </p:txBody>
      </p:sp>
      <p:sp>
        <p:nvSpPr>
          <p:cNvPr id="4" name="Holder 4"/>
          <p:cNvSpPr>
            <a:spLocks noGrp="1"/>
          </p:cNvSpPr>
          <p:nvPr>
            <p:ph type="sldNum" sz="quarter" idx="7"/>
          </p:nvPr>
        </p:nvSpPr>
        <p:spPr>
          <a:xfrm>
            <a:off x="14474953" y="10517696"/>
            <a:ext cx="4623943" cy="565467"/>
          </a:xfrm>
          <a:prstGeom prst="rect">
            <a:avLst/>
          </a:prstGeom>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16408834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5_Title and Content">
    <p:spTree>
      <p:nvGrpSpPr>
        <p:cNvPr id="1" name=""/>
        <p:cNvGrpSpPr/>
        <p:nvPr/>
      </p:nvGrpSpPr>
      <p:grpSpPr>
        <a:xfrm>
          <a:off x="0" y="0"/>
          <a:ext cx="0" cy="0"/>
          <a:chOff x="0" y="0"/>
          <a:chExt cx="0" cy="0"/>
        </a:xfrm>
      </p:grpSpPr>
      <p:sp>
        <p:nvSpPr>
          <p:cNvPr id="10" name="Rectángulo 9">
            <a:extLst>
              <a:ext uri="{FF2B5EF4-FFF2-40B4-BE49-F238E27FC236}">
                <a16:creationId xmlns:a16="http://schemas.microsoft.com/office/drawing/2014/main" id="{E7BF236D-D0D3-10D7-3261-21E349035258}"/>
              </a:ext>
            </a:extLst>
          </p:cNvPr>
          <p:cNvSpPr/>
          <p:nvPr userDrawn="1"/>
        </p:nvSpPr>
        <p:spPr>
          <a:xfrm>
            <a:off x="-43421" y="0"/>
            <a:ext cx="20147521" cy="113284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6" name="Imagen 5" descr="Imagen que contiene edificio, caminando, aeropuerto, tabla&#10;&#10;Descripción generada automáticamente">
            <a:extLst>
              <a:ext uri="{FF2B5EF4-FFF2-40B4-BE49-F238E27FC236}">
                <a16:creationId xmlns:a16="http://schemas.microsoft.com/office/drawing/2014/main" id="{7E7A7441-8F2D-F718-AD73-08797565F899}"/>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43421" y="0"/>
            <a:ext cx="10476470" cy="11328400"/>
          </a:xfrm>
          <a:prstGeom prst="rect">
            <a:avLst/>
          </a:prstGeom>
        </p:spPr>
      </p:pic>
      <p:sp>
        <p:nvSpPr>
          <p:cNvPr id="4" name="Holder 4"/>
          <p:cNvSpPr>
            <a:spLocks noGrp="1"/>
          </p:cNvSpPr>
          <p:nvPr>
            <p:ph type="ftr" sz="quarter" idx="5"/>
          </p:nvPr>
        </p:nvSpPr>
        <p:spPr>
          <a:xfrm>
            <a:off x="16647741" y="10759212"/>
            <a:ext cx="2962677" cy="200055"/>
          </a:xfrm>
          <a:prstGeom prst="rect">
            <a:avLst/>
          </a:prstGeom>
        </p:spPr>
        <p:txBody>
          <a:bodyPr lIns="0" tIns="0" rIns="0" bIns="0"/>
          <a:lstStyle>
            <a:lvl1pPr>
              <a:defRPr sz="1300" b="0" i="0">
                <a:solidFill>
                  <a:schemeClr val="bg1"/>
                </a:solidFill>
                <a:latin typeface="Ubuntu Light"/>
                <a:cs typeface="Ubuntu Light"/>
              </a:defRPr>
            </a:lvl1pPr>
          </a:lstStyle>
          <a:p>
            <a:pPr marL="26034">
              <a:spcBef>
                <a:spcPts val="30"/>
              </a:spcBef>
            </a:pPr>
            <a:r>
              <a:rPr lang="es-ES" err="1"/>
              <a:t>Public</a:t>
            </a:r>
            <a:r>
              <a:rPr lang="es-ES" spc="-40"/>
              <a:t> </a:t>
            </a:r>
            <a:r>
              <a:rPr lang="es-ES"/>
              <a:t>©</a:t>
            </a:r>
            <a:r>
              <a:rPr lang="es-ES" spc="-40"/>
              <a:t> </a:t>
            </a:r>
            <a:r>
              <a:rPr lang="es-ES"/>
              <a:t>2023</a:t>
            </a:r>
            <a:r>
              <a:rPr lang="es-ES" spc="-40"/>
              <a:t> </a:t>
            </a:r>
            <a:r>
              <a:rPr lang="es-ES" spc="-10"/>
              <a:t>Sogeti.</a:t>
            </a:r>
            <a:r>
              <a:rPr lang="es-ES" spc="-35"/>
              <a:t> </a:t>
            </a:r>
            <a:r>
              <a:rPr lang="es-ES" err="1"/>
              <a:t>All</a:t>
            </a:r>
            <a:r>
              <a:rPr lang="es-ES" spc="-40"/>
              <a:t> </a:t>
            </a:r>
            <a:r>
              <a:rPr lang="es-ES" err="1"/>
              <a:t>rights</a:t>
            </a:r>
            <a:r>
              <a:rPr lang="es-ES" spc="-40"/>
              <a:t> </a:t>
            </a:r>
            <a:r>
              <a:rPr lang="es-ES" spc="-10" err="1"/>
              <a:t>reserved</a:t>
            </a:r>
            <a:endParaRPr lang="es-ES" spc="-10"/>
          </a:p>
        </p:txBody>
      </p:sp>
      <p:sp>
        <p:nvSpPr>
          <p:cNvPr id="2" name="CuadroTexto 1">
            <a:extLst>
              <a:ext uri="{FF2B5EF4-FFF2-40B4-BE49-F238E27FC236}">
                <a16:creationId xmlns:a16="http://schemas.microsoft.com/office/drawing/2014/main" id="{72E5CF79-7DA3-E21E-3060-87CB44907F25}"/>
              </a:ext>
            </a:extLst>
          </p:cNvPr>
          <p:cNvSpPr txBox="1"/>
          <p:nvPr userDrawn="1"/>
        </p:nvSpPr>
        <p:spPr>
          <a:xfrm>
            <a:off x="755650" y="10845800"/>
            <a:ext cx="7772400" cy="292388"/>
          </a:xfrm>
          <a:prstGeom prst="rect">
            <a:avLst/>
          </a:prstGeom>
          <a:noFill/>
        </p:spPr>
        <p:txBody>
          <a:bodyPr wrap="square" rtlCol="0">
            <a:spAutoFit/>
          </a:bodyPr>
          <a:lstStyle/>
          <a:p>
            <a:r>
              <a:rPr lang="es-ES" sz="1300" b="0" i="0">
                <a:solidFill>
                  <a:schemeClr val="bg1"/>
                </a:solidFill>
                <a:latin typeface="Ubuntu Medium" panose="020B0504030602030204" pitchFamily="34" charset="0"/>
              </a:rPr>
              <a:t>#FlourishingDigitalBusinessWithQuality </a:t>
            </a:r>
            <a:r>
              <a:rPr lang="es-ES" sz="1300" b="1" i="0">
                <a:solidFill>
                  <a:schemeClr val="bg1"/>
                </a:solidFill>
                <a:latin typeface="Ubuntu" panose="020B0504030602030204" pitchFamily="34" charset="0"/>
              </a:rPr>
              <a:t> ·</a:t>
            </a:r>
            <a:r>
              <a:rPr lang="es-ES" sz="1300" b="0" i="0">
                <a:solidFill>
                  <a:schemeClr val="bg1"/>
                </a:solidFill>
                <a:latin typeface="Ubuntu Medium" panose="020B0504030602030204" pitchFamily="34" charset="0"/>
              </a:rPr>
              <a:t>   </a:t>
            </a:r>
            <a:r>
              <a:rPr lang="es-ES" sz="1300" b="0" i="0" err="1">
                <a:solidFill>
                  <a:schemeClr val="bg1"/>
                </a:solidFill>
                <a:latin typeface="Ubuntu Medium" panose="020B0504030602030204" pitchFamily="34" charset="0"/>
              </a:rPr>
              <a:t>by</a:t>
            </a:r>
            <a:r>
              <a:rPr lang="es-ES" sz="1300" b="0" i="0">
                <a:solidFill>
                  <a:schemeClr val="bg1"/>
                </a:solidFill>
                <a:latin typeface="Ubuntu Medium" panose="020B0504030602030204" pitchFamily="34" charset="0"/>
              </a:rPr>
              <a:t> </a:t>
            </a:r>
            <a:r>
              <a:rPr lang="es-ES" sz="1300" b="1" i="0">
                <a:solidFill>
                  <a:schemeClr val="bg1"/>
                </a:solidFill>
                <a:latin typeface="Ubuntu" panose="020B0504030602030204" pitchFamily="34" charset="0"/>
              </a:rPr>
              <a:t>Sogeti España</a:t>
            </a:r>
          </a:p>
        </p:txBody>
      </p:sp>
      <p:sp>
        <p:nvSpPr>
          <p:cNvPr id="5" name="Forma libre 4">
            <a:extLst>
              <a:ext uri="{FF2B5EF4-FFF2-40B4-BE49-F238E27FC236}">
                <a16:creationId xmlns:a16="http://schemas.microsoft.com/office/drawing/2014/main" id="{FBAABD7F-C513-9B40-6AE2-E43DB3944CCE}"/>
              </a:ext>
            </a:extLst>
          </p:cNvPr>
          <p:cNvSpPr/>
          <p:nvPr userDrawn="1"/>
        </p:nvSpPr>
        <p:spPr>
          <a:xfrm flipV="1">
            <a:off x="755650" y="10384024"/>
            <a:ext cx="2362200" cy="385576"/>
          </a:xfrm>
          <a:custGeom>
            <a:avLst/>
            <a:gdLst/>
            <a:ahLst/>
            <a:cxnLst/>
            <a:rect l="l" t="t" r="r" b="b"/>
            <a:pathLst>
              <a:path w="4876802" h="796029">
                <a:moveTo>
                  <a:pt x="2572782" y="405299"/>
                </a:moveTo>
                <a:cubicBezTo>
                  <a:pt x="2589609" y="405299"/>
                  <a:pt x="2601809" y="398820"/>
                  <a:pt x="2609382" y="385863"/>
                </a:cubicBezTo>
                <a:cubicBezTo>
                  <a:pt x="2616954" y="372906"/>
                  <a:pt x="2620740" y="355826"/>
                  <a:pt x="2620740" y="334623"/>
                </a:cubicBezTo>
                <a:cubicBezTo>
                  <a:pt x="2620740" y="313420"/>
                  <a:pt x="2616618" y="296256"/>
                  <a:pt x="2608372" y="283131"/>
                </a:cubicBezTo>
                <a:cubicBezTo>
                  <a:pt x="2600126" y="270006"/>
                  <a:pt x="2587927" y="263443"/>
                  <a:pt x="2571772" y="263443"/>
                </a:cubicBezTo>
                <a:cubicBezTo>
                  <a:pt x="2554945" y="263443"/>
                  <a:pt x="2542744" y="270006"/>
                  <a:pt x="2535172" y="283131"/>
                </a:cubicBezTo>
                <a:cubicBezTo>
                  <a:pt x="2527600" y="296256"/>
                  <a:pt x="2523814" y="313420"/>
                  <a:pt x="2523814" y="334623"/>
                </a:cubicBezTo>
                <a:cubicBezTo>
                  <a:pt x="2523814" y="355826"/>
                  <a:pt x="2527937" y="372906"/>
                  <a:pt x="2536182" y="385863"/>
                </a:cubicBezTo>
                <a:cubicBezTo>
                  <a:pt x="2544428" y="398820"/>
                  <a:pt x="2556628" y="405299"/>
                  <a:pt x="2572782" y="405299"/>
                </a:cubicBezTo>
                <a:close/>
                <a:moveTo>
                  <a:pt x="1810782" y="405299"/>
                </a:moveTo>
                <a:cubicBezTo>
                  <a:pt x="1827610" y="405299"/>
                  <a:pt x="1839810" y="398820"/>
                  <a:pt x="1847382" y="385863"/>
                </a:cubicBezTo>
                <a:cubicBezTo>
                  <a:pt x="1854954" y="372906"/>
                  <a:pt x="1858740" y="355826"/>
                  <a:pt x="1858740" y="334623"/>
                </a:cubicBezTo>
                <a:cubicBezTo>
                  <a:pt x="1858740" y="313420"/>
                  <a:pt x="1854618" y="296256"/>
                  <a:pt x="1846372" y="283131"/>
                </a:cubicBezTo>
                <a:cubicBezTo>
                  <a:pt x="1838127" y="270006"/>
                  <a:pt x="1825927" y="263443"/>
                  <a:pt x="1809772" y="263443"/>
                </a:cubicBezTo>
                <a:cubicBezTo>
                  <a:pt x="1792945" y="263443"/>
                  <a:pt x="1780745" y="270006"/>
                  <a:pt x="1773173" y="283131"/>
                </a:cubicBezTo>
                <a:cubicBezTo>
                  <a:pt x="1765600" y="296256"/>
                  <a:pt x="1761814" y="313420"/>
                  <a:pt x="1761814" y="334623"/>
                </a:cubicBezTo>
                <a:cubicBezTo>
                  <a:pt x="1761814" y="355826"/>
                  <a:pt x="1765937" y="372906"/>
                  <a:pt x="1774182" y="385863"/>
                </a:cubicBezTo>
                <a:cubicBezTo>
                  <a:pt x="1782428" y="398820"/>
                  <a:pt x="1794628" y="405299"/>
                  <a:pt x="1810782" y="405299"/>
                </a:cubicBezTo>
                <a:close/>
                <a:moveTo>
                  <a:pt x="810657" y="405299"/>
                </a:moveTo>
                <a:cubicBezTo>
                  <a:pt x="827485" y="405299"/>
                  <a:pt x="839684" y="398820"/>
                  <a:pt x="847257" y="385863"/>
                </a:cubicBezTo>
                <a:cubicBezTo>
                  <a:pt x="854829" y="372906"/>
                  <a:pt x="858615" y="355826"/>
                  <a:pt x="858616" y="334623"/>
                </a:cubicBezTo>
                <a:cubicBezTo>
                  <a:pt x="858615" y="313420"/>
                  <a:pt x="854493" y="296256"/>
                  <a:pt x="846247" y="283131"/>
                </a:cubicBezTo>
                <a:cubicBezTo>
                  <a:pt x="838002" y="270006"/>
                  <a:pt x="825802" y="263443"/>
                  <a:pt x="809647" y="263443"/>
                </a:cubicBezTo>
                <a:cubicBezTo>
                  <a:pt x="792820" y="263443"/>
                  <a:pt x="780620" y="270006"/>
                  <a:pt x="773048" y="283131"/>
                </a:cubicBezTo>
                <a:cubicBezTo>
                  <a:pt x="765475" y="296256"/>
                  <a:pt x="761689" y="313420"/>
                  <a:pt x="761689" y="334623"/>
                </a:cubicBezTo>
                <a:cubicBezTo>
                  <a:pt x="761689" y="355826"/>
                  <a:pt x="765812" y="372906"/>
                  <a:pt x="774057" y="385863"/>
                </a:cubicBezTo>
                <a:cubicBezTo>
                  <a:pt x="782303" y="398820"/>
                  <a:pt x="794503" y="405299"/>
                  <a:pt x="810657" y="405299"/>
                </a:cubicBezTo>
                <a:close/>
                <a:moveTo>
                  <a:pt x="3325256" y="411861"/>
                </a:moveTo>
                <a:cubicBezTo>
                  <a:pt x="3316506" y="411861"/>
                  <a:pt x="3309608" y="408496"/>
                  <a:pt x="3304560" y="401765"/>
                </a:cubicBezTo>
                <a:cubicBezTo>
                  <a:pt x="3299512" y="395034"/>
                  <a:pt x="3296988" y="387125"/>
                  <a:pt x="3296988" y="378038"/>
                </a:cubicBezTo>
                <a:cubicBezTo>
                  <a:pt x="3296988" y="368951"/>
                  <a:pt x="3299512" y="361126"/>
                  <a:pt x="3304560" y="354564"/>
                </a:cubicBezTo>
                <a:cubicBezTo>
                  <a:pt x="3309608" y="348001"/>
                  <a:pt x="3316506" y="344720"/>
                  <a:pt x="3325256" y="344720"/>
                </a:cubicBezTo>
                <a:cubicBezTo>
                  <a:pt x="3333334" y="344720"/>
                  <a:pt x="3339980" y="348001"/>
                  <a:pt x="3345198" y="354564"/>
                </a:cubicBezTo>
                <a:cubicBezTo>
                  <a:pt x="3350414" y="361126"/>
                  <a:pt x="3353022" y="368951"/>
                  <a:pt x="3353022" y="378038"/>
                </a:cubicBezTo>
                <a:cubicBezTo>
                  <a:pt x="3353022" y="387125"/>
                  <a:pt x="3350414" y="395034"/>
                  <a:pt x="3345198" y="401765"/>
                </a:cubicBezTo>
                <a:cubicBezTo>
                  <a:pt x="3339980" y="408496"/>
                  <a:pt x="3333334" y="411861"/>
                  <a:pt x="3325256" y="411861"/>
                </a:cubicBezTo>
                <a:close/>
                <a:moveTo>
                  <a:pt x="2207070" y="453257"/>
                </a:moveTo>
                <a:lnTo>
                  <a:pt x="2207070" y="401765"/>
                </a:lnTo>
                <a:lnTo>
                  <a:pt x="2272697" y="401765"/>
                </a:lnTo>
                <a:lnTo>
                  <a:pt x="2272697" y="314430"/>
                </a:lnTo>
                <a:cubicBezTo>
                  <a:pt x="2272697" y="297939"/>
                  <a:pt x="2274043" y="283299"/>
                  <a:pt x="2276735" y="270510"/>
                </a:cubicBezTo>
                <a:cubicBezTo>
                  <a:pt x="2279428" y="257721"/>
                  <a:pt x="2284055" y="246868"/>
                  <a:pt x="2290618" y="237949"/>
                </a:cubicBezTo>
                <a:cubicBezTo>
                  <a:pt x="2297181" y="229031"/>
                  <a:pt x="2305931" y="222215"/>
                  <a:pt x="2316869" y="217504"/>
                </a:cubicBezTo>
                <a:cubicBezTo>
                  <a:pt x="2327807" y="212792"/>
                  <a:pt x="2341353" y="210436"/>
                  <a:pt x="2357508" y="210436"/>
                </a:cubicBezTo>
                <a:cubicBezTo>
                  <a:pt x="2366931" y="210436"/>
                  <a:pt x="2377280" y="211530"/>
                  <a:pt x="2388554" y="213718"/>
                </a:cubicBezTo>
                <a:cubicBezTo>
                  <a:pt x="2399829" y="215905"/>
                  <a:pt x="2411860" y="220028"/>
                  <a:pt x="2424649" y="226086"/>
                </a:cubicBezTo>
                <a:lnTo>
                  <a:pt x="2416572" y="276063"/>
                </a:lnTo>
                <a:cubicBezTo>
                  <a:pt x="2406475" y="271352"/>
                  <a:pt x="2397388" y="268239"/>
                  <a:pt x="2389312" y="266724"/>
                </a:cubicBezTo>
                <a:cubicBezTo>
                  <a:pt x="2381234" y="265210"/>
                  <a:pt x="2374335" y="264452"/>
                  <a:pt x="2368614" y="264452"/>
                </a:cubicBezTo>
                <a:cubicBezTo>
                  <a:pt x="2356498" y="264452"/>
                  <a:pt x="2347832" y="267902"/>
                  <a:pt x="2342615" y="274801"/>
                </a:cubicBezTo>
                <a:cubicBezTo>
                  <a:pt x="2337398" y="281701"/>
                  <a:pt x="2334790" y="292218"/>
                  <a:pt x="2334790" y="306353"/>
                </a:cubicBezTo>
                <a:lnTo>
                  <a:pt x="2334790" y="453257"/>
                </a:lnTo>
                <a:close/>
                <a:moveTo>
                  <a:pt x="1088092" y="457800"/>
                </a:moveTo>
                <a:cubicBezTo>
                  <a:pt x="1064870" y="457800"/>
                  <a:pt x="1044593" y="455949"/>
                  <a:pt x="1027260" y="452247"/>
                </a:cubicBezTo>
                <a:cubicBezTo>
                  <a:pt x="1009928" y="448545"/>
                  <a:pt x="993016" y="443665"/>
                  <a:pt x="976526" y="437607"/>
                </a:cubicBezTo>
                <a:lnTo>
                  <a:pt x="976526" y="215989"/>
                </a:lnTo>
                <a:lnTo>
                  <a:pt x="1039124" y="215989"/>
                </a:lnTo>
                <a:lnTo>
                  <a:pt x="1039124" y="392173"/>
                </a:lnTo>
                <a:cubicBezTo>
                  <a:pt x="1047874" y="394529"/>
                  <a:pt x="1056456" y="396128"/>
                  <a:pt x="1064870" y="396969"/>
                </a:cubicBezTo>
                <a:cubicBezTo>
                  <a:pt x="1073284" y="397810"/>
                  <a:pt x="1081866" y="398231"/>
                  <a:pt x="1090616" y="398231"/>
                </a:cubicBezTo>
                <a:cubicBezTo>
                  <a:pt x="1094318" y="398231"/>
                  <a:pt x="1098861" y="398063"/>
                  <a:pt x="1104246" y="397726"/>
                </a:cubicBezTo>
                <a:cubicBezTo>
                  <a:pt x="1109631" y="397390"/>
                  <a:pt x="1115184" y="396801"/>
                  <a:pt x="1120905" y="395959"/>
                </a:cubicBezTo>
                <a:cubicBezTo>
                  <a:pt x="1126627" y="395118"/>
                  <a:pt x="1132264" y="394192"/>
                  <a:pt x="1137817" y="393183"/>
                </a:cubicBezTo>
                <a:cubicBezTo>
                  <a:pt x="1143370" y="392173"/>
                  <a:pt x="1148166" y="391164"/>
                  <a:pt x="1152205" y="390154"/>
                </a:cubicBezTo>
                <a:lnTo>
                  <a:pt x="1163311" y="447704"/>
                </a:lnTo>
                <a:cubicBezTo>
                  <a:pt x="1157589" y="449723"/>
                  <a:pt x="1151111" y="451322"/>
                  <a:pt x="1143875" y="452500"/>
                </a:cubicBezTo>
                <a:cubicBezTo>
                  <a:pt x="1136639" y="453678"/>
                  <a:pt x="1129487" y="454687"/>
                  <a:pt x="1122420" y="455529"/>
                </a:cubicBezTo>
                <a:cubicBezTo>
                  <a:pt x="1115352" y="456370"/>
                  <a:pt x="1108706" y="456959"/>
                  <a:pt x="1102479" y="457296"/>
                </a:cubicBezTo>
                <a:cubicBezTo>
                  <a:pt x="1096253" y="457632"/>
                  <a:pt x="1091457" y="457800"/>
                  <a:pt x="1088092" y="457800"/>
                </a:cubicBezTo>
                <a:close/>
                <a:moveTo>
                  <a:pt x="2572782" y="459315"/>
                </a:moveTo>
                <a:cubicBezTo>
                  <a:pt x="2556628" y="459315"/>
                  <a:pt x="2541651" y="456370"/>
                  <a:pt x="2527852" y="450480"/>
                </a:cubicBezTo>
                <a:cubicBezTo>
                  <a:pt x="2514054" y="444591"/>
                  <a:pt x="2502190" y="436177"/>
                  <a:pt x="2492262" y="425239"/>
                </a:cubicBezTo>
                <a:cubicBezTo>
                  <a:pt x="2482334" y="414301"/>
                  <a:pt x="2474594" y="401176"/>
                  <a:pt x="2469040" y="385863"/>
                </a:cubicBezTo>
                <a:cubicBezTo>
                  <a:pt x="2463487" y="370550"/>
                  <a:pt x="2460711" y="353638"/>
                  <a:pt x="2460711" y="335128"/>
                </a:cubicBezTo>
                <a:cubicBezTo>
                  <a:pt x="2460711" y="316281"/>
                  <a:pt x="2463403" y="299201"/>
                  <a:pt x="2468788" y="283888"/>
                </a:cubicBezTo>
                <a:cubicBezTo>
                  <a:pt x="2474173" y="268575"/>
                  <a:pt x="2481829" y="255366"/>
                  <a:pt x="2491758" y="244259"/>
                </a:cubicBezTo>
                <a:cubicBezTo>
                  <a:pt x="2501686" y="233153"/>
                  <a:pt x="2513465" y="224571"/>
                  <a:pt x="2527095" y="218513"/>
                </a:cubicBezTo>
                <a:cubicBezTo>
                  <a:pt x="2540726" y="212455"/>
                  <a:pt x="2555954" y="209427"/>
                  <a:pt x="2572782" y="209427"/>
                </a:cubicBezTo>
                <a:cubicBezTo>
                  <a:pt x="2589609" y="209427"/>
                  <a:pt x="2604838" y="212455"/>
                  <a:pt x="2618468" y="218513"/>
                </a:cubicBezTo>
                <a:cubicBezTo>
                  <a:pt x="2632098" y="224571"/>
                  <a:pt x="2643794" y="233153"/>
                  <a:pt x="2653554" y="244259"/>
                </a:cubicBezTo>
                <a:cubicBezTo>
                  <a:pt x="2663314" y="255366"/>
                  <a:pt x="2670886" y="268575"/>
                  <a:pt x="2676271" y="283888"/>
                </a:cubicBezTo>
                <a:cubicBezTo>
                  <a:pt x="2681656" y="299201"/>
                  <a:pt x="2684348" y="316281"/>
                  <a:pt x="2684348" y="335128"/>
                </a:cubicBezTo>
                <a:cubicBezTo>
                  <a:pt x="2684348" y="353638"/>
                  <a:pt x="2681656" y="370550"/>
                  <a:pt x="2676271" y="385863"/>
                </a:cubicBezTo>
                <a:cubicBezTo>
                  <a:pt x="2670886" y="401176"/>
                  <a:pt x="2663230" y="414301"/>
                  <a:pt x="2653302" y="425239"/>
                </a:cubicBezTo>
                <a:cubicBezTo>
                  <a:pt x="2643373" y="436177"/>
                  <a:pt x="2631594" y="444591"/>
                  <a:pt x="2617964" y="450480"/>
                </a:cubicBezTo>
                <a:cubicBezTo>
                  <a:pt x="2604334" y="456370"/>
                  <a:pt x="2589273" y="459315"/>
                  <a:pt x="2572782" y="459315"/>
                </a:cubicBezTo>
                <a:close/>
                <a:moveTo>
                  <a:pt x="1810782" y="459315"/>
                </a:moveTo>
                <a:cubicBezTo>
                  <a:pt x="1794628" y="459315"/>
                  <a:pt x="1779651" y="456370"/>
                  <a:pt x="1765853" y="450480"/>
                </a:cubicBezTo>
                <a:cubicBezTo>
                  <a:pt x="1752054" y="444591"/>
                  <a:pt x="1740191" y="436177"/>
                  <a:pt x="1730262" y="425239"/>
                </a:cubicBezTo>
                <a:cubicBezTo>
                  <a:pt x="1720334" y="414301"/>
                  <a:pt x="1712594" y="401176"/>
                  <a:pt x="1707040" y="385863"/>
                </a:cubicBezTo>
                <a:cubicBezTo>
                  <a:pt x="1701488" y="370550"/>
                  <a:pt x="1698711" y="353638"/>
                  <a:pt x="1698711" y="335128"/>
                </a:cubicBezTo>
                <a:cubicBezTo>
                  <a:pt x="1698711" y="316281"/>
                  <a:pt x="1701403" y="299201"/>
                  <a:pt x="1706788" y="283888"/>
                </a:cubicBezTo>
                <a:cubicBezTo>
                  <a:pt x="1712173" y="268575"/>
                  <a:pt x="1719829" y="255366"/>
                  <a:pt x="1729758" y="244259"/>
                </a:cubicBezTo>
                <a:cubicBezTo>
                  <a:pt x="1739686" y="233153"/>
                  <a:pt x="1751465" y="224571"/>
                  <a:pt x="1765095" y="218513"/>
                </a:cubicBezTo>
                <a:cubicBezTo>
                  <a:pt x="1778726" y="212455"/>
                  <a:pt x="1793954" y="209427"/>
                  <a:pt x="1810782" y="209427"/>
                </a:cubicBezTo>
                <a:cubicBezTo>
                  <a:pt x="1827610" y="209427"/>
                  <a:pt x="1842838" y="212455"/>
                  <a:pt x="1856469" y="218513"/>
                </a:cubicBezTo>
                <a:cubicBezTo>
                  <a:pt x="1870099" y="224571"/>
                  <a:pt x="1881794" y="233153"/>
                  <a:pt x="1891554" y="244259"/>
                </a:cubicBezTo>
                <a:cubicBezTo>
                  <a:pt x="1901314" y="255366"/>
                  <a:pt x="1908886" y="268575"/>
                  <a:pt x="1914271" y="283888"/>
                </a:cubicBezTo>
                <a:cubicBezTo>
                  <a:pt x="1919656" y="299201"/>
                  <a:pt x="1922348" y="316281"/>
                  <a:pt x="1922348" y="335128"/>
                </a:cubicBezTo>
                <a:cubicBezTo>
                  <a:pt x="1922348" y="353638"/>
                  <a:pt x="1919656" y="370550"/>
                  <a:pt x="1914271" y="385863"/>
                </a:cubicBezTo>
                <a:cubicBezTo>
                  <a:pt x="1908886" y="401176"/>
                  <a:pt x="1901230" y="414301"/>
                  <a:pt x="1891302" y="425239"/>
                </a:cubicBezTo>
                <a:cubicBezTo>
                  <a:pt x="1881374" y="436177"/>
                  <a:pt x="1869594" y="444591"/>
                  <a:pt x="1855964" y="450480"/>
                </a:cubicBezTo>
                <a:cubicBezTo>
                  <a:pt x="1842334" y="456370"/>
                  <a:pt x="1827273" y="459315"/>
                  <a:pt x="1810782" y="459315"/>
                </a:cubicBezTo>
                <a:close/>
                <a:moveTo>
                  <a:pt x="810657" y="459315"/>
                </a:moveTo>
                <a:cubicBezTo>
                  <a:pt x="794503" y="459315"/>
                  <a:pt x="779526" y="456370"/>
                  <a:pt x="765728" y="450480"/>
                </a:cubicBezTo>
                <a:cubicBezTo>
                  <a:pt x="751929" y="444591"/>
                  <a:pt x="740066" y="436177"/>
                  <a:pt x="730138" y="425239"/>
                </a:cubicBezTo>
                <a:cubicBezTo>
                  <a:pt x="720209" y="414301"/>
                  <a:pt x="712469" y="401176"/>
                  <a:pt x="706916" y="385863"/>
                </a:cubicBezTo>
                <a:cubicBezTo>
                  <a:pt x="701362" y="370550"/>
                  <a:pt x="698586" y="353638"/>
                  <a:pt x="698586" y="335128"/>
                </a:cubicBezTo>
                <a:cubicBezTo>
                  <a:pt x="698586" y="316281"/>
                  <a:pt x="701278" y="299201"/>
                  <a:pt x="706663" y="283888"/>
                </a:cubicBezTo>
                <a:cubicBezTo>
                  <a:pt x="712048" y="268575"/>
                  <a:pt x="719704" y="255366"/>
                  <a:pt x="729633" y="244259"/>
                </a:cubicBezTo>
                <a:cubicBezTo>
                  <a:pt x="739561" y="233153"/>
                  <a:pt x="751340" y="224571"/>
                  <a:pt x="764970" y="218513"/>
                </a:cubicBezTo>
                <a:cubicBezTo>
                  <a:pt x="778601" y="212455"/>
                  <a:pt x="793830" y="209427"/>
                  <a:pt x="810657" y="209427"/>
                </a:cubicBezTo>
                <a:cubicBezTo>
                  <a:pt x="827485" y="209427"/>
                  <a:pt x="842713" y="212455"/>
                  <a:pt x="856344" y="218513"/>
                </a:cubicBezTo>
                <a:cubicBezTo>
                  <a:pt x="869974" y="224571"/>
                  <a:pt x="881669" y="233153"/>
                  <a:pt x="891429" y="244259"/>
                </a:cubicBezTo>
                <a:cubicBezTo>
                  <a:pt x="901189" y="255366"/>
                  <a:pt x="908761" y="268575"/>
                  <a:pt x="914146" y="283888"/>
                </a:cubicBezTo>
                <a:cubicBezTo>
                  <a:pt x="919531" y="299201"/>
                  <a:pt x="922223" y="316281"/>
                  <a:pt x="922223" y="335128"/>
                </a:cubicBezTo>
                <a:cubicBezTo>
                  <a:pt x="922223" y="353638"/>
                  <a:pt x="919531" y="370550"/>
                  <a:pt x="914146" y="385863"/>
                </a:cubicBezTo>
                <a:cubicBezTo>
                  <a:pt x="908761" y="401176"/>
                  <a:pt x="901105" y="414301"/>
                  <a:pt x="891177" y="425239"/>
                </a:cubicBezTo>
                <a:cubicBezTo>
                  <a:pt x="881248" y="436177"/>
                  <a:pt x="869469" y="444591"/>
                  <a:pt x="855839" y="450480"/>
                </a:cubicBezTo>
                <a:cubicBezTo>
                  <a:pt x="842209" y="456370"/>
                  <a:pt x="827148" y="459315"/>
                  <a:pt x="810657" y="459315"/>
                </a:cubicBezTo>
                <a:close/>
                <a:moveTo>
                  <a:pt x="546919" y="477993"/>
                </a:moveTo>
                <a:cubicBezTo>
                  <a:pt x="563410" y="477993"/>
                  <a:pt x="576620" y="474207"/>
                  <a:pt x="586548" y="466635"/>
                </a:cubicBezTo>
                <a:cubicBezTo>
                  <a:pt x="596476" y="459062"/>
                  <a:pt x="601441" y="446189"/>
                  <a:pt x="601441" y="428016"/>
                </a:cubicBezTo>
                <a:cubicBezTo>
                  <a:pt x="601441" y="408832"/>
                  <a:pt x="596392" y="395286"/>
                  <a:pt x="586296" y="387377"/>
                </a:cubicBezTo>
                <a:cubicBezTo>
                  <a:pt x="576199" y="379468"/>
                  <a:pt x="561223" y="375514"/>
                  <a:pt x="541366" y="375514"/>
                </a:cubicBezTo>
                <a:lnTo>
                  <a:pt x="516125" y="375514"/>
                </a:lnTo>
                <a:lnTo>
                  <a:pt x="516125" y="476479"/>
                </a:lnTo>
                <a:cubicBezTo>
                  <a:pt x="519827" y="477152"/>
                  <a:pt x="524960" y="477573"/>
                  <a:pt x="531522" y="477741"/>
                </a:cubicBezTo>
                <a:cubicBezTo>
                  <a:pt x="538085" y="477909"/>
                  <a:pt x="543217" y="477993"/>
                  <a:pt x="546919" y="477993"/>
                </a:cubicBezTo>
                <a:close/>
                <a:moveTo>
                  <a:pt x="3324752" y="482537"/>
                </a:moveTo>
                <a:cubicBezTo>
                  <a:pt x="3341916" y="482537"/>
                  <a:pt x="3354958" y="473198"/>
                  <a:pt x="3363876" y="454519"/>
                </a:cubicBezTo>
                <a:cubicBezTo>
                  <a:pt x="3372794" y="435841"/>
                  <a:pt x="3377254" y="408664"/>
                  <a:pt x="3377254" y="372990"/>
                </a:cubicBezTo>
                <a:cubicBezTo>
                  <a:pt x="3377254" y="336979"/>
                  <a:pt x="3372794" y="309634"/>
                  <a:pt x="3363876" y="290956"/>
                </a:cubicBezTo>
                <a:cubicBezTo>
                  <a:pt x="3354958" y="272277"/>
                  <a:pt x="3341916" y="262938"/>
                  <a:pt x="3324752" y="262938"/>
                </a:cubicBezTo>
                <a:cubicBezTo>
                  <a:pt x="3307924" y="262938"/>
                  <a:pt x="3294968" y="272277"/>
                  <a:pt x="3285880" y="290956"/>
                </a:cubicBezTo>
                <a:cubicBezTo>
                  <a:pt x="3276794" y="309634"/>
                  <a:pt x="3272250" y="336979"/>
                  <a:pt x="3272250" y="372990"/>
                </a:cubicBezTo>
                <a:cubicBezTo>
                  <a:pt x="3272250" y="408664"/>
                  <a:pt x="3276794" y="435841"/>
                  <a:pt x="3285880" y="454519"/>
                </a:cubicBezTo>
                <a:cubicBezTo>
                  <a:pt x="3294968" y="473198"/>
                  <a:pt x="3307924" y="482537"/>
                  <a:pt x="3324752" y="482537"/>
                </a:cubicBezTo>
                <a:close/>
                <a:moveTo>
                  <a:pt x="1323054" y="522923"/>
                </a:moveTo>
                <a:lnTo>
                  <a:pt x="1260961" y="512826"/>
                </a:lnTo>
                <a:lnTo>
                  <a:pt x="1260961" y="453257"/>
                </a:lnTo>
                <a:lnTo>
                  <a:pt x="1206945" y="453257"/>
                </a:lnTo>
                <a:lnTo>
                  <a:pt x="1206945" y="401765"/>
                </a:lnTo>
                <a:lnTo>
                  <a:pt x="1260961" y="401765"/>
                </a:lnTo>
                <a:lnTo>
                  <a:pt x="1260961" y="304334"/>
                </a:lnTo>
                <a:cubicBezTo>
                  <a:pt x="1260961" y="284477"/>
                  <a:pt x="1262980" y="268407"/>
                  <a:pt x="1267019" y="256123"/>
                </a:cubicBezTo>
                <a:cubicBezTo>
                  <a:pt x="1271057" y="243839"/>
                  <a:pt x="1276947" y="234331"/>
                  <a:pt x="1284688" y="227600"/>
                </a:cubicBezTo>
                <a:cubicBezTo>
                  <a:pt x="1292428" y="220869"/>
                  <a:pt x="1301852" y="216326"/>
                  <a:pt x="1312958" y="213970"/>
                </a:cubicBezTo>
                <a:cubicBezTo>
                  <a:pt x="1324064" y="211614"/>
                  <a:pt x="1336853" y="210436"/>
                  <a:pt x="1351325" y="210436"/>
                </a:cubicBezTo>
                <a:cubicBezTo>
                  <a:pt x="1363777" y="210436"/>
                  <a:pt x="1376650" y="211446"/>
                  <a:pt x="1389944" y="213465"/>
                </a:cubicBezTo>
                <a:cubicBezTo>
                  <a:pt x="1403238" y="215484"/>
                  <a:pt x="1415606" y="218850"/>
                  <a:pt x="1427048" y="223562"/>
                </a:cubicBezTo>
                <a:lnTo>
                  <a:pt x="1418466" y="277073"/>
                </a:lnTo>
                <a:cubicBezTo>
                  <a:pt x="1412745" y="274381"/>
                  <a:pt x="1407444" y="272193"/>
                  <a:pt x="1402564" y="270510"/>
                </a:cubicBezTo>
                <a:cubicBezTo>
                  <a:pt x="1397684" y="268828"/>
                  <a:pt x="1392973" y="267566"/>
                  <a:pt x="1388429" y="266724"/>
                </a:cubicBezTo>
                <a:cubicBezTo>
                  <a:pt x="1383886" y="265883"/>
                  <a:pt x="1379174" y="265294"/>
                  <a:pt x="1374294" y="264957"/>
                </a:cubicBezTo>
                <a:cubicBezTo>
                  <a:pt x="1369414" y="264621"/>
                  <a:pt x="1364114" y="264452"/>
                  <a:pt x="1358392" y="264452"/>
                </a:cubicBezTo>
                <a:cubicBezTo>
                  <a:pt x="1353007" y="264452"/>
                  <a:pt x="1348127" y="264957"/>
                  <a:pt x="1343752" y="265967"/>
                </a:cubicBezTo>
                <a:cubicBezTo>
                  <a:pt x="1339377" y="266977"/>
                  <a:pt x="1335675" y="268996"/>
                  <a:pt x="1332646" y="272025"/>
                </a:cubicBezTo>
                <a:cubicBezTo>
                  <a:pt x="1329617" y="275054"/>
                  <a:pt x="1327261" y="279261"/>
                  <a:pt x="1325579" y="284645"/>
                </a:cubicBezTo>
                <a:cubicBezTo>
                  <a:pt x="1323896" y="290030"/>
                  <a:pt x="1323054" y="297098"/>
                  <a:pt x="1323054" y="305848"/>
                </a:cubicBezTo>
                <a:lnTo>
                  <a:pt x="1323054" y="401765"/>
                </a:lnTo>
                <a:lnTo>
                  <a:pt x="1422505" y="401765"/>
                </a:lnTo>
                <a:lnTo>
                  <a:pt x="1422505" y="453257"/>
                </a:lnTo>
                <a:lnTo>
                  <a:pt x="1323054" y="453257"/>
                </a:lnTo>
                <a:close/>
                <a:moveTo>
                  <a:pt x="539852" y="532010"/>
                </a:moveTo>
                <a:cubicBezTo>
                  <a:pt x="534131" y="532010"/>
                  <a:pt x="527568" y="531841"/>
                  <a:pt x="520164" y="531505"/>
                </a:cubicBezTo>
                <a:cubicBezTo>
                  <a:pt x="512760" y="531168"/>
                  <a:pt x="505187" y="530748"/>
                  <a:pt x="497447" y="530243"/>
                </a:cubicBezTo>
                <a:cubicBezTo>
                  <a:pt x="489706" y="529738"/>
                  <a:pt x="482049" y="528981"/>
                  <a:pt x="474477" y="527971"/>
                </a:cubicBezTo>
                <a:cubicBezTo>
                  <a:pt x="466905" y="526961"/>
                  <a:pt x="460090" y="525784"/>
                  <a:pt x="454032" y="524437"/>
                </a:cubicBezTo>
                <a:lnTo>
                  <a:pt x="454032" y="215989"/>
                </a:lnTo>
                <a:lnTo>
                  <a:pt x="516125" y="215989"/>
                </a:lnTo>
                <a:lnTo>
                  <a:pt x="516125" y="321498"/>
                </a:lnTo>
                <a:lnTo>
                  <a:pt x="538337" y="321498"/>
                </a:lnTo>
                <a:cubicBezTo>
                  <a:pt x="578723" y="321498"/>
                  <a:pt x="609938" y="329827"/>
                  <a:pt x="631982" y="346486"/>
                </a:cubicBezTo>
                <a:cubicBezTo>
                  <a:pt x="654026" y="363146"/>
                  <a:pt x="665048" y="390154"/>
                  <a:pt x="665048" y="427511"/>
                </a:cubicBezTo>
                <a:cubicBezTo>
                  <a:pt x="665048" y="464531"/>
                  <a:pt x="654111" y="491203"/>
                  <a:pt x="632235" y="507526"/>
                </a:cubicBezTo>
                <a:cubicBezTo>
                  <a:pt x="610359" y="523848"/>
                  <a:pt x="579565" y="532010"/>
                  <a:pt x="539852" y="532010"/>
                </a:cubicBezTo>
                <a:close/>
                <a:moveTo>
                  <a:pt x="3816452" y="535544"/>
                </a:moveTo>
                <a:cubicBezTo>
                  <a:pt x="3797604" y="535544"/>
                  <a:pt x="3780694" y="532430"/>
                  <a:pt x="3765716" y="526204"/>
                </a:cubicBezTo>
                <a:cubicBezTo>
                  <a:pt x="3750740" y="519978"/>
                  <a:pt x="3738708" y="513836"/>
                  <a:pt x="3729622" y="507778"/>
                </a:cubicBezTo>
                <a:lnTo>
                  <a:pt x="3751834" y="462344"/>
                </a:lnTo>
                <a:cubicBezTo>
                  <a:pt x="3760248" y="468065"/>
                  <a:pt x="3770260" y="472861"/>
                  <a:pt x="3781872" y="476731"/>
                </a:cubicBezTo>
                <a:cubicBezTo>
                  <a:pt x="3793482" y="480602"/>
                  <a:pt x="3805178" y="482537"/>
                  <a:pt x="3816956" y="482537"/>
                </a:cubicBezTo>
                <a:cubicBezTo>
                  <a:pt x="3829072" y="482537"/>
                  <a:pt x="3838580" y="479255"/>
                  <a:pt x="3845480" y="472693"/>
                </a:cubicBezTo>
                <a:cubicBezTo>
                  <a:pt x="3852378" y="466130"/>
                  <a:pt x="3855828" y="457127"/>
                  <a:pt x="3855828" y="445685"/>
                </a:cubicBezTo>
                <a:cubicBezTo>
                  <a:pt x="3855828" y="437944"/>
                  <a:pt x="3854230" y="431550"/>
                  <a:pt x="3851032" y="426501"/>
                </a:cubicBezTo>
                <a:cubicBezTo>
                  <a:pt x="3847836" y="421453"/>
                  <a:pt x="3843712" y="417414"/>
                  <a:pt x="3838664" y="414385"/>
                </a:cubicBezTo>
                <a:cubicBezTo>
                  <a:pt x="3833616" y="411357"/>
                  <a:pt x="3827894" y="409169"/>
                  <a:pt x="3821500" y="407823"/>
                </a:cubicBezTo>
                <a:cubicBezTo>
                  <a:pt x="3815106" y="406477"/>
                  <a:pt x="3808712" y="405803"/>
                  <a:pt x="3802316" y="405803"/>
                </a:cubicBezTo>
                <a:lnTo>
                  <a:pt x="3779094" y="405803"/>
                </a:lnTo>
                <a:lnTo>
                  <a:pt x="3779094" y="354311"/>
                </a:lnTo>
                <a:lnTo>
                  <a:pt x="3798278" y="354311"/>
                </a:lnTo>
                <a:cubicBezTo>
                  <a:pt x="3818470" y="354311"/>
                  <a:pt x="3835130" y="351030"/>
                  <a:pt x="3848256" y="344467"/>
                </a:cubicBezTo>
                <a:cubicBezTo>
                  <a:pt x="3861380" y="337904"/>
                  <a:pt x="3867944" y="326378"/>
                  <a:pt x="3867944" y="309887"/>
                </a:cubicBezTo>
                <a:cubicBezTo>
                  <a:pt x="3867944" y="296425"/>
                  <a:pt x="3863652" y="285150"/>
                  <a:pt x="3855072" y="276063"/>
                </a:cubicBezTo>
                <a:cubicBezTo>
                  <a:pt x="3846488" y="266977"/>
                  <a:pt x="3831596" y="262433"/>
                  <a:pt x="3810394" y="262433"/>
                </a:cubicBezTo>
                <a:cubicBezTo>
                  <a:pt x="3793230" y="262433"/>
                  <a:pt x="3778506" y="264284"/>
                  <a:pt x="3766222" y="267986"/>
                </a:cubicBezTo>
                <a:cubicBezTo>
                  <a:pt x="3753938" y="271688"/>
                  <a:pt x="3743924" y="275222"/>
                  <a:pt x="3736184" y="278588"/>
                </a:cubicBezTo>
                <a:lnTo>
                  <a:pt x="3724068" y="226591"/>
                </a:lnTo>
                <a:cubicBezTo>
                  <a:pt x="3727770" y="224908"/>
                  <a:pt x="3732988" y="223057"/>
                  <a:pt x="3739718" y="221037"/>
                </a:cubicBezTo>
                <a:cubicBezTo>
                  <a:pt x="3746450" y="219018"/>
                  <a:pt x="3753770" y="217167"/>
                  <a:pt x="3761678" y="215484"/>
                </a:cubicBezTo>
                <a:cubicBezTo>
                  <a:pt x="3769588" y="213802"/>
                  <a:pt x="3777832" y="212371"/>
                  <a:pt x="3786414" y="211193"/>
                </a:cubicBezTo>
                <a:cubicBezTo>
                  <a:pt x="3794996" y="210015"/>
                  <a:pt x="3803158" y="209427"/>
                  <a:pt x="3810898" y="209427"/>
                </a:cubicBezTo>
                <a:cubicBezTo>
                  <a:pt x="3831764" y="209427"/>
                  <a:pt x="3849770" y="211867"/>
                  <a:pt x="3864916" y="216746"/>
                </a:cubicBezTo>
                <a:cubicBezTo>
                  <a:pt x="3880060" y="221626"/>
                  <a:pt x="3892512" y="228526"/>
                  <a:pt x="3902272" y="237444"/>
                </a:cubicBezTo>
                <a:cubicBezTo>
                  <a:pt x="3912032" y="246363"/>
                  <a:pt x="3919268" y="256880"/>
                  <a:pt x="3923980" y="268996"/>
                </a:cubicBezTo>
                <a:cubicBezTo>
                  <a:pt x="3928692" y="281112"/>
                  <a:pt x="3931048" y="294405"/>
                  <a:pt x="3931048" y="308877"/>
                </a:cubicBezTo>
                <a:cubicBezTo>
                  <a:pt x="3931048" y="327051"/>
                  <a:pt x="3926588" y="342700"/>
                  <a:pt x="3917668" y="355826"/>
                </a:cubicBezTo>
                <a:cubicBezTo>
                  <a:pt x="3908750" y="368951"/>
                  <a:pt x="3896214" y="378879"/>
                  <a:pt x="3880060" y="385610"/>
                </a:cubicBezTo>
                <a:cubicBezTo>
                  <a:pt x="3891840" y="391668"/>
                  <a:pt x="3901262" y="400419"/>
                  <a:pt x="3908330" y="411861"/>
                </a:cubicBezTo>
                <a:cubicBezTo>
                  <a:pt x="3915398" y="423304"/>
                  <a:pt x="3918932" y="435252"/>
                  <a:pt x="3918932" y="447704"/>
                </a:cubicBezTo>
                <a:cubicBezTo>
                  <a:pt x="3918932" y="460156"/>
                  <a:pt x="3916912" y="471767"/>
                  <a:pt x="3912874" y="482537"/>
                </a:cubicBezTo>
                <a:cubicBezTo>
                  <a:pt x="3908834" y="493306"/>
                  <a:pt x="3902608" y="502646"/>
                  <a:pt x="3894196" y="510555"/>
                </a:cubicBezTo>
                <a:cubicBezTo>
                  <a:pt x="3885780" y="518464"/>
                  <a:pt x="3875096" y="524606"/>
                  <a:pt x="3862138" y="528981"/>
                </a:cubicBezTo>
                <a:cubicBezTo>
                  <a:pt x="3849180" y="533356"/>
                  <a:pt x="3833952" y="535544"/>
                  <a:pt x="3816452" y="535544"/>
                </a:cubicBezTo>
                <a:close/>
                <a:moveTo>
                  <a:pt x="3567354" y="535544"/>
                </a:moveTo>
                <a:cubicBezTo>
                  <a:pt x="3549854" y="535544"/>
                  <a:pt x="3532268" y="532178"/>
                  <a:pt x="3514600" y="525447"/>
                </a:cubicBezTo>
                <a:cubicBezTo>
                  <a:pt x="3496930" y="518716"/>
                  <a:pt x="3481366" y="508283"/>
                  <a:pt x="3467904" y="494148"/>
                </a:cubicBezTo>
                <a:lnTo>
                  <a:pt x="3498698" y="450733"/>
                </a:lnTo>
                <a:cubicBezTo>
                  <a:pt x="3509130" y="461839"/>
                  <a:pt x="3519732" y="469748"/>
                  <a:pt x="3530502" y="474460"/>
                </a:cubicBezTo>
                <a:cubicBezTo>
                  <a:pt x="3541272" y="479171"/>
                  <a:pt x="3551536" y="481527"/>
                  <a:pt x="3561296" y="481527"/>
                </a:cubicBezTo>
                <a:cubicBezTo>
                  <a:pt x="3573076" y="481527"/>
                  <a:pt x="3582836" y="478078"/>
                  <a:pt x="3590576" y="471178"/>
                </a:cubicBezTo>
                <a:cubicBezTo>
                  <a:pt x="3598316" y="464279"/>
                  <a:pt x="3602186" y="454435"/>
                  <a:pt x="3602188" y="441646"/>
                </a:cubicBezTo>
                <a:cubicBezTo>
                  <a:pt x="3602186" y="432559"/>
                  <a:pt x="3599074" y="423641"/>
                  <a:pt x="3592848" y="414890"/>
                </a:cubicBezTo>
                <a:cubicBezTo>
                  <a:pt x="3586622" y="406140"/>
                  <a:pt x="3578712" y="397053"/>
                  <a:pt x="3569120" y="387630"/>
                </a:cubicBezTo>
                <a:cubicBezTo>
                  <a:pt x="3559528" y="378206"/>
                  <a:pt x="3549264" y="368362"/>
                  <a:pt x="3538326" y="358097"/>
                </a:cubicBezTo>
                <a:cubicBezTo>
                  <a:pt x="3527388" y="347833"/>
                  <a:pt x="3517124" y="336727"/>
                  <a:pt x="3507532" y="324779"/>
                </a:cubicBezTo>
                <a:cubicBezTo>
                  <a:pt x="3497940" y="312831"/>
                  <a:pt x="3490032" y="299790"/>
                  <a:pt x="3483806" y="285655"/>
                </a:cubicBezTo>
                <a:cubicBezTo>
                  <a:pt x="3477580" y="271520"/>
                  <a:pt x="3474466" y="256039"/>
                  <a:pt x="3474466" y="239211"/>
                </a:cubicBezTo>
                <a:cubicBezTo>
                  <a:pt x="3474466" y="237192"/>
                  <a:pt x="3474382" y="233658"/>
                  <a:pt x="3474214" y="228610"/>
                </a:cubicBezTo>
                <a:cubicBezTo>
                  <a:pt x="3474046" y="223562"/>
                  <a:pt x="3474466" y="219355"/>
                  <a:pt x="3475476" y="215989"/>
                </a:cubicBezTo>
                <a:lnTo>
                  <a:pt x="3679426" y="215989"/>
                </a:lnTo>
                <a:lnTo>
                  <a:pt x="3679426" y="267481"/>
                </a:lnTo>
                <a:lnTo>
                  <a:pt x="3545142" y="267481"/>
                </a:lnTo>
                <a:cubicBezTo>
                  <a:pt x="3545142" y="272530"/>
                  <a:pt x="3546908" y="278083"/>
                  <a:pt x="3550442" y="284141"/>
                </a:cubicBezTo>
                <a:cubicBezTo>
                  <a:pt x="3553976" y="290198"/>
                  <a:pt x="3558268" y="296172"/>
                  <a:pt x="3563316" y="302062"/>
                </a:cubicBezTo>
                <a:cubicBezTo>
                  <a:pt x="3568364" y="307952"/>
                  <a:pt x="3573748" y="313673"/>
                  <a:pt x="3579470" y="319226"/>
                </a:cubicBezTo>
                <a:cubicBezTo>
                  <a:pt x="3585190" y="324779"/>
                  <a:pt x="3590240" y="329575"/>
                  <a:pt x="3594614" y="333613"/>
                </a:cubicBezTo>
                <a:cubicBezTo>
                  <a:pt x="3603364" y="341691"/>
                  <a:pt x="3611946" y="350104"/>
                  <a:pt x="3620360" y="358855"/>
                </a:cubicBezTo>
                <a:cubicBezTo>
                  <a:pt x="3628774" y="367605"/>
                  <a:pt x="3636346" y="376692"/>
                  <a:pt x="3643078" y="386115"/>
                </a:cubicBezTo>
                <a:cubicBezTo>
                  <a:pt x="3649808" y="395539"/>
                  <a:pt x="3655194" y="405214"/>
                  <a:pt x="3659232" y="415143"/>
                </a:cubicBezTo>
                <a:cubicBezTo>
                  <a:pt x="3663270" y="425071"/>
                  <a:pt x="3665290" y="435420"/>
                  <a:pt x="3665290" y="446189"/>
                </a:cubicBezTo>
                <a:cubicBezTo>
                  <a:pt x="3665290" y="460998"/>
                  <a:pt x="3662598" y="474039"/>
                  <a:pt x="3657212" y="485313"/>
                </a:cubicBezTo>
                <a:cubicBezTo>
                  <a:pt x="3651828" y="496588"/>
                  <a:pt x="3644592" y="505927"/>
                  <a:pt x="3635506" y="513331"/>
                </a:cubicBezTo>
                <a:cubicBezTo>
                  <a:pt x="3626418" y="520735"/>
                  <a:pt x="3615986" y="526288"/>
                  <a:pt x="3604206" y="529990"/>
                </a:cubicBezTo>
                <a:cubicBezTo>
                  <a:pt x="3592426" y="533692"/>
                  <a:pt x="3580142" y="535544"/>
                  <a:pt x="3567354" y="535544"/>
                </a:cubicBezTo>
                <a:close/>
                <a:moveTo>
                  <a:pt x="3324752" y="535544"/>
                </a:moveTo>
                <a:cubicBezTo>
                  <a:pt x="3290088" y="535544"/>
                  <a:pt x="3263332" y="522081"/>
                  <a:pt x="3244486" y="495157"/>
                </a:cubicBezTo>
                <a:cubicBezTo>
                  <a:pt x="3225638" y="468233"/>
                  <a:pt x="3216214" y="427511"/>
                  <a:pt x="3216214" y="372990"/>
                </a:cubicBezTo>
                <a:cubicBezTo>
                  <a:pt x="3216214" y="317796"/>
                  <a:pt x="3225470" y="276737"/>
                  <a:pt x="3243980" y="249813"/>
                </a:cubicBezTo>
                <a:cubicBezTo>
                  <a:pt x="3262490" y="222889"/>
                  <a:pt x="3289414" y="209427"/>
                  <a:pt x="3324752" y="209427"/>
                </a:cubicBezTo>
                <a:cubicBezTo>
                  <a:pt x="3360090" y="209427"/>
                  <a:pt x="3387014" y="222889"/>
                  <a:pt x="3405524" y="249813"/>
                </a:cubicBezTo>
                <a:cubicBezTo>
                  <a:pt x="3424034" y="276737"/>
                  <a:pt x="3433290" y="317796"/>
                  <a:pt x="3433290" y="372990"/>
                </a:cubicBezTo>
                <a:cubicBezTo>
                  <a:pt x="3433290" y="427847"/>
                  <a:pt x="3424034" y="468654"/>
                  <a:pt x="3405524" y="495410"/>
                </a:cubicBezTo>
                <a:cubicBezTo>
                  <a:pt x="3387014" y="522166"/>
                  <a:pt x="3360090" y="535544"/>
                  <a:pt x="3324752" y="535544"/>
                </a:cubicBezTo>
                <a:close/>
                <a:moveTo>
                  <a:pt x="3062528" y="535544"/>
                </a:moveTo>
                <a:cubicBezTo>
                  <a:pt x="3045028" y="535544"/>
                  <a:pt x="3027444" y="532178"/>
                  <a:pt x="3009774" y="525447"/>
                </a:cubicBezTo>
                <a:cubicBezTo>
                  <a:pt x="2992106" y="518716"/>
                  <a:pt x="2976540" y="508283"/>
                  <a:pt x="2963078" y="494148"/>
                </a:cubicBezTo>
                <a:lnTo>
                  <a:pt x="2993872" y="450733"/>
                </a:lnTo>
                <a:cubicBezTo>
                  <a:pt x="3004306" y="461839"/>
                  <a:pt x="3014908" y="469748"/>
                  <a:pt x="3025676" y="474460"/>
                </a:cubicBezTo>
                <a:cubicBezTo>
                  <a:pt x="3036446" y="479171"/>
                  <a:pt x="3046712" y="481527"/>
                  <a:pt x="3056472" y="481527"/>
                </a:cubicBezTo>
                <a:cubicBezTo>
                  <a:pt x="3068250" y="481527"/>
                  <a:pt x="3078010" y="478078"/>
                  <a:pt x="3085752" y="471178"/>
                </a:cubicBezTo>
                <a:cubicBezTo>
                  <a:pt x="3093492" y="464279"/>
                  <a:pt x="3097362" y="454435"/>
                  <a:pt x="3097362" y="441646"/>
                </a:cubicBezTo>
                <a:cubicBezTo>
                  <a:pt x="3097362" y="432559"/>
                  <a:pt x="3094248" y="423641"/>
                  <a:pt x="3088022" y="414890"/>
                </a:cubicBezTo>
                <a:cubicBezTo>
                  <a:pt x="3081796" y="406140"/>
                  <a:pt x="3073888" y="397053"/>
                  <a:pt x="3064296" y="387630"/>
                </a:cubicBezTo>
                <a:cubicBezTo>
                  <a:pt x="3054704" y="378206"/>
                  <a:pt x="3044440" y="368362"/>
                  <a:pt x="3033502" y="358097"/>
                </a:cubicBezTo>
                <a:cubicBezTo>
                  <a:pt x="3022564" y="347833"/>
                  <a:pt x="3012298" y="336727"/>
                  <a:pt x="3002708" y="324779"/>
                </a:cubicBezTo>
                <a:cubicBezTo>
                  <a:pt x="2993116" y="312831"/>
                  <a:pt x="2985206" y="299790"/>
                  <a:pt x="2978980" y="285655"/>
                </a:cubicBezTo>
                <a:cubicBezTo>
                  <a:pt x="2972754" y="271520"/>
                  <a:pt x="2969642" y="256039"/>
                  <a:pt x="2969642" y="239211"/>
                </a:cubicBezTo>
                <a:cubicBezTo>
                  <a:pt x="2969642" y="237192"/>
                  <a:pt x="2969558" y="233658"/>
                  <a:pt x="2969388" y="228610"/>
                </a:cubicBezTo>
                <a:cubicBezTo>
                  <a:pt x="2969220" y="223562"/>
                  <a:pt x="2969640" y="219355"/>
                  <a:pt x="2970650" y="215989"/>
                </a:cubicBezTo>
                <a:lnTo>
                  <a:pt x="3174600" y="215989"/>
                </a:lnTo>
                <a:lnTo>
                  <a:pt x="3174600" y="267481"/>
                </a:lnTo>
                <a:lnTo>
                  <a:pt x="3040316" y="267481"/>
                </a:lnTo>
                <a:cubicBezTo>
                  <a:pt x="3040316" y="272530"/>
                  <a:pt x="3042084" y="278083"/>
                  <a:pt x="3045618" y="284141"/>
                </a:cubicBezTo>
                <a:cubicBezTo>
                  <a:pt x="3049152" y="290198"/>
                  <a:pt x="3053442" y="296172"/>
                  <a:pt x="3058490" y="302062"/>
                </a:cubicBezTo>
                <a:cubicBezTo>
                  <a:pt x="3063538" y="307952"/>
                  <a:pt x="3068924" y="313673"/>
                  <a:pt x="3074644" y="319226"/>
                </a:cubicBezTo>
                <a:cubicBezTo>
                  <a:pt x="3080366" y="324779"/>
                  <a:pt x="3085414" y="329575"/>
                  <a:pt x="3089790" y="333613"/>
                </a:cubicBezTo>
                <a:cubicBezTo>
                  <a:pt x="3098540" y="341691"/>
                  <a:pt x="3107122" y="350104"/>
                  <a:pt x="3115536" y="358855"/>
                </a:cubicBezTo>
                <a:cubicBezTo>
                  <a:pt x="3123950" y="367605"/>
                  <a:pt x="3131522" y="376692"/>
                  <a:pt x="3138252" y="386115"/>
                </a:cubicBezTo>
                <a:cubicBezTo>
                  <a:pt x="3144984" y="395539"/>
                  <a:pt x="3150368" y="405214"/>
                  <a:pt x="3154408" y="415143"/>
                </a:cubicBezTo>
                <a:cubicBezTo>
                  <a:pt x="3158446" y="425071"/>
                  <a:pt x="3160464" y="435420"/>
                  <a:pt x="3160464" y="446189"/>
                </a:cubicBezTo>
                <a:cubicBezTo>
                  <a:pt x="3160464" y="460998"/>
                  <a:pt x="3157772" y="474039"/>
                  <a:pt x="3152388" y="485313"/>
                </a:cubicBezTo>
                <a:cubicBezTo>
                  <a:pt x="3147002" y="496588"/>
                  <a:pt x="3139766" y="505927"/>
                  <a:pt x="3130680" y="513331"/>
                </a:cubicBezTo>
                <a:cubicBezTo>
                  <a:pt x="3121594" y="520735"/>
                  <a:pt x="3111160" y="526288"/>
                  <a:pt x="3099382" y="529990"/>
                </a:cubicBezTo>
                <a:cubicBezTo>
                  <a:pt x="3087602" y="533692"/>
                  <a:pt x="3075318" y="535544"/>
                  <a:pt x="3062528" y="535544"/>
                </a:cubicBezTo>
                <a:close/>
                <a:moveTo>
                  <a:pt x="2292890" y="561290"/>
                </a:moveTo>
                <a:cubicBezTo>
                  <a:pt x="2282120" y="561290"/>
                  <a:pt x="2272949" y="557756"/>
                  <a:pt x="2265377" y="550688"/>
                </a:cubicBezTo>
                <a:cubicBezTo>
                  <a:pt x="2257805" y="543621"/>
                  <a:pt x="2254018" y="533861"/>
                  <a:pt x="2254018" y="521408"/>
                </a:cubicBezTo>
                <a:cubicBezTo>
                  <a:pt x="2254018" y="509293"/>
                  <a:pt x="2257805" y="499701"/>
                  <a:pt x="2265377" y="492633"/>
                </a:cubicBezTo>
                <a:cubicBezTo>
                  <a:pt x="2272949" y="485566"/>
                  <a:pt x="2282120" y="482032"/>
                  <a:pt x="2292890" y="482032"/>
                </a:cubicBezTo>
                <a:cubicBezTo>
                  <a:pt x="2303660" y="482032"/>
                  <a:pt x="2312914" y="485566"/>
                  <a:pt x="2320655" y="492633"/>
                </a:cubicBezTo>
                <a:cubicBezTo>
                  <a:pt x="2328396" y="499701"/>
                  <a:pt x="2332266" y="509293"/>
                  <a:pt x="2332266" y="521408"/>
                </a:cubicBezTo>
                <a:cubicBezTo>
                  <a:pt x="2332266" y="533861"/>
                  <a:pt x="2328396" y="543621"/>
                  <a:pt x="2320655" y="550688"/>
                </a:cubicBezTo>
                <a:cubicBezTo>
                  <a:pt x="2312914" y="557756"/>
                  <a:pt x="2303660" y="561290"/>
                  <a:pt x="2292890" y="561290"/>
                </a:cubicBezTo>
                <a:close/>
                <a:moveTo>
                  <a:pt x="1959420" y="563309"/>
                </a:moveTo>
                <a:lnTo>
                  <a:pt x="1959420" y="511817"/>
                </a:lnTo>
                <a:lnTo>
                  <a:pt x="2025047" y="511817"/>
                </a:lnTo>
                <a:lnTo>
                  <a:pt x="2025047" y="310392"/>
                </a:lnTo>
                <a:cubicBezTo>
                  <a:pt x="2025047" y="277746"/>
                  <a:pt x="2031610" y="252926"/>
                  <a:pt x="2044735" y="235930"/>
                </a:cubicBezTo>
                <a:cubicBezTo>
                  <a:pt x="2057860" y="218934"/>
                  <a:pt x="2078727" y="210436"/>
                  <a:pt x="2107333" y="210436"/>
                </a:cubicBezTo>
                <a:cubicBezTo>
                  <a:pt x="2117767" y="210436"/>
                  <a:pt x="2127106" y="211109"/>
                  <a:pt x="2135351" y="212455"/>
                </a:cubicBezTo>
                <a:cubicBezTo>
                  <a:pt x="2143597" y="213802"/>
                  <a:pt x="2150580" y="215400"/>
                  <a:pt x="2156302" y="217251"/>
                </a:cubicBezTo>
                <a:cubicBezTo>
                  <a:pt x="2162023" y="219102"/>
                  <a:pt x="2166650" y="220869"/>
                  <a:pt x="2170184" y="222552"/>
                </a:cubicBezTo>
                <a:cubicBezTo>
                  <a:pt x="2173718" y="224235"/>
                  <a:pt x="2175990" y="225413"/>
                  <a:pt x="2176999" y="226086"/>
                </a:cubicBezTo>
                <a:lnTo>
                  <a:pt x="2168922" y="276063"/>
                </a:lnTo>
                <a:cubicBezTo>
                  <a:pt x="2166230" y="275054"/>
                  <a:pt x="2160677" y="272866"/>
                  <a:pt x="2152263" y="269501"/>
                </a:cubicBezTo>
                <a:cubicBezTo>
                  <a:pt x="2143849" y="266135"/>
                  <a:pt x="2133416" y="264452"/>
                  <a:pt x="2120964" y="264452"/>
                </a:cubicBezTo>
                <a:cubicBezTo>
                  <a:pt x="2111204" y="264452"/>
                  <a:pt x="2103126" y="267313"/>
                  <a:pt x="2096732" y="273034"/>
                </a:cubicBezTo>
                <a:cubicBezTo>
                  <a:pt x="2090338" y="278756"/>
                  <a:pt x="2087140" y="289694"/>
                  <a:pt x="2087140" y="305848"/>
                </a:cubicBezTo>
                <a:lnTo>
                  <a:pt x="2087140" y="563309"/>
                </a:lnTo>
                <a:close/>
                <a:moveTo>
                  <a:pt x="1607052" y="565833"/>
                </a:moveTo>
                <a:cubicBezTo>
                  <a:pt x="1594263" y="565833"/>
                  <a:pt x="1581811" y="564234"/>
                  <a:pt x="1569695" y="561037"/>
                </a:cubicBezTo>
                <a:cubicBezTo>
                  <a:pt x="1557579" y="557840"/>
                  <a:pt x="1546810" y="552455"/>
                  <a:pt x="1537386" y="544883"/>
                </a:cubicBezTo>
                <a:cubicBezTo>
                  <a:pt x="1527963" y="537310"/>
                  <a:pt x="1520474" y="527214"/>
                  <a:pt x="1514921" y="514593"/>
                </a:cubicBezTo>
                <a:cubicBezTo>
                  <a:pt x="1509368" y="501973"/>
                  <a:pt x="1506592" y="486071"/>
                  <a:pt x="1506592" y="466887"/>
                </a:cubicBezTo>
                <a:lnTo>
                  <a:pt x="1506592" y="453257"/>
                </a:lnTo>
                <a:lnTo>
                  <a:pt x="1454595" y="453257"/>
                </a:lnTo>
                <a:lnTo>
                  <a:pt x="1454595" y="401765"/>
                </a:lnTo>
                <a:lnTo>
                  <a:pt x="1506592" y="401765"/>
                </a:lnTo>
                <a:lnTo>
                  <a:pt x="1506592" y="215989"/>
                </a:lnTo>
                <a:lnTo>
                  <a:pt x="1569190" y="215989"/>
                </a:lnTo>
                <a:lnTo>
                  <a:pt x="1569190" y="401765"/>
                </a:lnTo>
                <a:lnTo>
                  <a:pt x="1666621" y="401765"/>
                </a:lnTo>
                <a:lnTo>
                  <a:pt x="1666621" y="453257"/>
                </a:lnTo>
                <a:lnTo>
                  <a:pt x="1569190" y="453257"/>
                </a:lnTo>
                <a:lnTo>
                  <a:pt x="1569190" y="465878"/>
                </a:lnTo>
                <a:cubicBezTo>
                  <a:pt x="1569190" y="475974"/>
                  <a:pt x="1570368" y="484135"/>
                  <a:pt x="1572724" y="490362"/>
                </a:cubicBezTo>
                <a:cubicBezTo>
                  <a:pt x="1575080" y="496588"/>
                  <a:pt x="1578193" y="501384"/>
                  <a:pt x="1582063" y="504749"/>
                </a:cubicBezTo>
                <a:cubicBezTo>
                  <a:pt x="1585933" y="508115"/>
                  <a:pt x="1590477" y="510302"/>
                  <a:pt x="1595693" y="511312"/>
                </a:cubicBezTo>
                <a:cubicBezTo>
                  <a:pt x="1600910" y="512322"/>
                  <a:pt x="1606379" y="512826"/>
                  <a:pt x="1612100" y="512826"/>
                </a:cubicBezTo>
                <a:cubicBezTo>
                  <a:pt x="1622533" y="512826"/>
                  <a:pt x="1633555" y="511396"/>
                  <a:pt x="1645166" y="508535"/>
                </a:cubicBezTo>
                <a:cubicBezTo>
                  <a:pt x="1656777" y="505675"/>
                  <a:pt x="1666453" y="502898"/>
                  <a:pt x="1674194" y="500206"/>
                </a:cubicBezTo>
                <a:lnTo>
                  <a:pt x="1684795" y="550688"/>
                </a:lnTo>
                <a:cubicBezTo>
                  <a:pt x="1673689" y="556073"/>
                  <a:pt x="1661236" y="559943"/>
                  <a:pt x="1647438" y="562299"/>
                </a:cubicBezTo>
                <a:cubicBezTo>
                  <a:pt x="1633639" y="564655"/>
                  <a:pt x="1620178" y="565833"/>
                  <a:pt x="1607052" y="565833"/>
                </a:cubicBezTo>
                <a:close/>
                <a:moveTo>
                  <a:pt x="0" y="796029"/>
                </a:moveTo>
                <a:lnTo>
                  <a:pt x="4876802" y="796029"/>
                </a:lnTo>
                <a:lnTo>
                  <a:pt x="4824822" y="344498"/>
                </a:lnTo>
                <a:cubicBezTo>
                  <a:pt x="4801968" y="145891"/>
                  <a:pt x="4682292" y="207"/>
                  <a:pt x="4541980" y="155"/>
                </a:cubicBezTo>
                <a:lnTo>
                  <a:pt x="0" y="0"/>
                </a:lnTo>
                <a:close/>
              </a:path>
            </a:pathLst>
          </a:custGeom>
          <a:solidFill>
            <a:schemeClr val="bg1"/>
          </a:solidFill>
          <a:ln w="2834" cap="flat">
            <a:noFill/>
            <a:prstDash val="solid"/>
            <a:miter/>
          </a:ln>
        </p:spPr>
        <p:txBody>
          <a:bodyPr wrap="square" rtlCol="0" anchor="ctr">
            <a:noAutofit/>
          </a:bodyPr>
          <a:lstStyle/>
          <a:p>
            <a:endParaRPr lang="en-US"/>
          </a:p>
        </p:txBody>
      </p:sp>
      <p:pic>
        <p:nvPicPr>
          <p:cNvPr id="11" name="Imagen 10" descr="Un dibujo de una cara feliz&#10;&#10;Descripción generada automáticamente con confianza baja">
            <a:extLst>
              <a:ext uri="{FF2B5EF4-FFF2-40B4-BE49-F238E27FC236}">
                <a16:creationId xmlns:a16="http://schemas.microsoft.com/office/drawing/2014/main" id="{AAE5E7C8-61FF-4E9E-B7AA-24C524932BC4}"/>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7824450" y="406400"/>
            <a:ext cx="1801936" cy="934010"/>
          </a:xfrm>
          <a:prstGeom prst="rect">
            <a:avLst/>
          </a:prstGeom>
        </p:spPr>
      </p:pic>
    </p:spTree>
    <p:extLst>
      <p:ext uri="{BB962C8B-B14F-4D97-AF65-F5344CB8AC3E}">
        <p14:creationId xmlns:p14="http://schemas.microsoft.com/office/powerpoint/2010/main" val="305084708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Logo">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2571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sp>
        <p:nvSpPr>
          <p:cNvPr id="6" name="object 4">
            <a:extLst>
              <a:ext uri="{FF2B5EF4-FFF2-40B4-BE49-F238E27FC236}">
                <a16:creationId xmlns:a16="http://schemas.microsoft.com/office/drawing/2014/main" id="{ED016D23-5721-500E-F5FD-4532489937C3}"/>
              </a:ext>
            </a:extLst>
          </p:cNvPr>
          <p:cNvSpPr/>
          <p:nvPr userDrawn="1"/>
        </p:nvSpPr>
        <p:spPr>
          <a:xfrm>
            <a:off x="2974038" y="0"/>
            <a:ext cx="1750695" cy="467995"/>
          </a:xfrm>
          <a:custGeom>
            <a:avLst/>
            <a:gdLst/>
            <a:ahLst/>
            <a:cxnLst/>
            <a:rect l="l" t="t" r="r" b="b"/>
            <a:pathLst>
              <a:path w="1750695" h="467995">
                <a:moveTo>
                  <a:pt x="1750463" y="0"/>
                </a:moveTo>
                <a:lnTo>
                  <a:pt x="0" y="0"/>
                </a:lnTo>
                <a:lnTo>
                  <a:pt x="752433" y="438676"/>
                </a:lnTo>
                <a:lnTo>
                  <a:pt x="797088" y="457866"/>
                </a:lnTo>
                <a:lnTo>
                  <a:pt x="844132" y="467461"/>
                </a:lnTo>
                <a:lnTo>
                  <a:pt x="891973" y="467461"/>
                </a:lnTo>
                <a:lnTo>
                  <a:pt x="939018" y="457866"/>
                </a:lnTo>
                <a:lnTo>
                  <a:pt x="983672" y="438676"/>
                </a:lnTo>
                <a:lnTo>
                  <a:pt x="1750463" y="0"/>
                </a:lnTo>
                <a:close/>
              </a:path>
            </a:pathLst>
          </a:custGeom>
          <a:solidFill>
            <a:srgbClr val="FFFFFF"/>
          </a:solidFill>
        </p:spPr>
        <p:txBody>
          <a:bodyPr wrap="square" lIns="0" tIns="0" rIns="0" bIns="0" rtlCol="0"/>
          <a:lstStyle/>
          <a:p>
            <a:endParaRPr/>
          </a:p>
        </p:txBody>
      </p:sp>
      <p:sp>
        <p:nvSpPr>
          <p:cNvPr id="9" name="object 7">
            <a:extLst>
              <a:ext uri="{FF2B5EF4-FFF2-40B4-BE49-F238E27FC236}">
                <a16:creationId xmlns:a16="http://schemas.microsoft.com/office/drawing/2014/main" id="{7B442BB3-EFD2-D68C-F66D-411FCE471DC2}"/>
              </a:ext>
            </a:extLst>
          </p:cNvPr>
          <p:cNvSpPr/>
          <p:nvPr/>
        </p:nvSpPr>
        <p:spPr>
          <a:xfrm>
            <a:off x="0" y="0"/>
            <a:ext cx="3819525" cy="3227705"/>
          </a:xfrm>
          <a:custGeom>
            <a:avLst/>
            <a:gdLst/>
            <a:ahLst/>
            <a:cxnLst/>
            <a:rect l="l" t="t" r="r" b="b"/>
            <a:pathLst>
              <a:path w="3819525" h="3227705">
                <a:moveTo>
                  <a:pt x="1789430" y="0"/>
                </a:moveTo>
                <a:lnTo>
                  <a:pt x="0" y="0"/>
                </a:lnTo>
                <a:lnTo>
                  <a:pt x="0" y="3098000"/>
                </a:lnTo>
                <a:lnTo>
                  <a:pt x="97427" y="3154801"/>
                </a:lnTo>
                <a:lnTo>
                  <a:pt x="141387" y="3176910"/>
                </a:lnTo>
                <a:lnTo>
                  <a:pt x="186738" y="3195000"/>
                </a:lnTo>
                <a:lnTo>
                  <a:pt x="233202" y="3209070"/>
                </a:lnTo>
                <a:lnTo>
                  <a:pt x="280502" y="3219120"/>
                </a:lnTo>
                <a:lnTo>
                  <a:pt x="328357" y="3225150"/>
                </a:lnTo>
                <a:lnTo>
                  <a:pt x="376491" y="3227160"/>
                </a:lnTo>
                <a:lnTo>
                  <a:pt x="424626" y="3225150"/>
                </a:lnTo>
                <a:lnTo>
                  <a:pt x="472481" y="3219120"/>
                </a:lnTo>
                <a:lnTo>
                  <a:pt x="519781" y="3209070"/>
                </a:lnTo>
                <a:lnTo>
                  <a:pt x="566245" y="3195000"/>
                </a:lnTo>
                <a:lnTo>
                  <a:pt x="611596" y="3176910"/>
                </a:lnTo>
                <a:lnTo>
                  <a:pt x="655556" y="3154801"/>
                </a:lnTo>
                <a:lnTo>
                  <a:pt x="3727107" y="1397577"/>
                </a:lnTo>
                <a:lnTo>
                  <a:pt x="3763856" y="1370914"/>
                </a:lnTo>
                <a:lnTo>
                  <a:pt x="3791417" y="1338263"/>
                </a:lnTo>
                <a:lnTo>
                  <a:pt x="3809792" y="1301335"/>
                </a:lnTo>
                <a:lnTo>
                  <a:pt x="3818979" y="1261841"/>
                </a:lnTo>
                <a:lnTo>
                  <a:pt x="3818979" y="1221492"/>
                </a:lnTo>
                <a:lnTo>
                  <a:pt x="3809792" y="1181999"/>
                </a:lnTo>
                <a:lnTo>
                  <a:pt x="3791417" y="1145073"/>
                </a:lnTo>
                <a:lnTo>
                  <a:pt x="3763856" y="1112424"/>
                </a:lnTo>
                <a:lnTo>
                  <a:pt x="3727107" y="1085764"/>
                </a:lnTo>
                <a:lnTo>
                  <a:pt x="1789430" y="0"/>
                </a:lnTo>
                <a:close/>
              </a:path>
            </a:pathLst>
          </a:custGeom>
          <a:solidFill>
            <a:srgbClr val="FFFFFF"/>
          </a:solidFill>
        </p:spPr>
        <p:txBody>
          <a:bodyPr wrap="square" lIns="0" tIns="0" rIns="0" bIns="0" rtlCol="0"/>
          <a:lstStyle/>
          <a:p>
            <a:endParaRPr/>
          </a:p>
        </p:txBody>
      </p:sp>
      <p:sp>
        <p:nvSpPr>
          <p:cNvPr id="10" name="object 8">
            <a:extLst>
              <a:ext uri="{FF2B5EF4-FFF2-40B4-BE49-F238E27FC236}">
                <a16:creationId xmlns:a16="http://schemas.microsoft.com/office/drawing/2014/main" id="{7C5088D7-9EB4-4147-A355-F26ACBE46FAF}"/>
              </a:ext>
            </a:extLst>
          </p:cNvPr>
          <p:cNvSpPr/>
          <p:nvPr/>
        </p:nvSpPr>
        <p:spPr>
          <a:xfrm>
            <a:off x="755337" y="1446742"/>
            <a:ext cx="7031990" cy="8500110"/>
          </a:xfrm>
          <a:custGeom>
            <a:avLst/>
            <a:gdLst/>
            <a:ahLst/>
            <a:cxnLst/>
            <a:rect l="l" t="t" r="r" b="b"/>
            <a:pathLst>
              <a:path w="7031990" h="8500110">
                <a:moveTo>
                  <a:pt x="7031785" y="0"/>
                </a:moveTo>
                <a:lnTo>
                  <a:pt x="0" y="0"/>
                </a:lnTo>
                <a:lnTo>
                  <a:pt x="0" y="8499783"/>
                </a:lnTo>
                <a:lnTo>
                  <a:pt x="3988642" y="7841216"/>
                </a:lnTo>
                <a:lnTo>
                  <a:pt x="4036805" y="7832935"/>
                </a:lnTo>
                <a:lnTo>
                  <a:pt x="4084729" y="7824039"/>
                </a:lnTo>
                <a:lnTo>
                  <a:pt x="4132408" y="7814532"/>
                </a:lnTo>
                <a:lnTo>
                  <a:pt x="4179840" y="7804419"/>
                </a:lnTo>
                <a:lnTo>
                  <a:pt x="4227022" y="7793704"/>
                </a:lnTo>
                <a:lnTo>
                  <a:pt x="4273948" y="7782392"/>
                </a:lnTo>
                <a:lnTo>
                  <a:pt x="4320615" y="7770487"/>
                </a:lnTo>
                <a:lnTo>
                  <a:pt x="4367020" y="7757994"/>
                </a:lnTo>
                <a:lnTo>
                  <a:pt x="4413159" y="7744918"/>
                </a:lnTo>
                <a:lnTo>
                  <a:pt x="4459027" y="7731262"/>
                </a:lnTo>
                <a:lnTo>
                  <a:pt x="4504622" y="7717031"/>
                </a:lnTo>
                <a:lnTo>
                  <a:pt x="4549939" y="7702230"/>
                </a:lnTo>
                <a:lnTo>
                  <a:pt x="4594974" y="7686862"/>
                </a:lnTo>
                <a:lnTo>
                  <a:pt x="4639724" y="7670934"/>
                </a:lnTo>
                <a:lnTo>
                  <a:pt x="4684185" y="7654448"/>
                </a:lnTo>
                <a:lnTo>
                  <a:pt x="4728353" y="7637410"/>
                </a:lnTo>
                <a:lnTo>
                  <a:pt x="4772224" y="7619824"/>
                </a:lnTo>
                <a:lnTo>
                  <a:pt x="4815795" y="7601695"/>
                </a:lnTo>
                <a:lnTo>
                  <a:pt x="4859062" y="7583026"/>
                </a:lnTo>
                <a:lnTo>
                  <a:pt x="4902020" y="7563823"/>
                </a:lnTo>
                <a:lnTo>
                  <a:pt x="4944667" y="7544090"/>
                </a:lnTo>
                <a:lnTo>
                  <a:pt x="4986998" y="7523831"/>
                </a:lnTo>
                <a:lnTo>
                  <a:pt x="5029009" y="7503051"/>
                </a:lnTo>
                <a:lnTo>
                  <a:pt x="5070698" y="7481755"/>
                </a:lnTo>
                <a:lnTo>
                  <a:pt x="5112059" y="7459946"/>
                </a:lnTo>
                <a:lnTo>
                  <a:pt x="5153089" y="7437629"/>
                </a:lnTo>
                <a:lnTo>
                  <a:pt x="5193785" y="7414809"/>
                </a:lnTo>
                <a:lnTo>
                  <a:pt x="5234142" y="7391490"/>
                </a:lnTo>
                <a:lnTo>
                  <a:pt x="5274157" y="7367677"/>
                </a:lnTo>
                <a:lnTo>
                  <a:pt x="5313826" y="7343374"/>
                </a:lnTo>
                <a:lnTo>
                  <a:pt x="5353145" y="7318586"/>
                </a:lnTo>
                <a:lnTo>
                  <a:pt x="5392111" y="7293317"/>
                </a:lnTo>
                <a:lnTo>
                  <a:pt x="5430719" y="7267571"/>
                </a:lnTo>
                <a:lnTo>
                  <a:pt x="5468966" y="7241354"/>
                </a:lnTo>
                <a:lnTo>
                  <a:pt x="5506848" y="7214668"/>
                </a:lnTo>
                <a:lnTo>
                  <a:pt x="5544361" y="7187520"/>
                </a:lnTo>
                <a:lnTo>
                  <a:pt x="5581502" y="7159914"/>
                </a:lnTo>
                <a:lnTo>
                  <a:pt x="5618266" y="7131853"/>
                </a:lnTo>
                <a:lnTo>
                  <a:pt x="5654650" y="7103343"/>
                </a:lnTo>
                <a:lnTo>
                  <a:pt x="5690649" y="7074387"/>
                </a:lnTo>
                <a:lnTo>
                  <a:pt x="5726262" y="7044991"/>
                </a:lnTo>
                <a:lnTo>
                  <a:pt x="5761482" y="7015159"/>
                </a:lnTo>
                <a:lnTo>
                  <a:pt x="5796307" y="6984895"/>
                </a:lnTo>
                <a:lnTo>
                  <a:pt x="5830733" y="6954204"/>
                </a:lnTo>
                <a:lnTo>
                  <a:pt x="5864756" y="6923090"/>
                </a:lnTo>
                <a:lnTo>
                  <a:pt x="5898373" y="6891558"/>
                </a:lnTo>
                <a:lnTo>
                  <a:pt x="5931579" y="6859612"/>
                </a:lnTo>
                <a:lnTo>
                  <a:pt x="5964370" y="6827256"/>
                </a:lnTo>
                <a:lnTo>
                  <a:pt x="5996743" y="6794496"/>
                </a:lnTo>
                <a:lnTo>
                  <a:pt x="6028694" y="6761335"/>
                </a:lnTo>
                <a:lnTo>
                  <a:pt x="6060220" y="6727779"/>
                </a:lnTo>
                <a:lnTo>
                  <a:pt x="6091316" y="6693831"/>
                </a:lnTo>
                <a:lnTo>
                  <a:pt x="6121979" y="6659496"/>
                </a:lnTo>
                <a:lnTo>
                  <a:pt x="6152204" y="6624778"/>
                </a:lnTo>
                <a:lnTo>
                  <a:pt x="6181989" y="6589683"/>
                </a:lnTo>
                <a:lnTo>
                  <a:pt x="6211329" y="6554214"/>
                </a:lnTo>
                <a:lnTo>
                  <a:pt x="6240220" y="6518375"/>
                </a:lnTo>
                <a:lnTo>
                  <a:pt x="6268660" y="6482173"/>
                </a:lnTo>
                <a:lnTo>
                  <a:pt x="6296643" y="6445610"/>
                </a:lnTo>
                <a:lnTo>
                  <a:pt x="6324166" y="6408691"/>
                </a:lnTo>
                <a:lnTo>
                  <a:pt x="6351225" y="6371421"/>
                </a:lnTo>
                <a:lnTo>
                  <a:pt x="6377817" y="6333805"/>
                </a:lnTo>
                <a:lnTo>
                  <a:pt x="6403938" y="6295846"/>
                </a:lnTo>
                <a:lnTo>
                  <a:pt x="6429583" y="6257550"/>
                </a:lnTo>
                <a:lnTo>
                  <a:pt x="6454750" y="6218920"/>
                </a:lnTo>
                <a:lnTo>
                  <a:pt x="6479434" y="6179961"/>
                </a:lnTo>
                <a:lnTo>
                  <a:pt x="6503632" y="6140678"/>
                </a:lnTo>
                <a:lnTo>
                  <a:pt x="6527339" y="6101075"/>
                </a:lnTo>
                <a:lnTo>
                  <a:pt x="6550552" y="6061157"/>
                </a:lnTo>
                <a:lnTo>
                  <a:pt x="6573268" y="6020928"/>
                </a:lnTo>
                <a:lnTo>
                  <a:pt x="6595481" y="5980392"/>
                </a:lnTo>
                <a:lnTo>
                  <a:pt x="6617190" y="5939554"/>
                </a:lnTo>
                <a:lnTo>
                  <a:pt x="6638389" y="5898419"/>
                </a:lnTo>
                <a:lnTo>
                  <a:pt x="6659075" y="5856991"/>
                </a:lnTo>
                <a:lnTo>
                  <a:pt x="6679244" y="5815274"/>
                </a:lnTo>
                <a:lnTo>
                  <a:pt x="6698892" y="5773273"/>
                </a:lnTo>
                <a:lnTo>
                  <a:pt x="6718017" y="5730992"/>
                </a:lnTo>
                <a:lnTo>
                  <a:pt x="6736613" y="5688437"/>
                </a:lnTo>
                <a:lnTo>
                  <a:pt x="6754676" y="5645610"/>
                </a:lnTo>
                <a:lnTo>
                  <a:pt x="6772205" y="5602518"/>
                </a:lnTo>
                <a:lnTo>
                  <a:pt x="6789193" y="5559163"/>
                </a:lnTo>
                <a:lnTo>
                  <a:pt x="6805638" y="5515552"/>
                </a:lnTo>
                <a:lnTo>
                  <a:pt x="6821536" y="5471687"/>
                </a:lnTo>
                <a:lnTo>
                  <a:pt x="6836883" y="5427575"/>
                </a:lnTo>
                <a:lnTo>
                  <a:pt x="6851675" y="5383218"/>
                </a:lnTo>
                <a:lnTo>
                  <a:pt x="6865909" y="5338622"/>
                </a:lnTo>
                <a:lnTo>
                  <a:pt x="6879580" y="5293791"/>
                </a:lnTo>
                <a:lnTo>
                  <a:pt x="6892685" y="5248730"/>
                </a:lnTo>
                <a:lnTo>
                  <a:pt x="6905220" y="5203443"/>
                </a:lnTo>
                <a:lnTo>
                  <a:pt x="6917181" y="5157934"/>
                </a:lnTo>
                <a:lnTo>
                  <a:pt x="6928565" y="5112208"/>
                </a:lnTo>
                <a:lnTo>
                  <a:pt x="6939367" y="5066270"/>
                </a:lnTo>
                <a:lnTo>
                  <a:pt x="6949585" y="5020124"/>
                </a:lnTo>
                <a:lnTo>
                  <a:pt x="6959213" y="4973774"/>
                </a:lnTo>
                <a:lnTo>
                  <a:pt x="6968248" y="4927225"/>
                </a:lnTo>
                <a:lnTo>
                  <a:pt x="6976687" y="4880481"/>
                </a:lnTo>
                <a:lnTo>
                  <a:pt x="6984526" y="4833548"/>
                </a:lnTo>
                <a:lnTo>
                  <a:pt x="6991760" y="4786428"/>
                </a:lnTo>
                <a:lnTo>
                  <a:pt x="6998387" y="4739127"/>
                </a:lnTo>
                <a:lnTo>
                  <a:pt x="7004402" y="4691650"/>
                </a:lnTo>
                <a:lnTo>
                  <a:pt x="7009801" y="4644000"/>
                </a:lnTo>
                <a:lnTo>
                  <a:pt x="7014581" y="4596183"/>
                </a:lnTo>
                <a:lnTo>
                  <a:pt x="7018738" y="4548202"/>
                </a:lnTo>
                <a:lnTo>
                  <a:pt x="7022268" y="4500062"/>
                </a:lnTo>
                <a:lnTo>
                  <a:pt x="7025168" y="4451768"/>
                </a:lnTo>
                <a:lnTo>
                  <a:pt x="7027433" y="4403324"/>
                </a:lnTo>
                <a:lnTo>
                  <a:pt x="7029059" y="4354734"/>
                </a:lnTo>
                <a:lnTo>
                  <a:pt x="7030044" y="4306004"/>
                </a:lnTo>
                <a:lnTo>
                  <a:pt x="7030382" y="4257137"/>
                </a:lnTo>
                <a:lnTo>
                  <a:pt x="7031785" y="0"/>
                </a:lnTo>
                <a:close/>
              </a:path>
            </a:pathLst>
          </a:custGeom>
          <a:solidFill>
            <a:srgbClr val="0070AD"/>
          </a:solidFill>
        </p:spPr>
        <p:txBody>
          <a:bodyPr wrap="square" lIns="0" tIns="0" rIns="0" bIns="0" rtlCol="0"/>
          <a:lstStyle/>
          <a:p>
            <a:endParaRPr/>
          </a:p>
        </p:txBody>
      </p:sp>
      <p:sp>
        <p:nvSpPr>
          <p:cNvPr id="14" name="object 14">
            <a:extLst>
              <a:ext uri="{FF2B5EF4-FFF2-40B4-BE49-F238E27FC236}">
                <a16:creationId xmlns:a16="http://schemas.microsoft.com/office/drawing/2014/main" id="{BCD1E6CE-2BD0-F1C2-1BE9-AEA812073E1C}"/>
              </a:ext>
            </a:extLst>
          </p:cNvPr>
          <p:cNvSpPr txBox="1"/>
          <p:nvPr userDrawn="1"/>
        </p:nvSpPr>
        <p:spPr>
          <a:xfrm>
            <a:off x="772681" y="728582"/>
            <a:ext cx="5164569" cy="367408"/>
          </a:xfrm>
          <a:prstGeom prst="rect">
            <a:avLst/>
          </a:prstGeom>
        </p:spPr>
        <p:txBody>
          <a:bodyPr vert="horz" wrap="square" lIns="0" tIns="13335" rIns="0" bIns="0" rtlCol="0">
            <a:spAutoFit/>
          </a:bodyPr>
          <a:lstStyle/>
          <a:p>
            <a:pPr marL="12700">
              <a:lnSpc>
                <a:spcPct val="100000"/>
              </a:lnSpc>
              <a:spcBef>
                <a:spcPts val="105"/>
              </a:spcBef>
            </a:pPr>
            <a:r>
              <a:rPr sz="2300" b="0">
                <a:solidFill>
                  <a:srgbClr val="2B0A3D"/>
                </a:solidFill>
                <a:latin typeface="Ubuntu Light"/>
                <a:cs typeface="Ubuntu Light"/>
              </a:rPr>
              <a:t>Sogeti </a:t>
            </a:r>
            <a:r>
              <a:rPr lang="es-ES" sz="2300" b="0">
                <a:solidFill>
                  <a:srgbClr val="2B0A3D"/>
                </a:solidFill>
                <a:latin typeface="Ubuntu Light"/>
                <a:cs typeface="Ubuntu Light"/>
              </a:rPr>
              <a:t>Spain · Solution passports</a:t>
            </a:r>
            <a:endParaRPr sz="2300">
              <a:latin typeface="Ubuntu Light"/>
              <a:cs typeface="Ubuntu Light"/>
            </a:endParaRPr>
          </a:p>
        </p:txBody>
      </p:sp>
    </p:spTree>
    <p:extLst>
      <p:ext uri="{BB962C8B-B14F-4D97-AF65-F5344CB8AC3E}">
        <p14:creationId xmlns:p14="http://schemas.microsoft.com/office/powerpoint/2010/main" val="272226369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ortada">
    <p:spTree>
      <p:nvGrpSpPr>
        <p:cNvPr id="1" name=""/>
        <p:cNvGrpSpPr/>
        <p:nvPr/>
      </p:nvGrpSpPr>
      <p:grpSpPr>
        <a:xfrm>
          <a:off x="0" y="0"/>
          <a:ext cx="0" cy="0"/>
          <a:chOff x="0" y="0"/>
          <a:chExt cx="0" cy="0"/>
        </a:xfrm>
      </p:grpSpPr>
      <p:sp>
        <p:nvSpPr>
          <p:cNvPr id="3" name="Marcador de pie de página 2">
            <a:extLst>
              <a:ext uri="{FF2B5EF4-FFF2-40B4-BE49-F238E27FC236}">
                <a16:creationId xmlns:a16="http://schemas.microsoft.com/office/drawing/2014/main" id="{2BAD6E45-71F0-8D7F-356A-FE8083665163}"/>
              </a:ext>
            </a:extLst>
          </p:cNvPr>
          <p:cNvSpPr>
            <a:spLocks noGrp="1"/>
          </p:cNvSpPr>
          <p:nvPr>
            <p:ph type="ftr" sz="quarter" idx="10"/>
          </p:nvPr>
        </p:nvSpPr>
        <p:spPr/>
        <p:txBody>
          <a:bodyPr/>
          <a:lstStyle/>
          <a:p>
            <a:pPr marL="26034">
              <a:spcBef>
                <a:spcPts val="30"/>
              </a:spcBef>
            </a:pPr>
            <a:r>
              <a:rPr lang="es-ES">
                <a:solidFill>
                  <a:schemeClr val="bg1"/>
                </a:solidFill>
              </a:rPr>
              <a:t>Public</a:t>
            </a:r>
            <a:r>
              <a:rPr lang="es-ES" spc="-40">
                <a:solidFill>
                  <a:schemeClr val="bg1"/>
                </a:solidFill>
              </a:rPr>
              <a:t> </a:t>
            </a:r>
            <a:r>
              <a:rPr lang="es-ES">
                <a:solidFill>
                  <a:schemeClr val="bg1"/>
                </a:solidFill>
              </a:rPr>
              <a:t>©</a:t>
            </a:r>
            <a:r>
              <a:rPr lang="es-ES" spc="-40">
                <a:solidFill>
                  <a:schemeClr val="bg1"/>
                </a:solidFill>
              </a:rPr>
              <a:t> </a:t>
            </a:r>
            <a:r>
              <a:rPr lang="es-ES">
                <a:solidFill>
                  <a:schemeClr val="bg1"/>
                </a:solidFill>
              </a:rPr>
              <a:t>2023</a:t>
            </a:r>
            <a:r>
              <a:rPr lang="es-ES" spc="-40">
                <a:solidFill>
                  <a:schemeClr val="bg1"/>
                </a:solidFill>
              </a:rPr>
              <a:t> </a:t>
            </a:r>
            <a:r>
              <a:rPr lang="es-ES" spc="-10">
                <a:solidFill>
                  <a:schemeClr val="bg1"/>
                </a:solidFill>
              </a:rPr>
              <a:t>Sogeti.</a:t>
            </a:r>
            <a:r>
              <a:rPr lang="es-ES" spc="-35">
                <a:solidFill>
                  <a:schemeClr val="bg1"/>
                </a:solidFill>
              </a:rPr>
              <a:t> </a:t>
            </a:r>
            <a:r>
              <a:rPr lang="es-ES" err="1">
                <a:solidFill>
                  <a:schemeClr val="bg1"/>
                </a:solidFill>
              </a:rPr>
              <a:t>All</a:t>
            </a:r>
            <a:r>
              <a:rPr lang="es-ES" spc="-40">
                <a:solidFill>
                  <a:schemeClr val="bg1"/>
                </a:solidFill>
              </a:rPr>
              <a:t> </a:t>
            </a:r>
            <a:r>
              <a:rPr lang="es-ES">
                <a:solidFill>
                  <a:schemeClr val="bg1"/>
                </a:solidFill>
              </a:rPr>
              <a:t>rights</a:t>
            </a:r>
            <a:r>
              <a:rPr lang="es-ES" spc="-40">
                <a:solidFill>
                  <a:schemeClr val="bg1"/>
                </a:solidFill>
              </a:rPr>
              <a:t> </a:t>
            </a:r>
            <a:r>
              <a:rPr lang="es-ES" spc="-10" err="1">
                <a:solidFill>
                  <a:schemeClr val="bg1"/>
                </a:solidFill>
              </a:rPr>
              <a:t>reserved</a:t>
            </a:r>
            <a:endParaRPr lang="es-ES" spc="-10">
              <a:solidFill>
                <a:schemeClr val="bg1"/>
              </a:solidFill>
            </a:endParaRPr>
          </a:p>
        </p:txBody>
      </p:sp>
      <p:pic>
        <p:nvPicPr>
          <p:cNvPr id="4" name="Picture 2" descr="D15206-2020-Data Classification Tags - Group Cybersecurity-03">
            <a:extLst>
              <a:ext uri="{FF2B5EF4-FFF2-40B4-BE49-F238E27FC236}">
                <a16:creationId xmlns:a16="http://schemas.microsoft.com/office/drawing/2014/main" id="{D1611490-3CAB-BDCD-177E-3936EA4E4C9E}"/>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18148300" y="9093200"/>
            <a:ext cx="1270000" cy="127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1597986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 content - purple back">
    <p:bg>
      <p:bgPr>
        <a:solidFill>
          <a:srgbClr val="2B0A3D"/>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2618" y="2624"/>
          <a:ext cx="2617" cy="2621"/>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18" y="2624"/>
                        <a:ext cx="2617" cy="262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672755" y="416267"/>
            <a:ext cx="18803092" cy="1486667"/>
          </a:xfrm>
        </p:spPr>
        <p:txBody>
          <a:bodyPr vert="horz" lIns="0" tIns="0" rIns="0" bIns="0" rtlCol="0" anchor="ctr" anchorCtr="0">
            <a:noAutofit/>
          </a:bodyPr>
          <a:lstStyle>
            <a:lvl1pPr>
              <a:defRPr lang="en-GB" sz="4947" dirty="0">
                <a:solidFill>
                  <a:schemeClr val="bg1"/>
                </a:solidFill>
                <a:latin typeface="Ubuntu" panose="020B0504030602030204" pitchFamily="34" charset="0"/>
              </a:defRPr>
            </a:lvl1pPr>
          </a:lstStyle>
          <a:p>
            <a:pPr marL="0" lvl="0"/>
            <a:r>
              <a:rPr lang="en-US"/>
              <a:t>Click to edit Master title style</a:t>
            </a:r>
            <a:endParaRPr lang="en-GB"/>
          </a:p>
        </p:txBody>
      </p:sp>
      <p:sp>
        <p:nvSpPr>
          <p:cNvPr id="4" name="Text Placeholder 3">
            <a:extLst>
              <a:ext uri="{FF2B5EF4-FFF2-40B4-BE49-F238E27FC236}">
                <a16:creationId xmlns:a16="http://schemas.microsoft.com/office/drawing/2014/main" id="{3F3C6E84-978E-42E3-8BB5-D2BAAEA98165}"/>
              </a:ext>
            </a:extLst>
          </p:cNvPr>
          <p:cNvSpPr>
            <a:spLocks noGrp="1"/>
          </p:cNvSpPr>
          <p:nvPr>
            <p:ph type="body" sz="quarter" idx="10"/>
          </p:nvPr>
        </p:nvSpPr>
        <p:spPr>
          <a:xfrm>
            <a:off x="672755" y="2261023"/>
            <a:ext cx="18803092" cy="8055751"/>
          </a:xfrm>
        </p:spPr>
        <p:txBody>
          <a:bodyPr tIns="36000">
            <a:noAutofit/>
          </a:bodyPr>
          <a:lstStyle>
            <a:lvl1pPr>
              <a:defRPr spc="-33" baseline="0">
                <a:solidFill>
                  <a:schemeClr val="bg1"/>
                </a:solidFill>
              </a:defRPr>
            </a:lvl1pPr>
            <a:lvl2pPr>
              <a:defRPr spc="-33" baseline="0">
                <a:solidFill>
                  <a:schemeClr val="bg1"/>
                </a:solidFill>
              </a:defRPr>
            </a:lvl2pPr>
            <a:lvl3pPr>
              <a:defRPr spc="-33" baseline="0">
                <a:solidFill>
                  <a:schemeClr val="bg1"/>
                </a:solidFill>
              </a:defRPr>
            </a:lvl3pPr>
            <a:lvl4pPr>
              <a:defRPr spc="-33" baseline="0">
                <a:solidFill>
                  <a:schemeClr val="bg1"/>
                </a:solidFill>
              </a:defRPr>
            </a:lvl4pPr>
            <a:lvl5pPr marL="1774860" indent="-376961">
              <a:defRPr spc="-33" baseline="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0132131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4900" b="0" i="0">
                <a:solidFill>
                  <a:srgbClr val="2B0A3D"/>
                </a:solidFill>
                <a:latin typeface="Ubuntu Light"/>
                <a:cs typeface="Ubuntu Light"/>
              </a:defRPr>
            </a:lvl1pPr>
          </a:lstStyle>
          <a:p>
            <a:endParaRPr dirty="0"/>
          </a:p>
        </p:txBody>
      </p:sp>
      <p:sp>
        <p:nvSpPr>
          <p:cNvPr id="4" name="Holder 4"/>
          <p:cNvSpPr>
            <a:spLocks noGrp="1"/>
          </p:cNvSpPr>
          <p:nvPr>
            <p:ph type="ftr" sz="quarter" idx="5"/>
          </p:nvPr>
        </p:nvSpPr>
        <p:spPr>
          <a:xfrm>
            <a:off x="16647741" y="10759212"/>
            <a:ext cx="2962677" cy="200055"/>
          </a:xfrm>
          <a:prstGeom prst="rect">
            <a:avLst/>
          </a:prstGeom>
        </p:spPr>
        <p:txBody>
          <a:bodyPr lIns="0" tIns="0" rIns="0" bIns="0"/>
          <a:lstStyle>
            <a:lvl1pPr>
              <a:defRPr sz="1300" b="0" i="0">
                <a:solidFill>
                  <a:srgbClr val="808080"/>
                </a:solidFill>
                <a:latin typeface="Ubuntu Light"/>
                <a:cs typeface="Ubuntu Light"/>
              </a:defRPr>
            </a:lvl1pPr>
          </a:lstStyle>
          <a:p>
            <a:pPr marL="26034">
              <a:lnSpc>
                <a:spcPct val="100000"/>
              </a:lnSpc>
              <a:spcBef>
                <a:spcPts val="30"/>
              </a:spcBef>
            </a:pPr>
            <a:r>
              <a:rPr dirty="0">
                <a:solidFill>
                  <a:srgbClr val="666666"/>
                </a:solidFill>
              </a:rPr>
              <a:t>Public</a:t>
            </a:r>
            <a:r>
              <a:rPr spc="-40" dirty="0">
                <a:solidFill>
                  <a:srgbClr val="666666"/>
                </a:solidFill>
              </a:rPr>
              <a:t> </a:t>
            </a:r>
            <a:r>
              <a:rPr dirty="0">
                <a:solidFill>
                  <a:srgbClr val="666666"/>
                </a:solidFill>
              </a:rPr>
              <a:t>©</a:t>
            </a:r>
            <a:r>
              <a:rPr spc="-40" dirty="0">
                <a:solidFill>
                  <a:srgbClr val="666666"/>
                </a:solidFill>
              </a:rPr>
              <a:t> </a:t>
            </a:r>
            <a:r>
              <a:rPr dirty="0">
                <a:solidFill>
                  <a:srgbClr val="666666"/>
                </a:solidFill>
              </a:rPr>
              <a:t>202</a:t>
            </a:r>
            <a:r>
              <a:rPr lang="es-ES" dirty="0">
                <a:solidFill>
                  <a:srgbClr val="666666"/>
                </a:solidFill>
              </a:rPr>
              <a:t>3</a:t>
            </a:r>
            <a:r>
              <a:rPr spc="-40" dirty="0">
                <a:solidFill>
                  <a:srgbClr val="666666"/>
                </a:solidFill>
              </a:rPr>
              <a:t> </a:t>
            </a:r>
            <a:r>
              <a:rPr spc="-10" dirty="0">
                <a:solidFill>
                  <a:srgbClr val="666666"/>
                </a:solidFill>
              </a:rPr>
              <a:t>Sogeti.</a:t>
            </a:r>
            <a:r>
              <a:rPr spc="-35" dirty="0">
                <a:solidFill>
                  <a:srgbClr val="666666"/>
                </a:solidFill>
              </a:rPr>
              <a:t> </a:t>
            </a:r>
            <a:r>
              <a:rPr dirty="0">
                <a:solidFill>
                  <a:srgbClr val="666666"/>
                </a:solidFill>
              </a:rPr>
              <a:t>All</a:t>
            </a:r>
            <a:r>
              <a:rPr spc="-40" dirty="0">
                <a:solidFill>
                  <a:srgbClr val="666666"/>
                </a:solidFill>
              </a:rPr>
              <a:t> </a:t>
            </a:r>
            <a:r>
              <a:rPr dirty="0">
                <a:solidFill>
                  <a:srgbClr val="666666"/>
                </a:solidFill>
              </a:rPr>
              <a:t>rights</a:t>
            </a:r>
            <a:r>
              <a:rPr spc="-40" dirty="0">
                <a:solidFill>
                  <a:srgbClr val="666666"/>
                </a:solidFill>
              </a:rPr>
              <a:t> </a:t>
            </a:r>
            <a:r>
              <a:rPr spc="-10" dirty="0">
                <a:solidFill>
                  <a:srgbClr val="666666"/>
                </a:solidFill>
              </a:rPr>
              <a:t>reserved</a:t>
            </a:r>
          </a:p>
        </p:txBody>
      </p:sp>
    </p:spTree>
    <p:extLst>
      <p:ext uri="{BB962C8B-B14F-4D97-AF65-F5344CB8AC3E}">
        <p14:creationId xmlns:p14="http://schemas.microsoft.com/office/powerpoint/2010/main" val="107306624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9_Title and Content">
    <p:spTree>
      <p:nvGrpSpPr>
        <p:cNvPr id="1" name=""/>
        <p:cNvGrpSpPr/>
        <p:nvPr/>
      </p:nvGrpSpPr>
      <p:grpSpPr>
        <a:xfrm>
          <a:off x="0" y="0"/>
          <a:ext cx="0" cy="0"/>
          <a:chOff x="0" y="0"/>
          <a:chExt cx="0" cy="0"/>
        </a:xfrm>
      </p:grpSpPr>
      <p:sp>
        <p:nvSpPr>
          <p:cNvPr id="3" name="Rectángulo 2">
            <a:extLst>
              <a:ext uri="{FF2B5EF4-FFF2-40B4-BE49-F238E27FC236}">
                <a16:creationId xmlns:a16="http://schemas.microsoft.com/office/drawing/2014/main" id="{A2C66AAD-EF42-716E-9171-A8D552B03261}"/>
              </a:ext>
            </a:extLst>
          </p:cNvPr>
          <p:cNvSpPr/>
          <p:nvPr userDrawn="1"/>
        </p:nvSpPr>
        <p:spPr>
          <a:xfrm>
            <a:off x="6165850" y="0"/>
            <a:ext cx="13938250" cy="113284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2" name="Holder 2"/>
          <p:cNvSpPr>
            <a:spLocks noGrp="1"/>
          </p:cNvSpPr>
          <p:nvPr>
            <p:ph type="title"/>
          </p:nvPr>
        </p:nvSpPr>
        <p:spPr/>
        <p:txBody>
          <a:bodyPr lIns="0" tIns="0" rIns="0" bIns="0"/>
          <a:lstStyle>
            <a:lvl1pPr>
              <a:defRPr sz="4900" b="0" i="0">
                <a:solidFill>
                  <a:srgbClr val="2B0A3D"/>
                </a:solidFill>
                <a:latin typeface="Ubuntu Light"/>
                <a:cs typeface="Ubuntu Light"/>
              </a:defRPr>
            </a:lvl1pPr>
          </a:lstStyle>
          <a:p>
            <a:endParaRPr dirty="0"/>
          </a:p>
        </p:txBody>
      </p:sp>
      <p:sp>
        <p:nvSpPr>
          <p:cNvPr id="4" name="Holder 4"/>
          <p:cNvSpPr>
            <a:spLocks noGrp="1"/>
          </p:cNvSpPr>
          <p:nvPr>
            <p:ph type="ftr" sz="quarter" idx="5"/>
          </p:nvPr>
        </p:nvSpPr>
        <p:spPr>
          <a:xfrm>
            <a:off x="16647741" y="10759212"/>
            <a:ext cx="2962677" cy="200055"/>
          </a:xfrm>
          <a:prstGeom prst="rect">
            <a:avLst/>
          </a:prstGeom>
        </p:spPr>
        <p:txBody>
          <a:bodyPr lIns="0" tIns="0" rIns="0" bIns="0"/>
          <a:lstStyle>
            <a:lvl1pPr>
              <a:defRPr sz="1300" b="0" i="0">
                <a:solidFill>
                  <a:srgbClr val="808080"/>
                </a:solidFill>
                <a:latin typeface="Ubuntu Light"/>
                <a:cs typeface="Ubuntu Light"/>
              </a:defRPr>
            </a:lvl1pPr>
          </a:lstStyle>
          <a:p>
            <a:pPr marL="26034">
              <a:lnSpc>
                <a:spcPct val="100000"/>
              </a:lnSpc>
              <a:spcBef>
                <a:spcPts val="30"/>
              </a:spcBef>
            </a:pPr>
            <a:r>
              <a:rPr dirty="0">
                <a:solidFill>
                  <a:srgbClr val="666666"/>
                </a:solidFill>
              </a:rPr>
              <a:t>Public</a:t>
            </a:r>
            <a:r>
              <a:rPr spc="-40" dirty="0">
                <a:solidFill>
                  <a:srgbClr val="666666"/>
                </a:solidFill>
              </a:rPr>
              <a:t> </a:t>
            </a:r>
            <a:r>
              <a:rPr dirty="0">
                <a:solidFill>
                  <a:srgbClr val="666666"/>
                </a:solidFill>
              </a:rPr>
              <a:t>©</a:t>
            </a:r>
            <a:r>
              <a:rPr spc="-40" dirty="0">
                <a:solidFill>
                  <a:srgbClr val="666666"/>
                </a:solidFill>
              </a:rPr>
              <a:t> </a:t>
            </a:r>
            <a:r>
              <a:rPr dirty="0">
                <a:solidFill>
                  <a:srgbClr val="666666"/>
                </a:solidFill>
              </a:rPr>
              <a:t>202</a:t>
            </a:r>
            <a:r>
              <a:rPr lang="es-ES" dirty="0">
                <a:solidFill>
                  <a:srgbClr val="666666"/>
                </a:solidFill>
              </a:rPr>
              <a:t>3</a:t>
            </a:r>
            <a:r>
              <a:rPr spc="-40" dirty="0">
                <a:solidFill>
                  <a:srgbClr val="666666"/>
                </a:solidFill>
              </a:rPr>
              <a:t> </a:t>
            </a:r>
            <a:r>
              <a:rPr spc="-10" dirty="0">
                <a:solidFill>
                  <a:srgbClr val="666666"/>
                </a:solidFill>
              </a:rPr>
              <a:t>Sogeti.</a:t>
            </a:r>
            <a:r>
              <a:rPr spc="-35" dirty="0">
                <a:solidFill>
                  <a:srgbClr val="666666"/>
                </a:solidFill>
              </a:rPr>
              <a:t> </a:t>
            </a:r>
            <a:r>
              <a:rPr dirty="0">
                <a:solidFill>
                  <a:srgbClr val="666666"/>
                </a:solidFill>
              </a:rPr>
              <a:t>All</a:t>
            </a:r>
            <a:r>
              <a:rPr spc="-40" dirty="0">
                <a:solidFill>
                  <a:srgbClr val="666666"/>
                </a:solidFill>
              </a:rPr>
              <a:t> </a:t>
            </a:r>
            <a:r>
              <a:rPr dirty="0">
                <a:solidFill>
                  <a:srgbClr val="666666"/>
                </a:solidFill>
              </a:rPr>
              <a:t>rights</a:t>
            </a:r>
            <a:r>
              <a:rPr spc="-40" dirty="0">
                <a:solidFill>
                  <a:srgbClr val="666666"/>
                </a:solidFill>
              </a:rPr>
              <a:t> </a:t>
            </a:r>
            <a:r>
              <a:rPr spc="-10" dirty="0">
                <a:solidFill>
                  <a:srgbClr val="666666"/>
                </a:solidFill>
              </a:rPr>
              <a:t>reserved</a:t>
            </a:r>
          </a:p>
        </p:txBody>
      </p:sp>
      <p:pic>
        <p:nvPicPr>
          <p:cNvPr id="5" name="Imagen 4" descr="Un dibujo de una cara feliz&#10;&#10;Descripción generada automáticamente con confianza baja">
            <a:extLst>
              <a:ext uri="{FF2B5EF4-FFF2-40B4-BE49-F238E27FC236}">
                <a16:creationId xmlns:a16="http://schemas.microsoft.com/office/drawing/2014/main" id="{0970D80F-4793-EBAF-C1AA-58B1A458F35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7824450" y="406400"/>
            <a:ext cx="1801936" cy="934010"/>
          </a:xfrm>
          <a:prstGeom prst="rect">
            <a:avLst/>
          </a:prstGeom>
        </p:spPr>
      </p:pic>
    </p:spTree>
    <p:extLst>
      <p:ext uri="{BB962C8B-B14F-4D97-AF65-F5344CB8AC3E}">
        <p14:creationId xmlns:p14="http://schemas.microsoft.com/office/powerpoint/2010/main" val="200755563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sp>
        <p:nvSpPr>
          <p:cNvPr id="6" name="object 4">
            <a:extLst>
              <a:ext uri="{FF2B5EF4-FFF2-40B4-BE49-F238E27FC236}">
                <a16:creationId xmlns:a16="http://schemas.microsoft.com/office/drawing/2014/main" id="{ED016D23-5721-500E-F5FD-4532489937C3}"/>
              </a:ext>
            </a:extLst>
          </p:cNvPr>
          <p:cNvSpPr/>
          <p:nvPr userDrawn="1"/>
        </p:nvSpPr>
        <p:spPr>
          <a:xfrm>
            <a:off x="2974038" y="0"/>
            <a:ext cx="1750695" cy="467995"/>
          </a:xfrm>
          <a:custGeom>
            <a:avLst/>
            <a:gdLst/>
            <a:ahLst/>
            <a:cxnLst/>
            <a:rect l="l" t="t" r="r" b="b"/>
            <a:pathLst>
              <a:path w="1750695" h="467995">
                <a:moveTo>
                  <a:pt x="1750463" y="0"/>
                </a:moveTo>
                <a:lnTo>
                  <a:pt x="0" y="0"/>
                </a:lnTo>
                <a:lnTo>
                  <a:pt x="752433" y="438676"/>
                </a:lnTo>
                <a:lnTo>
                  <a:pt x="797088" y="457866"/>
                </a:lnTo>
                <a:lnTo>
                  <a:pt x="844132" y="467461"/>
                </a:lnTo>
                <a:lnTo>
                  <a:pt x="891973" y="467461"/>
                </a:lnTo>
                <a:lnTo>
                  <a:pt x="939018" y="457866"/>
                </a:lnTo>
                <a:lnTo>
                  <a:pt x="983672" y="438676"/>
                </a:lnTo>
                <a:lnTo>
                  <a:pt x="1750463" y="0"/>
                </a:lnTo>
                <a:close/>
              </a:path>
            </a:pathLst>
          </a:custGeom>
          <a:solidFill>
            <a:srgbClr val="FFFFFF"/>
          </a:solidFill>
        </p:spPr>
        <p:txBody>
          <a:bodyPr wrap="square" lIns="0" tIns="0" rIns="0" bIns="0" rtlCol="0"/>
          <a:lstStyle/>
          <a:p>
            <a:endParaRPr/>
          </a:p>
        </p:txBody>
      </p:sp>
      <p:sp>
        <p:nvSpPr>
          <p:cNvPr id="9" name="object 7">
            <a:extLst>
              <a:ext uri="{FF2B5EF4-FFF2-40B4-BE49-F238E27FC236}">
                <a16:creationId xmlns:a16="http://schemas.microsoft.com/office/drawing/2014/main" id="{7B442BB3-EFD2-D68C-F66D-411FCE471DC2}"/>
              </a:ext>
            </a:extLst>
          </p:cNvPr>
          <p:cNvSpPr/>
          <p:nvPr/>
        </p:nvSpPr>
        <p:spPr>
          <a:xfrm>
            <a:off x="0" y="0"/>
            <a:ext cx="3819525" cy="3227705"/>
          </a:xfrm>
          <a:custGeom>
            <a:avLst/>
            <a:gdLst/>
            <a:ahLst/>
            <a:cxnLst/>
            <a:rect l="l" t="t" r="r" b="b"/>
            <a:pathLst>
              <a:path w="3819525" h="3227705">
                <a:moveTo>
                  <a:pt x="1789430" y="0"/>
                </a:moveTo>
                <a:lnTo>
                  <a:pt x="0" y="0"/>
                </a:lnTo>
                <a:lnTo>
                  <a:pt x="0" y="3098000"/>
                </a:lnTo>
                <a:lnTo>
                  <a:pt x="97427" y="3154801"/>
                </a:lnTo>
                <a:lnTo>
                  <a:pt x="141387" y="3176910"/>
                </a:lnTo>
                <a:lnTo>
                  <a:pt x="186738" y="3195000"/>
                </a:lnTo>
                <a:lnTo>
                  <a:pt x="233202" y="3209070"/>
                </a:lnTo>
                <a:lnTo>
                  <a:pt x="280502" y="3219120"/>
                </a:lnTo>
                <a:lnTo>
                  <a:pt x="328357" y="3225150"/>
                </a:lnTo>
                <a:lnTo>
                  <a:pt x="376491" y="3227160"/>
                </a:lnTo>
                <a:lnTo>
                  <a:pt x="424626" y="3225150"/>
                </a:lnTo>
                <a:lnTo>
                  <a:pt x="472481" y="3219120"/>
                </a:lnTo>
                <a:lnTo>
                  <a:pt x="519781" y="3209070"/>
                </a:lnTo>
                <a:lnTo>
                  <a:pt x="566245" y="3195000"/>
                </a:lnTo>
                <a:lnTo>
                  <a:pt x="611596" y="3176910"/>
                </a:lnTo>
                <a:lnTo>
                  <a:pt x="655556" y="3154801"/>
                </a:lnTo>
                <a:lnTo>
                  <a:pt x="3727107" y="1397577"/>
                </a:lnTo>
                <a:lnTo>
                  <a:pt x="3763856" y="1370914"/>
                </a:lnTo>
                <a:lnTo>
                  <a:pt x="3791417" y="1338263"/>
                </a:lnTo>
                <a:lnTo>
                  <a:pt x="3809792" y="1301335"/>
                </a:lnTo>
                <a:lnTo>
                  <a:pt x="3818979" y="1261841"/>
                </a:lnTo>
                <a:lnTo>
                  <a:pt x="3818979" y="1221492"/>
                </a:lnTo>
                <a:lnTo>
                  <a:pt x="3809792" y="1181999"/>
                </a:lnTo>
                <a:lnTo>
                  <a:pt x="3791417" y="1145073"/>
                </a:lnTo>
                <a:lnTo>
                  <a:pt x="3763856" y="1112424"/>
                </a:lnTo>
                <a:lnTo>
                  <a:pt x="3727107" y="1085764"/>
                </a:lnTo>
                <a:lnTo>
                  <a:pt x="1789430" y="0"/>
                </a:lnTo>
                <a:close/>
              </a:path>
            </a:pathLst>
          </a:custGeom>
          <a:solidFill>
            <a:srgbClr val="FFFFFF"/>
          </a:solidFill>
        </p:spPr>
        <p:txBody>
          <a:bodyPr wrap="square" lIns="0" tIns="0" rIns="0" bIns="0" rtlCol="0"/>
          <a:lstStyle/>
          <a:p>
            <a:endParaRPr/>
          </a:p>
        </p:txBody>
      </p:sp>
      <p:sp>
        <p:nvSpPr>
          <p:cNvPr id="10" name="object 8">
            <a:extLst>
              <a:ext uri="{FF2B5EF4-FFF2-40B4-BE49-F238E27FC236}">
                <a16:creationId xmlns:a16="http://schemas.microsoft.com/office/drawing/2014/main" id="{7C5088D7-9EB4-4147-A355-F26ACBE46FAF}"/>
              </a:ext>
            </a:extLst>
          </p:cNvPr>
          <p:cNvSpPr/>
          <p:nvPr/>
        </p:nvSpPr>
        <p:spPr>
          <a:xfrm>
            <a:off x="755337" y="1446742"/>
            <a:ext cx="7031990" cy="8500110"/>
          </a:xfrm>
          <a:custGeom>
            <a:avLst/>
            <a:gdLst/>
            <a:ahLst/>
            <a:cxnLst/>
            <a:rect l="l" t="t" r="r" b="b"/>
            <a:pathLst>
              <a:path w="7031990" h="8500110">
                <a:moveTo>
                  <a:pt x="7031785" y="0"/>
                </a:moveTo>
                <a:lnTo>
                  <a:pt x="0" y="0"/>
                </a:lnTo>
                <a:lnTo>
                  <a:pt x="0" y="8499783"/>
                </a:lnTo>
                <a:lnTo>
                  <a:pt x="3988642" y="7841216"/>
                </a:lnTo>
                <a:lnTo>
                  <a:pt x="4036805" y="7832935"/>
                </a:lnTo>
                <a:lnTo>
                  <a:pt x="4084729" y="7824039"/>
                </a:lnTo>
                <a:lnTo>
                  <a:pt x="4132408" y="7814532"/>
                </a:lnTo>
                <a:lnTo>
                  <a:pt x="4179840" y="7804419"/>
                </a:lnTo>
                <a:lnTo>
                  <a:pt x="4227022" y="7793704"/>
                </a:lnTo>
                <a:lnTo>
                  <a:pt x="4273948" y="7782392"/>
                </a:lnTo>
                <a:lnTo>
                  <a:pt x="4320615" y="7770487"/>
                </a:lnTo>
                <a:lnTo>
                  <a:pt x="4367020" y="7757994"/>
                </a:lnTo>
                <a:lnTo>
                  <a:pt x="4413159" y="7744918"/>
                </a:lnTo>
                <a:lnTo>
                  <a:pt x="4459027" y="7731262"/>
                </a:lnTo>
                <a:lnTo>
                  <a:pt x="4504622" y="7717031"/>
                </a:lnTo>
                <a:lnTo>
                  <a:pt x="4549939" y="7702230"/>
                </a:lnTo>
                <a:lnTo>
                  <a:pt x="4594974" y="7686862"/>
                </a:lnTo>
                <a:lnTo>
                  <a:pt x="4639724" y="7670934"/>
                </a:lnTo>
                <a:lnTo>
                  <a:pt x="4684185" y="7654448"/>
                </a:lnTo>
                <a:lnTo>
                  <a:pt x="4728353" y="7637410"/>
                </a:lnTo>
                <a:lnTo>
                  <a:pt x="4772224" y="7619824"/>
                </a:lnTo>
                <a:lnTo>
                  <a:pt x="4815795" y="7601695"/>
                </a:lnTo>
                <a:lnTo>
                  <a:pt x="4859062" y="7583026"/>
                </a:lnTo>
                <a:lnTo>
                  <a:pt x="4902020" y="7563823"/>
                </a:lnTo>
                <a:lnTo>
                  <a:pt x="4944667" y="7544090"/>
                </a:lnTo>
                <a:lnTo>
                  <a:pt x="4986998" y="7523831"/>
                </a:lnTo>
                <a:lnTo>
                  <a:pt x="5029009" y="7503051"/>
                </a:lnTo>
                <a:lnTo>
                  <a:pt x="5070698" y="7481755"/>
                </a:lnTo>
                <a:lnTo>
                  <a:pt x="5112059" y="7459946"/>
                </a:lnTo>
                <a:lnTo>
                  <a:pt x="5153089" y="7437629"/>
                </a:lnTo>
                <a:lnTo>
                  <a:pt x="5193785" y="7414809"/>
                </a:lnTo>
                <a:lnTo>
                  <a:pt x="5234142" y="7391490"/>
                </a:lnTo>
                <a:lnTo>
                  <a:pt x="5274157" y="7367677"/>
                </a:lnTo>
                <a:lnTo>
                  <a:pt x="5313826" y="7343374"/>
                </a:lnTo>
                <a:lnTo>
                  <a:pt x="5353145" y="7318586"/>
                </a:lnTo>
                <a:lnTo>
                  <a:pt x="5392111" y="7293317"/>
                </a:lnTo>
                <a:lnTo>
                  <a:pt x="5430719" y="7267571"/>
                </a:lnTo>
                <a:lnTo>
                  <a:pt x="5468966" y="7241354"/>
                </a:lnTo>
                <a:lnTo>
                  <a:pt x="5506848" y="7214668"/>
                </a:lnTo>
                <a:lnTo>
                  <a:pt x="5544361" y="7187520"/>
                </a:lnTo>
                <a:lnTo>
                  <a:pt x="5581502" y="7159914"/>
                </a:lnTo>
                <a:lnTo>
                  <a:pt x="5618266" y="7131853"/>
                </a:lnTo>
                <a:lnTo>
                  <a:pt x="5654650" y="7103343"/>
                </a:lnTo>
                <a:lnTo>
                  <a:pt x="5690649" y="7074387"/>
                </a:lnTo>
                <a:lnTo>
                  <a:pt x="5726262" y="7044991"/>
                </a:lnTo>
                <a:lnTo>
                  <a:pt x="5761482" y="7015159"/>
                </a:lnTo>
                <a:lnTo>
                  <a:pt x="5796307" y="6984895"/>
                </a:lnTo>
                <a:lnTo>
                  <a:pt x="5830733" y="6954204"/>
                </a:lnTo>
                <a:lnTo>
                  <a:pt x="5864756" y="6923090"/>
                </a:lnTo>
                <a:lnTo>
                  <a:pt x="5898373" y="6891558"/>
                </a:lnTo>
                <a:lnTo>
                  <a:pt x="5931579" y="6859612"/>
                </a:lnTo>
                <a:lnTo>
                  <a:pt x="5964370" y="6827256"/>
                </a:lnTo>
                <a:lnTo>
                  <a:pt x="5996743" y="6794496"/>
                </a:lnTo>
                <a:lnTo>
                  <a:pt x="6028694" y="6761335"/>
                </a:lnTo>
                <a:lnTo>
                  <a:pt x="6060220" y="6727779"/>
                </a:lnTo>
                <a:lnTo>
                  <a:pt x="6091316" y="6693831"/>
                </a:lnTo>
                <a:lnTo>
                  <a:pt x="6121979" y="6659496"/>
                </a:lnTo>
                <a:lnTo>
                  <a:pt x="6152204" y="6624778"/>
                </a:lnTo>
                <a:lnTo>
                  <a:pt x="6181989" y="6589683"/>
                </a:lnTo>
                <a:lnTo>
                  <a:pt x="6211329" y="6554214"/>
                </a:lnTo>
                <a:lnTo>
                  <a:pt x="6240220" y="6518375"/>
                </a:lnTo>
                <a:lnTo>
                  <a:pt x="6268660" y="6482173"/>
                </a:lnTo>
                <a:lnTo>
                  <a:pt x="6296643" y="6445610"/>
                </a:lnTo>
                <a:lnTo>
                  <a:pt x="6324166" y="6408691"/>
                </a:lnTo>
                <a:lnTo>
                  <a:pt x="6351225" y="6371421"/>
                </a:lnTo>
                <a:lnTo>
                  <a:pt x="6377817" y="6333805"/>
                </a:lnTo>
                <a:lnTo>
                  <a:pt x="6403938" y="6295846"/>
                </a:lnTo>
                <a:lnTo>
                  <a:pt x="6429583" y="6257550"/>
                </a:lnTo>
                <a:lnTo>
                  <a:pt x="6454750" y="6218920"/>
                </a:lnTo>
                <a:lnTo>
                  <a:pt x="6479434" y="6179961"/>
                </a:lnTo>
                <a:lnTo>
                  <a:pt x="6503632" y="6140678"/>
                </a:lnTo>
                <a:lnTo>
                  <a:pt x="6527339" y="6101075"/>
                </a:lnTo>
                <a:lnTo>
                  <a:pt x="6550552" y="6061157"/>
                </a:lnTo>
                <a:lnTo>
                  <a:pt x="6573268" y="6020928"/>
                </a:lnTo>
                <a:lnTo>
                  <a:pt x="6595481" y="5980392"/>
                </a:lnTo>
                <a:lnTo>
                  <a:pt x="6617190" y="5939554"/>
                </a:lnTo>
                <a:lnTo>
                  <a:pt x="6638389" y="5898419"/>
                </a:lnTo>
                <a:lnTo>
                  <a:pt x="6659075" y="5856991"/>
                </a:lnTo>
                <a:lnTo>
                  <a:pt x="6679244" y="5815274"/>
                </a:lnTo>
                <a:lnTo>
                  <a:pt x="6698892" y="5773273"/>
                </a:lnTo>
                <a:lnTo>
                  <a:pt x="6718017" y="5730992"/>
                </a:lnTo>
                <a:lnTo>
                  <a:pt x="6736613" y="5688437"/>
                </a:lnTo>
                <a:lnTo>
                  <a:pt x="6754676" y="5645610"/>
                </a:lnTo>
                <a:lnTo>
                  <a:pt x="6772205" y="5602518"/>
                </a:lnTo>
                <a:lnTo>
                  <a:pt x="6789193" y="5559163"/>
                </a:lnTo>
                <a:lnTo>
                  <a:pt x="6805638" y="5515552"/>
                </a:lnTo>
                <a:lnTo>
                  <a:pt x="6821536" y="5471687"/>
                </a:lnTo>
                <a:lnTo>
                  <a:pt x="6836883" y="5427575"/>
                </a:lnTo>
                <a:lnTo>
                  <a:pt x="6851675" y="5383218"/>
                </a:lnTo>
                <a:lnTo>
                  <a:pt x="6865909" y="5338622"/>
                </a:lnTo>
                <a:lnTo>
                  <a:pt x="6879580" y="5293791"/>
                </a:lnTo>
                <a:lnTo>
                  <a:pt x="6892685" y="5248730"/>
                </a:lnTo>
                <a:lnTo>
                  <a:pt x="6905220" y="5203443"/>
                </a:lnTo>
                <a:lnTo>
                  <a:pt x="6917181" y="5157934"/>
                </a:lnTo>
                <a:lnTo>
                  <a:pt x="6928565" y="5112208"/>
                </a:lnTo>
                <a:lnTo>
                  <a:pt x="6939367" y="5066270"/>
                </a:lnTo>
                <a:lnTo>
                  <a:pt x="6949585" y="5020124"/>
                </a:lnTo>
                <a:lnTo>
                  <a:pt x="6959213" y="4973774"/>
                </a:lnTo>
                <a:lnTo>
                  <a:pt x="6968248" y="4927225"/>
                </a:lnTo>
                <a:lnTo>
                  <a:pt x="6976687" y="4880481"/>
                </a:lnTo>
                <a:lnTo>
                  <a:pt x="6984526" y="4833548"/>
                </a:lnTo>
                <a:lnTo>
                  <a:pt x="6991760" y="4786428"/>
                </a:lnTo>
                <a:lnTo>
                  <a:pt x="6998387" y="4739127"/>
                </a:lnTo>
                <a:lnTo>
                  <a:pt x="7004402" y="4691650"/>
                </a:lnTo>
                <a:lnTo>
                  <a:pt x="7009801" y="4644000"/>
                </a:lnTo>
                <a:lnTo>
                  <a:pt x="7014581" y="4596183"/>
                </a:lnTo>
                <a:lnTo>
                  <a:pt x="7018738" y="4548202"/>
                </a:lnTo>
                <a:lnTo>
                  <a:pt x="7022268" y="4500062"/>
                </a:lnTo>
                <a:lnTo>
                  <a:pt x="7025168" y="4451768"/>
                </a:lnTo>
                <a:lnTo>
                  <a:pt x="7027433" y="4403324"/>
                </a:lnTo>
                <a:lnTo>
                  <a:pt x="7029059" y="4354734"/>
                </a:lnTo>
                <a:lnTo>
                  <a:pt x="7030044" y="4306004"/>
                </a:lnTo>
                <a:lnTo>
                  <a:pt x="7030382" y="4257137"/>
                </a:lnTo>
                <a:lnTo>
                  <a:pt x="7031785" y="0"/>
                </a:lnTo>
                <a:close/>
              </a:path>
            </a:pathLst>
          </a:custGeom>
          <a:solidFill>
            <a:srgbClr val="0070AD"/>
          </a:solidFill>
        </p:spPr>
        <p:txBody>
          <a:bodyPr wrap="square" lIns="0" tIns="0" rIns="0" bIns="0" rtlCol="0"/>
          <a:lstStyle/>
          <a:p>
            <a:endParaRPr/>
          </a:p>
        </p:txBody>
      </p:sp>
      <p:sp>
        <p:nvSpPr>
          <p:cNvPr id="14" name="object 14">
            <a:extLst>
              <a:ext uri="{FF2B5EF4-FFF2-40B4-BE49-F238E27FC236}">
                <a16:creationId xmlns:a16="http://schemas.microsoft.com/office/drawing/2014/main" id="{BCD1E6CE-2BD0-F1C2-1BE9-AEA812073E1C}"/>
              </a:ext>
            </a:extLst>
          </p:cNvPr>
          <p:cNvSpPr txBox="1"/>
          <p:nvPr userDrawn="1"/>
        </p:nvSpPr>
        <p:spPr>
          <a:xfrm>
            <a:off x="772681" y="728582"/>
            <a:ext cx="5164569" cy="367408"/>
          </a:xfrm>
          <a:prstGeom prst="rect">
            <a:avLst/>
          </a:prstGeom>
        </p:spPr>
        <p:txBody>
          <a:bodyPr vert="horz" wrap="square" lIns="0" tIns="13335" rIns="0" bIns="0" rtlCol="0">
            <a:spAutoFit/>
          </a:bodyPr>
          <a:lstStyle/>
          <a:p>
            <a:pPr marL="12700">
              <a:lnSpc>
                <a:spcPct val="100000"/>
              </a:lnSpc>
              <a:spcBef>
                <a:spcPts val="105"/>
              </a:spcBef>
            </a:pPr>
            <a:r>
              <a:rPr sz="2300" b="0" dirty="0">
                <a:solidFill>
                  <a:srgbClr val="2B0A3D"/>
                </a:solidFill>
                <a:latin typeface="Ubuntu Light"/>
                <a:cs typeface="Ubuntu Light"/>
              </a:rPr>
              <a:t>Sogeti </a:t>
            </a:r>
            <a:r>
              <a:rPr lang="es-ES" sz="2300" b="0" dirty="0">
                <a:solidFill>
                  <a:srgbClr val="2B0A3D"/>
                </a:solidFill>
                <a:latin typeface="Ubuntu Light"/>
                <a:cs typeface="Ubuntu Light"/>
              </a:rPr>
              <a:t>Spain · Solution passports</a:t>
            </a:r>
            <a:endParaRPr sz="2300" dirty="0">
              <a:latin typeface="Ubuntu Light"/>
              <a:cs typeface="Ubuntu Light"/>
            </a:endParaRPr>
          </a:p>
        </p:txBody>
      </p:sp>
    </p:spTree>
    <p:extLst>
      <p:ext uri="{BB962C8B-B14F-4D97-AF65-F5344CB8AC3E}">
        <p14:creationId xmlns:p14="http://schemas.microsoft.com/office/powerpoint/2010/main" val="6423611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6_Title and Content">
    <p:spTree>
      <p:nvGrpSpPr>
        <p:cNvPr id="1" name=""/>
        <p:cNvGrpSpPr/>
        <p:nvPr/>
      </p:nvGrpSpPr>
      <p:grpSpPr>
        <a:xfrm>
          <a:off x="0" y="0"/>
          <a:ext cx="0" cy="0"/>
          <a:chOff x="0" y="0"/>
          <a:chExt cx="0" cy="0"/>
        </a:xfrm>
      </p:grpSpPr>
      <p:sp>
        <p:nvSpPr>
          <p:cNvPr id="6" name="object 4">
            <a:extLst>
              <a:ext uri="{FF2B5EF4-FFF2-40B4-BE49-F238E27FC236}">
                <a16:creationId xmlns:a16="http://schemas.microsoft.com/office/drawing/2014/main" id="{ED016D23-5721-500E-F5FD-4532489937C3}"/>
              </a:ext>
            </a:extLst>
          </p:cNvPr>
          <p:cNvSpPr/>
          <p:nvPr userDrawn="1"/>
        </p:nvSpPr>
        <p:spPr>
          <a:xfrm>
            <a:off x="2974038" y="0"/>
            <a:ext cx="1750695" cy="467995"/>
          </a:xfrm>
          <a:custGeom>
            <a:avLst/>
            <a:gdLst/>
            <a:ahLst/>
            <a:cxnLst/>
            <a:rect l="l" t="t" r="r" b="b"/>
            <a:pathLst>
              <a:path w="1750695" h="467995">
                <a:moveTo>
                  <a:pt x="1750463" y="0"/>
                </a:moveTo>
                <a:lnTo>
                  <a:pt x="0" y="0"/>
                </a:lnTo>
                <a:lnTo>
                  <a:pt x="752433" y="438676"/>
                </a:lnTo>
                <a:lnTo>
                  <a:pt x="797088" y="457866"/>
                </a:lnTo>
                <a:lnTo>
                  <a:pt x="844132" y="467461"/>
                </a:lnTo>
                <a:lnTo>
                  <a:pt x="891973" y="467461"/>
                </a:lnTo>
                <a:lnTo>
                  <a:pt x="939018" y="457866"/>
                </a:lnTo>
                <a:lnTo>
                  <a:pt x="983672" y="438676"/>
                </a:lnTo>
                <a:lnTo>
                  <a:pt x="1750463" y="0"/>
                </a:lnTo>
                <a:close/>
              </a:path>
            </a:pathLst>
          </a:custGeom>
          <a:solidFill>
            <a:srgbClr val="FFFFFF"/>
          </a:solidFill>
        </p:spPr>
        <p:txBody>
          <a:bodyPr wrap="square" lIns="0" tIns="0" rIns="0" bIns="0" rtlCol="0"/>
          <a:lstStyle/>
          <a:p>
            <a:endParaRPr/>
          </a:p>
        </p:txBody>
      </p:sp>
      <p:sp>
        <p:nvSpPr>
          <p:cNvPr id="9" name="object 7">
            <a:extLst>
              <a:ext uri="{FF2B5EF4-FFF2-40B4-BE49-F238E27FC236}">
                <a16:creationId xmlns:a16="http://schemas.microsoft.com/office/drawing/2014/main" id="{7B442BB3-EFD2-D68C-F66D-411FCE471DC2}"/>
              </a:ext>
            </a:extLst>
          </p:cNvPr>
          <p:cNvSpPr/>
          <p:nvPr/>
        </p:nvSpPr>
        <p:spPr>
          <a:xfrm>
            <a:off x="0" y="0"/>
            <a:ext cx="3819525" cy="3227705"/>
          </a:xfrm>
          <a:custGeom>
            <a:avLst/>
            <a:gdLst/>
            <a:ahLst/>
            <a:cxnLst/>
            <a:rect l="l" t="t" r="r" b="b"/>
            <a:pathLst>
              <a:path w="3819525" h="3227705">
                <a:moveTo>
                  <a:pt x="1789430" y="0"/>
                </a:moveTo>
                <a:lnTo>
                  <a:pt x="0" y="0"/>
                </a:lnTo>
                <a:lnTo>
                  <a:pt x="0" y="3098000"/>
                </a:lnTo>
                <a:lnTo>
                  <a:pt x="97427" y="3154801"/>
                </a:lnTo>
                <a:lnTo>
                  <a:pt x="141387" y="3176910"/>
                </a:lnTo>
                <a:lnTo>
                  <a:pt x="186738" y="3195000"/>
                </a:lnTo>
                <a:lnTo>
                  <a:pt x="233202" y="3209070"/>
                </a:lnTo>
                <a:lnTo>
                  <a:pt x="280502" y="3219120"/>
                </a:lnTo>
                <a:lnTo>
                  <a:pt x="328357" y="3225150"/>
                </a:lnTo>
                <a:lnTo>
                  <a:pt x="376491" y="3227160"/>
                </a:lnTo>
                <a:lnTo>
                  <a:pt x="424626" y="3225150"/>
                </a:lnTo>
                <a:lnTo>
                  <a:pt x="472481" y="3219120"/>
                </a:lnTo>
                <a:lnTo>
                  <a:pt x="519781" y="3209070"/>
                </a:lnTo>
                <a:lnTo>
                  <a:pt x="566245" y="3195000"/>
                </a:lnTo>
                <a:lnTo>
                  <a:pt x="611596" y="3176910"/>
                </a:lnTo>
                <a:lnTo>
                  <a:pt x="655556" y="3154801"/>
                </a:lnTo>
                <a:lnTo>
                  <a:pt x="3727107" y="1397577"/>
                </a:lnTo>
                <a:lnTo>
                  <a:pt x="3763856" y="1370914"/>
                </a:lnTo>
                <a:lnTo>
                  <a:pt x="3791417" y="1338263"/>
                </a:lnTo>
                <a:lnTo>
                  <a:pt x="3809792" y="1301335"/>
                </a:lnTo>
                <a:lnTo>
                  <a:pt x="3818979" y="1261841"/>
                </a:lnTo>
                <a:lnTo>
                  <a:pt x="3818979" y="1221492"/>
                </a:lnTo>
                <a:lnTo>
                  <a:pt x="3809792" y="1181999"/>
                </a:lnTo>
                <a:lnTo>
                  <a:pt x="3791417" y="1145073"/>
                </a:lnTo>
                <a:lnTo>
                  <a:pt x="3763856" y="1112424"/>
                </a:lnTo>
                <a:lnTo>
                  <a:pt x="3727107" y="1085764"/>
                </a:lnTo>
                <a:lnTo>
                  <a:pt x="1789430" y="0"/>
                </a:lnTo>
                <a:close/>
              </a:path>
            </a:pathLst>
          </a:custGeom>
          <a:solidFill>
            <a:srgbClr val="FFFFFF"/>
          </a:solidFill>
        </p:spPr>
        <p:txBody>
          <a:bodyPr wrap="square" lIns="0" tIns="0" rIns="0" bIns="0" rtlCol="0"/>
          <a:lstStyle/>
          <a:p>
            <a:endParaRPr/>
          </a:p>
        </p:txBody>
      </p:sp>
      <p:sp>
        <p:nvSpPr>
          <p:cNvPr id="10" name="object 8">
            <a:extLst>
              <a:ext uri="{FF2B5EF4-FFF2-40B4-BE49-F238E27FC236}">
                <a16:creationId xmlns:a16="http://schemas.microsoft.com/office/drawing/2014/main" id="{7C5088D7-9EB4-4147-A355-F26ACBE46FAF}"/>
              </a:ext>
            </a:extLst>
          </p:cNvPr>
          <p:cNvSpPr/>
          <p:nvPr/>
        </p:nvSpPr>
        <p:spPr>
          <a:xfrm>
            <a:off x="755337" y="1446742"/>
            <a:ext cx="7031990" cy="8500110"/>
          </a:xfrm>
          <a:custGeom>
            <a:avLst/>
            <a:gdLst/>
            <a:ahLst/>
            <a:cxnLst/>
            <a:rect l="l" t="t" r="r" b="b"/>
            <a:pathLst>
              <a:path w="7031990" h="8500110">
                <a:moveTo>
                  <a:pt x="7031785" y="0"/>
                </a:moveTo>
                <a:lnTo>
                  <a:pt x="0" y="0"/>
                </a:lnTo>
                <a:lnTo>
                  <a:pt x="0" y="8499783"/>
                </a:lnTo>
                <a:lnTo>
                  <a:pt x="3988642" y="7841216"/>
                </a:lnTo>
                <a:lnTo>
                  <a:pt x="4036805" y="7832935"/>
                </a:lnTo>
                <a:lnTo>
                  <a:pt x="4084729" y="7824039"/>
                </a:lnTo>
                <a:lnTo>
                  <a:pt x="4132408" y="7814532"/>
                </a:lnTo>
                <a:lnTo>
                  <a:pt x="4179840" y="7804419"/>
                </a:lnTo>
                <a:lnTo>
                  <a:pt x="4227022" y="7793704"/>
                </a:lnTo>
                <a:lnTo>
                  <a:pt x="4273948" y="7782392"/>
                </a:lnTo>
                <a:lnTo>
                  <a:pt x="4320615" y="7770487"/>
                </a:lnTo>
                <a:lnTo>
                  <a:pt x="4367020" y="7757994"/>
                </a:lnTo>
                <a:lnTo>
                  <a:pt x="4413159" y="7744918"/>
                </a:lnTo>
                <a:lnTo>
                  <a:pt x="4459027" y="7731262"/>
                </a:lnTo>
                <a:lnTo>
                  <a:pt x="4504622" y="7717031"/>
                </a:lnTo>
                <a:lnTo>
                  <a:pt x="4549939" y="7702230"/>
                </a:lnTo>
                <a:lnTo>
                  <a:pt x="4594974" y="7686862"/>
                </a:lnTo>
                <a:lnTo>
                  <a:pt x="4639724" y="7670934"/>
                </a:lnTo>
                <a:lnTo>
                  <a:pt x="4684185" y="7654448"/>
                </a:lnTo>
                <a:lnTo>
                  <a:pt x="4728353" y="7637410"/>
                </a:lnTo>
                <a:lnTo>
                  <a:pt x="4772224" y="7619824"/>
                </a:lnTo>
                <a:lnTo>
                  <a:pt x="4815795" y="7601695"/>
                </a:lnTo>
                <a:lnTo>
                  <a:pt x="4859062" y="7583026"/>
                </a:lnTo>
                <a:lnTo>
                  <a:pt x="4902020" y="7563823"/>
                </a:lnTo>
                <a:lnTo>
                  <a:pt x="4944667" y="7544090"/>
                </a:lnTo>
                <a:lnTo>
                  <a:pt x="4986998" y="7523831"/>
                </a:lnTo>
                <a:lnTo>
                  <a:pt x="5029009" y="7503051"/>
                </a:lnTo>
                <a:lnTo>
                  <a:pt x="5070698" y="7481755"/>
                </a:lnTo>
                <a:lnTo>
                  <a:pt x="5112059" y="7459946"/>
                </a:lnTo>
                <a:lnTo>
                  <a:pt x="5153089" y="7437629"/>
                </a:lnTo>
                <a:lnTo>
                  <a:pt x="5193785" y="7414809"/>
                </a:lnTo>
                <a:lnTo>
                  <a:pt x="5234142" y="7391490"/>
                </a:lnTo>
                <a:lnTo>
                  <a:pt x="5274157" y="7367677"/>
                </a:lnTo>
                <a:lnTo>
                  <a:pt x="5313826" y="7343374"/>
                </a:lnTo>
                <a:lnTo>
                  <a:pt x="5353145" y="7318586"/>
                </a:lnTo>
                <a:lnTo>
                  <a:pt x="5392111" y="7293317"/>
                </a:lnTo>
                <a:lnTo>
                  <a:pt x="5430719" y="7267571"/>
                </a:lnTo>
                <a:lnTo>
                  <a:pt x="5468966" y="7241354"/>
                </a:lnTo>
                <a:lnTo>
                  <a:pt x="5506848" y="7214668"/>
                </a:lnTo>
                <a:lnTo>
                  <a:pt x="5544361" y="7187520"/>
                </a:lnTo>
                <a:lnTo>
                  <a:pt x="5581502" y="7159914"/>
                </a:lnTo>
                <a:lnTo>
                  <a:pt x="5618266" y="7131853"/>
                </a:lnTo>
                <a:lnTo>
                  <a:pt x="5654650" y="7103343"/>
                </a:lnTo>
                <a:lnTo>
                  <a:pt x="5690649" y="7074387"/>
                </a:lnTo>
                <a:lnTo>
                  <a:pt x="5726262" y="7044991"/>
                </a:lnTo>
                <a:lnTo>
                  <a:pt x="5761482" y="7015159"/>
                </a:lnTo>
                <a:lnTo>
                  <a:pt x="5796307" y="6984895"/>
                </a:lnTo>
                <a:lnTo>
                  <a:pt x="5830733" y="6954204"/>
                </a:lnTo>
                <a:lnTo>
                  <a:pt x="5864756" y="6923090"/>
                </a:lnTo>
                <a:lnTo>
                  <a:pt x="5898373" y="6891558"/>
                </a:lnTo>
                <a:lnTo>
                  <a:pt x="5931579" y="6859612"/>
                </a:lnTo>
                <a:lnTo>
                  <a:pt x="5964370" y="6827256"/>
                </a:lnTo>
                <a:lnTo>
                  <a:pt x="5996743" y="6794496"/>
                </a:lnTo>
                <a:lnTo>
                  <a:pt x="6028694" y="6761335"/>
                </a:lnTo>
                <a:lnTo>
                  <a:pt x="6060220" y="6727779"/>
                </a:lnTo>
                <a:lnTo>
                  <a:pt x="6091316" y="6693831"/>
                </a:lnTo>
                <a:lnTo>
                  <a:pt x="6121979" y="6659496"/>
                </a:lnTo>
                <a:lnTo>
                  <a:pt x="6152204" y="6624778"/>
                </a:lnTo>
                <a:lnTo>
                  <a:pt x="6181989" y="6589683"/>
                </a:lnTo>
                <a:lnTo>
                  <a:pt x="6211329" y="6554214"/>
                </a:lnTo>
                <a:lnTo>
                  <a:pt x="6240220" y="6518375"/>
                </a:lnTo>
                <a:lnTo>
                  <a:pt x="6268660" y="6482173"/>
                </a:lnTo>
                <a:lnTo>
                  <a:pt x="6296643" y="6445610"/>
                </a:lnTo>
                <a:lnTo>
                  <a:pt x="6324166" y="6408691"/>
                </a:lnTo>
                <a:lnTo>
                  <a:pt x="6351225" y="6371421"/>
                </a:lnTo>
                <a:lnTo>
                  <a:pt x="6377817" y="6333805"/>
                </a:lnTo>
                <a:lnTo>
                  <a:pt x="6403938" y="6295846"/>
                </a:lnTo>
                <a:lnTo>
                  <a:pt x="6429583" y="6257550"/>
                </a:lnTo>
                <a:lnTo>
                  <a:pt x="6454750" y="6218920"/>
                </a:lnTo>
                <a:lnTo>
                  <a:pt x="6479434" y="6179961"/>
                </a:lnTo>
                <a:lnTo>
                  <a:pt x="6503632" y="6140678"/>
                </a:lnTo>
                <a:lnTo>
                  <a:pt x="6527339" y="6101075"/>
                </a:lnTo>
                <a:lnTo>
                  <a:pt x="6550552" y="6061157"/>
                </a:lnTo>
                <a:lnTo>
                  <a:pt x="6573268" y="6020928"/>
                </a:lnTo>
                <a:lnTo>
                  <a:pt x="6595481" y="5980392"/>
                </a:lnTo>
                <a:lnTo>
                  <a:pt x="6617190" y="5939554"/>
                </a:lnTo>
                <a:lnTo>
                  <a:pt x="6638389" y="5898419"/>
                </a:lnTo>
                <a:lnTo>
                  <a:pt x="6659075" y="5856991"/>
                </a:lnTo>
                <a:lnTo>
                  <a:pt x="6679244" y="5815274"/>
                </a:lnTo>
                <a:lnTo>
                  <a:pt x="6698892" y="5773273"/>
                </a:lnTo>
                <a:lnTo>
                  <a:pt x="6718017" y="5730992"/>
                </a:lnTo>
                <a:lnTo>
                  <a:pt x="6736613" y="5688437"/>
                </a:lnTo>
                <a:lnTo>
                  <a:pt x="6754676" y="5645610"/>
                </a:lnTo>
                <a:lnTo>
                  <a:pt x="6772205" y="5602518"/>
                </a:lnTo>
                <a:lnTo>
                  <a:pt x="6789193" y="5559163"/>
                </a:lnTo>
                <a:lnTo>
                  <a:pt x="6805638" y="5515552"/>
                </a:lnTo>
                <a:lnTo>
                  <a:pt x="6821536" y="5471687"/>
                </a:lnTo>
                <a:lnTo>
                  <a:pt x="6836883" y="5427575"/>
                </a:lnTo>
                <a:lnTo>
                  <a:pt x="6851675" y="5383218"/>
                </a:lnTo>
                <a:lnTo>
                  <a:pt x="6865909" y="5338622"/>
                </a:lnTo>
                <a:lnTo>
                  <a:pt x="6879580" y="5293791"/>
                </a:lnTo>
                <a:lnTo>
                  <a:pt x="6892685" y="5248730"/>
                </a:lnTo>
                <a:lnTo>
                  <a:pt x="6905220" y="5203443"/>
                </a:lnTo>
                <a:lnTo>
                  <a:pt x="6917181" y="5157934"/>
                </a:lnTo>
                <a:lnTo>
                  <a:pt x="6928565" y="5112208"/>
                </a:lnTo>
                <a:lnTo>
                  <a:pt x="6939367" y="5066270"/>
                </a:lnTo>
                <a:lnTo>
                  <a:pt x="6949585" y="5020124"/>
                </a:lnTo>
                <a:lnTo>
                  <a:pt x="6959213" y="4973774"/>
                </a:lnTo>
                <a:lnTo>
                  <a:pt x="6968248" y="4927225"/>
                </a:lnTo>
                <a:lnTo>
                  <a:pt x="6976687" y="4880481"/>
                </a:lnTo>
                <a:lnTo>
                  <a:pt x="6984526" y="4833548"/>
                </a:lnTo>
                <a:lnTo>
                  <a:pt x="6991760" y="4786428"/>
                </a:lnTo>
                <a:lnTo>
                  <a:pt x="6998387" y="4739127"/>
                </a:lnTo>
                <a:lnTo>
                  <a:pt x="7004402" y="4691650"/>
                </a:lnTo>
                <a:lnTo>
                  <a:pt x="7009801" y="4644000"/>
                </a:lnTo>
                <a:lnTo>
                  <a:pt x="7014581" y="4596183"/>
                </a:lnTo>
                <a:lnTo>
                  <a:pt x="7018738" y="4548202"/>
                </a:lnTo>
                <a:lnTo>
                  <a:pt x="7022268" y="4500062"/>
                </a:lnTo>
                <a:lnTo>
                  <a:pt x="7025168" y="4451768"/>
                </a:lnTo>
                <a:lnTo>
                  <a:pt x="7027433" y="4403324"/>
                </a:lnTo>
                <a:lnTo>
                  <a:pt x="7029059" y="4354734"/>
                </a:lnTo>
                <a:lnTo>
                  <a:pt x="7030044" y="4306004"/>
                </a:lnTo>
                <a:lnTo>
                  <a:pt x="7030382" y="4257137"/>
                </a:lnTo>
                <a:lnTo>
                  <a:pt x="7031785" y="0"/>
                </a:lnTo>
                <a:close/>
              </a:path>
            </a:pathLst>
          </a:custGeom>
          <a:solidFill>
            <a:srgbClr val="0070AD"/>
          </a:solidFill>
        </p:spPr>
        <p:txBody>
          <a:bodyPr wrap="square" lIns="0" tIns="0" rIns="0" bIns="0" rtlCol="0"/>
          <a:lstStyle/>
          <a:p>
            <a:endParaRPr dirty="0"/>
          </a:p>
        </p:txBody>
      </p:sp>
      <p:sp>
        <p:nvSpPr>
          <p:cNvPr id="14" name="object 14">
            <a:extLst>
              <a:ext uri="{FF2B5EF4-FFF2-40B4-BE49-F238E27FC236}">
                <a16:creationId xmlns:a16="http://schemas.microsoft.com/office/drawing/2014/main" id="{BCD1E6CE-2BD0-F1C2-1BE9-AEA812073E1C}"/>
              </a:ext>
            </a:extLst>
          </p:cNvPr>
          <p:cNvSpPr txBox="1"/>
          <p:nvPr userDrawn="1"/>
        </p:nvSpPr>
        <p:spPr>
          <a:xfrm>
            <a:off x="772681" y="728582"/>
            <a:ext cx="5164569" cy="367408"/>
          </a:xfrm>
          <a:prstGeom prst="rect">
            <a:avLst/>
          </a:prstGeom>
        </p:spPr>
        <p:txBody>
          <a:bodyPr vert="horz" wrap="square" lIns="0" tIns="13335" rIns="0" bIns="0" rtlCol="0">
            <a:spAutoFit/>
          </a:bodyPr>
          <a:lstStyle/>
          <a:p>
            <a:pPr marL="12700">
              <a:lnSpc>
                <a:spcPct val="100000"/>
              </a:lnSpc>
              <a:spcBef>
                <a:spcPts val="105"/>
              </a:spcBef>
            </a:pPr>
            <a:r>
              <a:rPr sz="2300" b="0" dirty="0">
                <a:solidFill>
                  <a:srgbClr val="2B0A3D"/>
                </a:solidFill>
                <a:latin typeface="Ubuntu Light"/>
                <a:cs typeface="Ubuntu Light"/>
              </a:rPr>
              <a:t>Sogeti </a:t>
            </a:r>
            <a:r>
              <a:rPr lang="es-ES" sz="2300" b="0" dirty="0">
                <a:solidFill>
                  <a:srgbClr val="2B0A3D"/>
                </a:solidFill>
                <a:latin typeface="Ubuntu Light"/>
                <a:cs typeface="Ubuntu Light"/>
              </a:rPr>
              <a:t>Spain · Solution passports</a:t>
            </a:r>
            <a:endParaRPr sz="2300" dirty="0">
              <a:latin typeface="Ubuntu Light"/>
              <a:cs typeface="Ubuntu Light"/>
            </a:endParaRPr>
          </a:p>
        </p:txBody>
      </p:sp>
      <p:sp>
        <p:nvSpPr>
          <p:cNvPr id="2" name="Forma libre 1">
            <a:extLst>
              <a:ext uri="{FF2B5EF4-FFF2-40B4-BE49-F238E27FC236}">
                <a16:creationId xmlns:a16="http://schemas.microsoft.com/office/drawing/2014/main" id="{989C6E1A-67B2-6E4A-EE4C-8F8171710AAA}"/>
              </a:ext>
            </a:extLst>
          </p:cNvPr>
          <p:cNvSpPr/>
          <p:nvPr userDrawn="1"/>
        </p:nvSpPr>
        <p:spPr>
          <a:xfrm flipV="1">
            <a:off x="755650" y="10384024"/>
            <a:ext cx="2362200" cy="385576"/>
          </a:xfrm>
          <a:custGeom>
            <a:avLst/>
            <a:gdLst/>
            <a:ahLst/>
            <a:cxnLst/>
            <a:rect l="l" t="t" r="r" b="b"/>
            <a:pathLst>
              <a:path w="4876802" h="796029">
                <a:moveTo>
                  <a:pt x="2572782" y="405299"/>
                </a:moveTo>
                <a:cubicBezTo>
                  <a:pt x="2589609" y="405299"/>
                  <a:pt x="2601809" y="398820"/>
                  <a:pt x="2609382" y="385863"/>
                </a:cubicBezTo>
                <a:cubicBezTo>
                  <a:pt x="2616954" y="372906"/>
                  <a:pt x="2620740" y="355826"/>
                  <a:pt x="2620740" y="334623"/>
                </a:cubicBezTo>
                <a:cubicBezTo>
                  <a:pt x="2620740" y="313420"/>
                  <a:pt x="2616618" y="296256"/>
                  <a:pt x="2608372" y="283131"/>
                </a:cubicBezTo>
                <a:cubicBezTo>
                  <a:pt x="2600126" y="270006"/>
                  <a:pt x="2587927" y="263443"/>
                  <a:pt x="2571772" y="263443"/>
                </a:cubicBezTo>
                <a:cubicBezTo>
                  <a:pt x="2554945" y="263443"/>
                  <a:pt x="2542744" y="270006"/>
                  <a:pt x="2535172" y="283131"/>
                </a:cubicBezTo>
                <a:cubicBezTo>
                  <a:pt x="2527600" y="296256"/>
                  <a:pt x="2523814" y="313420"/>
                  <a:pt x="2523814" y="334623"/>
                </a:cubicBezTo>
                <a:cubicBezTo>
                  <a:pt x="2523814" y="355826"/>
                  <a:pt x="2527937" y="372906"/>
                  <a:pt x="2536182" y="385863"/>
                </a:cubicBezTo>
                <a:cubicBezTo>
                  <a:pt x="2544428" y="398820"/>
                  <a:pt x="2556628" y="405299"/>
                  <a:pt x="2572782" y="405299"/>
                </a:cubicBezTo>
                <a:close/>
                <a:moveTo>
                  <a:pt x="1810782" y="405299"/>
                </a:moveTo>
                <a:cubicBezTo>
                  <a:pt x="1827610" y="405299"/>
                  <a:pt x="1839810" y="398820"/>
                  <a:pt x="1847382" y="385863"/>
                </a:cubicBezTo>
                <a:cubicBezTo>
                  <a:pt x="1854954" y="372906"/>
                  <a:pt x="1858740" y="355826"/>
                  <a:pt x="1858740" y="334623"/>
                </a:cubicBezTo>
                <a:cubicBezTo>
                  <a:pt x="1858740" y="313420"/>
                  <a:pt x="1854618" y="296256"/>
                  <a:pt x="1846372" y="283131"/>
                </a:cubicBezTo>
                <a:cubicBezTo>
                  <a:pt x="1838127" y="270006"/>
                  <a:pt x="1825927" y="263443"/>
                  <a:pt x="1809772" y="263443"/>
                </a:cubicBezTo>
                <a:cubicBezTo>
                  <a:pt x="1792945" y="263443"/>
                  <a:pt x="1780745" y="270006"/>
                  <a:pt x="1773173" y="283131"/>
                </a:cubicBezTo>
                <a:cubicBezTo>
                  <a:pt x="1765600" y="296256"/>
                  <a:pt x="1761814" y="313420"/>
                  <a:pt x="1761814" y="334623"/>
                </a:cubicBezTo>
                <a:cubicBezTo>
                  <a:pt x="1761814" y="355826"/>
                  <a:pt x="1765937" y="372906"/>
                  <a:pt x="1774182" y="385863"/>
                </a:cubicBezTo>
                <a:cubicBezTo>
                  <a:pt x="1782428" y="398820"/>
                  <a:pt x="1794628" y="405299"/>
                  <a:pt x="1810782" y="405299"/>
                </a:cubicBezTo>
                <a:close/>
                <a:moveTo>
                  <a:pt x="810657" y="405299"/>
                </a:moveTo>
                <a:cubicBezTo>
                  <a:pt x="827485" y="405299"/>
                  <a:pt x="839684" y="398820"/>
                  <a:pt x="847257" y="385863"/>
                </a:cubicBezTo>
                <a:cubicBezTo>
                  <a:pt x="854829" y="372906"/>
                  <a:pt x="858615" y="355826"/>
                  <a:pt x="858616" y="334623"/>
                </a:cubicBezTo>
                <a:cubicBezTo>
                  <a:pt x="858615" y="313420"/>
                  <a:pt x="854493" y="296256"/>
                  <a:pt x="846247" y="283131"/>
                </a:cubicBezTo>
                <a:cubicBezTo>
                  <a:pt x="838002" y="270006"/>
                  <a:pt x="825802" y="263443"/>
                  <a:pt x="809647" y="263443"/>
                </a:cubicBezTo>
                <a:cubicBezTo>
                  <a:pt x="792820" y="263443"/>
                  <a:pt x="780620" y="270006"/>
                  <a:pt x="773048" y="283131"/>
                </a:cubicBezTo>
                <a:cubicBezTo>
                  <a:pt x="765475" y="296256"/>
                  <a:pt x="761689" y="313420"/>
                  <a:pt x="761689" y="334623"/>
                </a:cubicBezTo>
                <a:cubicBezTo>
                  <a:pt x="761689" y="355826"/>
                  <a:pt x="765812" y="372906"/>
                  <a:pt x="774057" y="385863"/>
                </a:cubicBezTo>
                <a:cubicBezTo>
                  <a:pt x="782303" y="398820"/>
                  <a:pt x="794503" y="405299"/>
                  <a:pt x="810657" y="405299"/>
                </a:cubicBezTo>
                <a:close/>
                <a:moveTo>
                  <a:pt x="3325256" y="411861"/>
                </a:moveTo>
                <a:cubicBezTo>
                  <a:pt x="3316506" y="411861"/>
                  <a:pt x="3309608" y="408496"/>
                  <a:pt x="3304560" y="401765"/>
                </a:cubicBezTo>
                <a:cubicBezTo>
                  <a:pt x="3299512" y="395034"/>
                  <a:pt x="3296988" y="387125"/>
                  <a:pt x="3296988" y="378038"/>
                </a:cubicBezTo>
                <a:cubicBezTo>
                  <a:pt x="3296988" y="368951"/>
                  <a:pt x="3299512" y="361126"/>
                  <a:pt x="3304560" y="354564"/>
                </a:cubicBezTo>
                <a:cubicBezTo>
                  <a:pt x="3309608" y="348001"/>
                  <a:pt x="3316506" y="344720"/>
                  <a:pt x="3325256" y="344720"/>
                </a:cubicBezTo>
                <a:cubicBezTo>
                  <a:pt x="3333334" y="344720"/>
                  <a:pt x="3339980" y="348001"/>
                  <a:pt x="3345198" y="354564"/>
                </a:cubicBezTo>
                <a:cubicBezTo>
                  <a:pt x="3350414" y="361126"/>
                  <a:pt x="3353022" y="368951"/>
                  <a:pt x="3353022" y="378038"/>
                </a:cubicBezTo>
                <a:cubicBezTo>
                  <a:pt x="3353022" y="387125"/>
                  <a:pt x="3350414" y="395034"/>
                  <a:pt x="3345198" y="401765"/>
                </a:cubicBezTo>
                <a:cubicBezTo>
                  <a:pt x="3339980" y="408496"/>
                  <a:pt x="3333334" y="411861"/>
                  <a:pt x="3325256" y="411861"/>
                </a:cubicBezTo>
                <a:close/>
                <a:moveTo>
                  <a:pt x="2207070" y="453257"/>
                </a:moveTo>
                <a:lnTo>
                  <a:pt x="2207070" y="401765"/>
                </a:lnTo>
                <a:lnTo>
                  <a:pt x="2272697" y="401765"/>
                </a:lnTo>
                <a:lnTo>
                  <a:pt x="2272697" y="314430"/>
                </a:lnTo>
                <a:cubicBezTo>
                  <a:pt x="2272697" y="297939"/>
                  <a:pt x="2274043" y="283299"/>
                  <a:pt x="2276735" y="270510"/>
                </a:cubicBezTo>
                <a:cubicBezTo>
                  <a:pt x="2279428" y="257721"/>
                  <a:pt x="2284055" y="246868"/>
                  <a:pt x="2290618" y="237949"/>
                </a:cubicBezTo>
                <a:cubicBezTo>
                  <a:pt x="2297181" y="229031"/>
                  <a:pt x="2305931" y="222215"/>
                  <a:pt x="2316869" y="217504"/>
                </a:cubicBezTo>
                <a:cubicBezTo>
                  <a:pt x="2327807" y="212792"/>
                  <a:pt x="2341353" y="210436"/>
                  <a:pt x="2357508" y="210436"/>
                </a:cubicBezTo>
                <a:cubicBezTo>
                  <a:pt x="2366931" y="210436"/>
                  <a:pt x="2377280" y="211530"/>
                  <a:pt x="2388554" y="213718"/>
                </a:cubicBezTo>
                <a:cubicBezTo>
                  <a:pt x="2399829" y="215905"/>
                  <a:pt x="2411860" y="220028"/>
                  <a:pt x="2424649" y="226086"/>
                </a:cubicBezTo>
                <a:lnTo>
                  <a:pt x="2416572" y="276063"/>
                </a:lnTo>
                <a:cubicBezTo>
                  <a:pt x="2406475" y="271352"/>
                  <a:pt x="2397388" y="268239"/>
                  <a:pt x="2389312" y="266724"/>
                </a:cubicBezTo>
                <a:cubicBezTo>
                  <a:pt x="2381234" y="265210"/>
                  <a:pt x="2374335" y="264452"/>
                  <a:pt x="2368614" y="264452"/>
                </a:cubicBezTo>
                <a:cubicBezTo>
                  <a:pt x="2356498" y="264452"/>
                  <a:pt x="2347832" y="267902"/>
                  <a:pt x="2342615" y="274801"/>
                </a:cubicBezTo>
                <a:cubicBezTo>
                  <a:pt x="2337398" y="281701"/>
                  <a:pt x="2334790" y="292218"/>
                  <a:pt x="2334790" y="306353"/>
                </a:cubicBezTo>
                <a:lnTo>
                  <a:pt x="2334790" y="453257"/>
                </a:lnTo>
                <a:close/>
                <a:moveTo>
                  <a:pt x="1088092" y="457800"/>
                </a:moveTo>
                <a:cubicBezTo>
                  <a:pt x="1064870" y="457800"/>
                  <a:pt x="1044593" y="455949"/>
                  <a:pt x="1027260" y="452247"/>
                </a:cubicBezTo>
                <a:cubicBezTo>
                  <a:pt x="1009928" y="448545"/>
                  <a:pt x="993016" y="443665"/>
                  <a:pt x="976526" y="437607"/>
                </a:cubicBezTo>
                <a:lnTo>
                  <a:pt x="976526" y="215989"/>
                </a:lnTo>
                <a:lnTo>
                  <a:pt x="1039124" y="215989"/>
                </a:lnTo>
                <a:lnTo>
                  <a:pt x="1039124" y="392173"/>
                </a:lnTo>
                <a:cubicBezTo>
                  <a:pt x="1047874" y="394529"/>
                  <a:pt x="1056456" y="396128"/>
                  <a:pt x="1064870" y="396969"/>
                </a:cubicBezTo>
                <a:cubicBezTo>
                  <a:pt x="1073284" y="397810"/>
                  <a:pt x="1081866" y="398231"/>
                  <a:pt x="1090616" y="398231"/>
                </a:cubicBezTo>
                <a:cubicBezTo>
                  <a:pt x="1094318" y="398231"/>
                  <a:pt x="1098861" y="398063"/>
                  <a:pt x="1104246" y="397726"/>
                </a:cubicBezTo>
                <a:cubicBezTo>
                  <a:pt x="1109631" y="397390"/>
                  <a:pt x="1115184" y="396801"/>
                  <a:pt x="1120905" y="395959"/>
                </a:cubicBezTo>
                <a:cubicBezTo>
                  <a:pt x="1126627" y="395118"/>
                  <a:pt x="1132264" y="394192"/>
                  <a:pt x="1137817" y="393183"/>
                </a:cubicBezTo>
                <a:cubicBezTo>
                  <a:pt x="1143370" y="392173"/>
                  <a:pt x="1148166" y="391164"/>
                  <a:pt x="1152205" y="390154"/>
                </a:cubicBezTo>
                <a:lnTo>
                  <a:pt x="1163311" y="447704"/>
                </a:lnTo>
                <a:cubicBezTo>
                  <a:pt x="1157589" y="449723"/>
                  <a:pt x="1151111" y="451322"/>
                  <a:pt x="1143875" y="452500"/>
                </a:cubicBezTo>
                <a:cubicBezTo>
                  <a:pt x="1136639" y="453678"/>
                  <a:pt x="1129487" y="454687"/>
                  <a:pt x="1122420" y="455529"/>
                </a:cubicBezTo>
                <a:cubicBezTo>
                  <a:pt x="1115352" y="456370"/>
                  <a:pt x="1108706" y="456959"/>
                  <a:pt x="1102479" y="457296"/>
                </a:cubicBezTo>
                <a:cubicBezTo>
                  <a:pt x="1096253" y="457632"/>
                  <a:pt x="1091457" y="457800"/>
                  <a:pt x="1088092" y="457800"/>
                </a:cubicBezTo>
                <a:close/>
                <a:moveTo>
                  <a:pt x="2572782" y="459315"/>
                </a:moveTo>
                <a:cubicBezTo>
                  <a:pt x="2556628" y="459315"/>
                  <a:pt x="2541651" y="456370"/>
                  <a:pt x="2527852" y="450480"/>
                </a:cubicBezTo>
                <a:cubicBezTo>
                  <a:pt x="2514054" y="444591"/>
                  <a:pt x="2502190" y="436177"/>
                  <a:pt x="2492262" y="425239"/>
                </a:cubicBezTo>
                <a:cubicBezTo>
                  <a:pt x="2482334" y="414301"/>
                  <a:pt x="2474594" y="401176"/>
                  <a:pt x="2469040" y="385863"/>
                </a:cubicBezTo>
                <a:cubicBezTo>
                  <a:pt x="2463487" y="370550"/>
                  <a:pt x="2460711" y="353638"/>
                  <a:pt x="2460711" y="335128"/>
                </a:cubicBezTo>
                <a:cubicBezTo>
                  <a:pt x="2460711" y="316281"/>
                  <a:pt x="2463403" y="299201"/>
                  <a:pt x="2468788" y="283888"/>
                </a:cubicBezTo>
                <a:cubicBezTo>
                  <a:pt x="2474173" y="268575"/>
                  <a:pt x="2481829" y="255366"/>
                  <a:pt x="2491758" y="244259"/>
                </a:cubicBezTo>
                <a:cubicBezTo>
                  <a:pt x="2501686" y="233153"/>
                  <a:pt x="2513465" y="224571"/>
                  <a:pt x="2527095" y="218513"/>
                </a:cubicBezTo>
                <a:cubicBezTo>
                  <a:pt x="2540726" y="212455"/>
                  <a:pt x="2555954" y="209427"/>
                  <a:pt x="2572782" y="209427"/>
                </a:cubicBezTo>
                <a:cubicBezTo>
                  <a:pt x="2589609" y="209427"/>
                  <a:pt x="2604838" y="212455"/>
                  <a:pt x="2618468" y="218513"/>
                </a:cubicBezTo>
                <a:cubicBezTo>
                  <a:pt x="2632098" y="224571"/>
                  <a:pt x="2643794" y="233153"/>
                  <a:pt x="2653554" y="244259"/>
                </a:cubicBezTo>
                <a:cubicBezTo>
                  <a:pt x="2663314" y="255366"/>
                  <a:pt x="2670886" y="268575"/>
                  <a:pt x="2676271" y="283888"/>
                </a:cubicBezTo>
                <a:cubicBezTo>
                  <a:pt x="2681656" y="299201"/>
                  <a:pt x="2684348" y="316281"/>
                  <a:pt x="2684348" y="335128"/>
                </a:cubicBezTo>
                <a:cubicBezTo>
                  <a:pt x="2684348" y="353638"/>
                  <a:pt x="2681656" y="370550"/>
                  <a:pt x="2676271" y="385863"/>
                </a:cubicBezTo>
                <a:cubicBezTo>
                  <a:pt x="2670886" y="401176"/>
                  <a:pt x="2663230" y="414301"/>
                  <a:pt x="2653302" y="425239"/>
                </a:cubicBezTo>
                <a:cubicBezTo>
                  <a:pt x="2643373" y="436177"/>
                  <a:pt x="2631594" y="444591"/>
                  <a:pt x="2617964" y="450480"/>
                </a:cubicBezTo>
                <a:cubicBezTo>
                  <a:pt x="2604334" y="456370"/>
                  <a:pt x="2589273" y="459315"/>
                  <a:pt x="2572782" y="459315"/>
                </a:cubicBezTo>
                <a:close/>
                <a:moveTo>
                  <a:pt x="1810782" y="459315"/>
                </a:moveTo>
                <a:cubicBezTo>
                  <a:pt x="1794628" y="459315"/>
                  <a:pt x="1779651" y="456370"/>
                  <a:pt x="1765853" y="450480"/>
                </a:cubicBezTo>
                <a:cubicBezTo>
                  <a:pt x="1752054" y="444591"/>
                  <a:pt x="1740191" y="436177"/>
                  <a:pt x="1730262" y="425239"/>
                </a:cubicBezTo>
                <a:cubicBezTo>
                  <a:pt x="1720334" y="414301"/>
                  <a:pt x="1712594" y="401176"/>
                  <a:pt x="1707040" y="385863"/>
                </a:cubicBezTo>
                <a:cubicBezTo>
                  <a:pt x="1701488" y="370550"/>
                  <a:pt x="1698711" y="353638"/>
                  <a:pt x="1698711" y="335128"/>
                </a:cubicBezTo>
                <a:cubicBezTo>
                  <a:pt x="1698711" y="316281"/>
                  <a:pt x="1701403" y="299201"/>
                  <a:pt x="1706788" y="283888"/>
                </a:cubicBezTo>
                <a:cubicBezTo>
                  <a:pt x="1712173" y="268575"/>
                  <a:pt x="1719829" y="255366"/>
                  <a:pt x="1729758" y="244259"/>
                </a:cubicBezTo>
                <a:cubicBezTo>
                  <a:pt x="1739686" y="233153"/>
                  <a:pt x="1751465" y="224571"/>
                  <a:pt x="1765095" y="218513"/>
                </a:cubicBezTo>
                <a:cubicBezTo>
                  <a:pt x="1778726" y="212455"/>
                  <a:pt x="1793954" y="209427"/>
                  <a:pt x="1810782" y="209427"/>
                </a:cubicBezTo>
                <a:cubicBezTo>
                  <a:pt x="1827610" y="209427"/>
                  <a:pt x="1842838" y="212455"/>
                  <a:pt x="1856469" y="218513"/>
                </a:cubicBezTo>
                <a:cubicBezTo>
                  <a:pt x="1870099" y="224571"/>
                  <a:pt x="1881794" y="233153"/>
                  <a:pt x="1891554" y="244259"/>
                </a:cubicBezTo>
                <a:cubicBezTo>
                  <a:pt x="1901314" y="255366"/>
                  <a:pt x="1908886" y="268575"/>
                  <a:pt x="1914271" y="283888"/>
                </a:cubicBezTo>
                <a:cubicBezTo>
                  <a:pt x="1919656" y="299201"/>
                  <a:pt x="1922348" y="316281"/>
                  <a:pt x="1922348" y="335128"/>
                </a:cubicBezTo>
                <a:cubicBezTo>
                  <a:pt x="1922348" y="353638"/>
                  <a:pt x="1919656" y="370550"/>
                  <a:pt x="1914271" y="385863"/>
                </a:cubicBezTo>
                <a:cubicBezTo>
                  <a:pt x="1908886" y="401176"/>
                  <a:pt x="1901230" y="414301"/>
                  <a:pt x="1891302" y="425239"/>
                </a:cubicBezTo>
                <a:cubicBezTo>
                  <a:pt x="1881374" y="436177"/>
                  <a:pt x="1869594" y="444591"/>
                  <a:pt x="1855964" y="450480"/>
                </a:cubicBezTo>
                <a:cubicBezTo>
                  <a:pt x="1842334" y="456370"/>
                  <a:pt x="1827273" y="459315"/>
                  <a:pt x="1810782" y="459315"/>
                </a:cubicBezTo>
                <a:close/>
                <a:moveTo>
                  <a:pt x="810657" y="459315"/>
                </a:moveTo>
                <a:cubicBezTo>
                  <a:pt x="794503" y="459315"/>
                  <a:pt x="779526" y="456370"/>
                  <a:pt x="765728" y="450480"/>
                </a:cubicBezTo>
                <a:cubicBezTo>
                  <a:pt x="751929" y="444591"/>
                  <a:pt x="740066" y="436177"/>
                  <a:pt x="730138" y="425239"/>
                </a:cubicBezTo>
                <a:cubicBezTo>
                  <a:pt x="720209" y="414301"/>
                  <a:pt x="712469" y="401176"/>
                  <a:pt x="706916" y="385863"/>
                </a:cubicBezTo>
                <a:cubicBezTo>
                  <a:pt x="701362" y="370550"/>
                  <a:pt x="698586" y="353638"/>
                  <a:pt x="698586" y="335128"/>
                </a:cubicBezTo>
                <a:cubicBezTo>
                  <a:pt x="698586" y="316281"/>
                  <a:pt x="701278" y="299201"/>
                  <a:pt x="706663" y="283888"/>
                </a:cubicBezTo>
                <a:cubicBezTo>
                  <a:pt x="712048" y="268575"/>
                  <a:pt x="719704" y="255366"/>
                  <a:pt x="729633" y="244259"/>
                </a:cubicBezTo>
                <a:cubicBezTo>
                  <a:pt x="739561" y="233153"/>
                  <a:pt x="751340" y="224571"/>
                  <a:pt x="764970" y="218513"/>
                </a:cubicBezTo>
                <a:cubicBezTo>
                  <a:pt x="778601" y="212455"/>
                  <a:pt x="793830" y="209427"/>
                  <a:pt x="810657" y="209427"/>
                </a:cubicBezTo>
                <a:cubicBezTo>
                  <a:pt x="827485" y="209427"/>
                  <a:pt x="842713" y="212455"/>
                  <a:pt x="856344" y="218513"/>
                </a:cubicBezTo>
                <a:cubicBezTo>
                  <a:pt x="869974" y="224571"/>
                  <a:pt x="881669" y="233153"/>
                  <a:pt x="891429" y="244259"/>
                </a:cubicBezTo>
                <a:cubicBezTo>
                  <a:pt x="901189" y="255366"/>
                  <a:pt x="908761" y="268575"/>
                  <a:pt x="914146" y="283888"/>
                </a:cubicBezTo>
                <a:cubicBezTo>
                  <a:pt x="919531" y="299201"/>
                  <a:pt x="922223" y="316281"/>
                  <a:pt x="922223" y="335128"/>
                </a:cubicBezTo>
                <a:cubicBezTo>
                  <a:pt x="922223" y="353638"/>
                  <a:pt x="919531" y="370550"/>
                  <a:pt x="914146" y="385863"/>
                </a:cubicBezTo>
                <a:cubicBezTo>
                  <a:pt x="908761" y="401176"/>
                  <a:pt x="901105" y="414301"/>
                  <a:pt x="891177" y="425239"/>
                </a:cubicBezTo>
                <a:cubicBezTo>
                  <a:pt x="881248" y="436177"/>
                  <a:pt x="869469" y="444591"/>
                  <a:pt x="855839" y="450480"/>
                </a:cubicBezTo>
                <a:cubicBezTo>
                  <a:pt x="842209" y="456370"/>
                  <a:pt x="827148" y="459315"/>
                  <a:pt x="810657" y="459315"/>
                </a:cubicBezTo>
                <a:close/>
                <a:moveTo>
                  <a:pt x="546919" y="477993"/>
                </a:moveTo>
                <a:cubicBezTo>
                  <a:pt x="563410" y="477993"/>
                  <a:pt x="576620" y="474207"/>
                  <a:pt x="586548" y="466635"/>
                </a:cubicBezTo>
                <a:cubicBezTo>
                  <a:pt x="596476" y="459062"/>
                  <a:pt x="601441" y="446189"/>
                  <a:pt x="601441" y="428016"/>
                </a:cubicBezTo>
                <a:cubicBezTo>
                  <a:pt x="601441" y="408832"/>
                  <a:pt x="596392" y="395286"/>
                  <a:pt x="586296" y="387377"/>
                </a:cubicBezTo>
                <a:cubicBezTo>
                  <a:pt x="576199" y="379468"/>
                  <a:pt x="561223" y="375514"/>
                  <a:pt x="541366" y="375514"/>
                </a:cubicBezTo>
                <a:lnTo>
                  <a:pt x="516125" y="375514"/>
                </a:lnTo>
                <a:lnTo>
                  <a:pt x="516125" y="476479"/>
                </a:lnTo>
                <a:cubicBezTo>
                  <a:pt x="519827" y="477152"/>
                  <a:pt x="524960" y="477573"/>
                  <a:pt x="531522" y="477741"/>
                </a:cubicBezTo>
                <a:cubicBezTo>
                  <a:pt x="538085" y="477909"/>
                  <a:pt x="543217" y="477993"/>
                  <a:pt x="546919" y="477993"/>
                </a:cubicBezTo>
                <a:close/>
                <a:moveTo>
                  <a:pt x="3324752" y="482537"/>
                </a:moveTo>
                <a:cubicBezTo>
                  <a:pt x="3341916" y="482537"/>
                  <a:pt x="3354958" y="473198"/>
                  <a:pt x="3363876" y="454519"/>
                </a:cubicBezTo>
                <a:cubicBezTo>
                  <a:pt x="3372794" y="435841"/>
                  <a:pt x="3377254" y="408664"/>
                  <a:pt x="3377254" y="372990"/>
                </a:cubicBezTo>
                <a:cubicBezTo>
                  <a:pt x="3377254" y="336979"/>
                  <a:pt x="3372794" y="309634"/>
                  <a:pt x="3363876" y="290956"/>
                </a:cubicBezTo>
                <a:cubicBezTo>
                  <a:pt x="3354958" y="272277"/>
                  <a:pt x="3341916" y="262938"/>
                  <a:pt x="3324752" y="262938"/>
                </a:cubicBezTo>
                <a:cubicBezTo>
                  <a:pt x="3307924" y="262938"/>
                  <a:pt x="3294968" y="272277"/>
                  <a:pt x="3285880" y="290956"/>
                </a:cubicBezTo>
                <a:cubicBezTo>
                  <a:pt x="3276794" y="309634"/>
                  <a:pt x="3272250" y="336979"/>
                  <a:pt x="3272250" y="372990"/>
                </a:cubicBezTo>
                <a:cubicBezTo>
                  <a:pt x="3272250" y="408664"/>
                  <a:pt x="3276794" y="435841"/>
                  <a:pt x="3285880" y="454519"/>
                </a:cubicBezTo>
                <a:cubicBezTo>
                  <a:pt x="3294968" y="473198"/>
                  <a:pt x="3307924" y="482537"/>
                  <a:pt x="3324752" y="482537"/>
                </a:cubicBezTo>
                <a:close/>
                <a:moveTo>
                  <a:pt x="1323054" y="522923"/>
                </a:moveTo>
                <a:lnTo>
                  <a:pt x="1260961" y="512826"/>
                </a:lnTo>
                <a:lnTo>
                  <a:pt x="1260961" y="453257"/>
                </a:lnTo>
                <a:lnTo>
                  <a:pt x="1206945" y="453257"/>
                </a:lnTo>
                <a:lnTo>
                  <a:pt x="1206945" y="401765"/>
                </a:lnTo>
                <a:lnTo>
                  <a:pt x="1260961" y="401765"/>
                </a:lnTo>
                <a:lnTo>
                  <a:pt x="1260961" y="304334"/>
                </a:lnTo>
                <a:cubicBezTo>
                  <a:pt x="1260961" y="284477"/>
                  <a:pt x="1262980" y="268407"/>
                  <a:pt x="1267019" y="256123"/>
                </a:cubicBezTo>
                <a:cubicBezTo>
                  <a:pt x="1271057" y="243839"/>
                  <a:pt x="1276947" y="234331"/>
                  <a:pt x="1284688" y="227600"/>
                </a:cubicBezTo>
                <a:cubicBezTo>
                  <a:pt x="1292428" y="220869"/>
                  <a:pt x="1301852" y="216326"/>
                  <a:pt x="1312958" y="213970"/>
                </a:cubicBezTo>
                <a:cubicBezTo>
                  <a:pt x="1324064" y="211614"/>
                  <a:pt x="1336853" y="210436"/>
                  <a:pt x="1351325" y="210436"/>
                </a:cubicBezTo>
                <a:cubicBezTo>
                  <a:pt x="1363777" y="210436"/>
                  <a:pt x="1376650" y="211446"/>
                  <a:pt x="1389944" y="213465"/>
                </a:cubicBezTo>
                <a:cubicBezTo>
                  <a:pt x="1403238" y="215484"/>
                  <a:pt x="1415606" y="218850"/>
                  <a:pt x="1427048" y="223562"/>
                </a:cubicBezTo>
                <a:lnTo>
                  <a:pt x="1418466" y="277073"/>
                </a:lnTo>
                <a:cubicBezTo>
                  <a:pt x="1412745" y="274381"/>
                  <a:pt x="1407444" y="272193"/>
                  <a:pt x="1402564" y="270510"/>
                </a:cubicBezTo>
                <a:cubicBezTo>
                  <a:pt x="1397684" y="268828"/>
                  <a:pt x="1392973" y="267566"/>
                  <a:pt x="1388429" y="266724"/>
                </a:cubicBezTo>
                <a:cubicBezTo>
                  <a:pt x="1383886" y="265883"/>
                  <a:pt x="1379174" y="265294"/>
                  <a:pt x="1374294" y="264957"/>
                </a:cubicBezTo>
                <a:cubicBezTo>
                  <a:pt x="1369414" y="264621"/>
                  <a:pt x="1364114" y="264452"/>
                  <a:pt x="1358392" y="264452"/>
                </a:cubicBezTo>
                <a:cubicBezTo>
                  <a:pt x="1353007" y="264452"/>
                  <a:pt x="1348127" y="264957"/>
                  <a:pt x="1343752" y="265967"/>
                </a:cubicBezTo>
                <a:cubicBezTo>
                  <a:pt x="1339377" y="266977"/>
                  <a:pt x="1335675" y="268996"/>
                  <a:pt x="1332646" y="272025"/>
                </a:cubicBezTo>
                <a:cubicBezTo>
                  <a:pt x="1329617" y="275054"/>
                  <a:pt x="1327261" y="279261"/>
                  <a:pt x="1325579" y="284645"/>
                </a:cubicBezTo>
                <a:cubicBezTo>
                  <a:pt x="1323896" y="290030"/>
                  <a:pt x="1323054" y="297098"/>
                  <a:pt x="1323054" y="305848"/>
                </a:cubicBezTo>
                <a:lnTo>
                  <a:pt x="1323054" y="401765"/>
                </a:lnTo>
                <a:lnTo>
                  <a:pt x="1422505" y="401765"/>
                </a:lnTo>
                <a:lnTo>
                  <a:pt x="1422505" y="453257"/>
                </a:lnTo>
                <a:lnTo>
                  <a:pt x="1323054" y="453257"/>
                </a:lnTo>
                <a:close/>
                <a:moveTo>
                  <a:pt x="539852" y="532010"/>
                </a:moveTo>
                <a:cubicBezTo>
                  <a:pt x="534131" y="532010"/>
                  <a:pt x="527568" y="531841"/>
                  <a:pt x="520164" y="531505"/>
                </a:cubicBezTo>
                <a:cubicBezTo>
                  <a:pt x="512760" y="531168"/>
                  <a:pt x="505187" y="530748"/>
                  <a:pt x="497447" y="530243"/>
                </a:cubicBezTo>
                <a:cubicBezTo>
                  <a:pt x="489706" y="529738"/>
                  <a:pt x="482049" y="528981"/>
                  <a:pt x="474477" y="527971"/>
                </a:cubicBezTo>
                <a:cubicBezTo>
                  <a:pt x="466905" y="526961"/>
                  <a:pt x="460090" y="525784"/>
                  <a:pt x="454032" y="524437"/>
                </a:cubicBezTo>
                <a:lnTo>
                  <a:pt x="454032" y="215989"/>
                </a:lnTo>
                <a:lnTo>
                  <a:pt x="516125" y="215989"/>
                </a:lnTo>
                <a:lnTo>
                  <a:pt x="516125" y="321498"/>
                </a:lnTo>
                <a:lnTo>
                  <a:pt x="538337" y="321498"/>
                </a:lnTo>
                <a:cubicBezTo>
                  <a:pt x="578723" y="321498"/>
                  <a:pt x="609938" y="329827"/>
                  <a:pt x="631982" y="346486"/>
                </a:cubicBezTo>
                <a:cubicBezTo>
                  <a:pt x="654026" y="363146"/>
                  <a:pt x="665048" y="390154"/>
                  <a:pt x="665048" y="427511"/>
                </a:cubicBezTo>
                <a:cubicBezTo>
                  <a:pt x="665048" y="464531"/>
                  <a:pt x="654111" y="491203"/>
                  <a:pt x="632235" y="507526"/>
                </a:cubicBezTo>
                <a:cubicBezTo>
                  <a:pt x="610359" y="523848"/>
                  <a:pt x="579565" y="532010"/>
                  <a:pt x="539852" y="532010"/>
                </a:cubicBezTo>
                <a:close/>
                <a:moveTo>
                  <a:pt x="3816452" y="535544"/>
                </a:moveTo>
                <a:cubicBezTo>
                  <a:pt x="3797604" y="535544"/>
                  <a:pt x="3780694" y="532430"/>
                  <a:pt x="3765716" y="526204"/>
                </a:cubicBezTo>
                <a:cubicBezTo>
                  <a:pt x="3750740" y="519978"/>
                  <a:pt x="3738708" y="513836"/>
                  <a:pt x="3729622" y="507778"/>
                </a:cubicBezTo>
                <a:lnTo>
                  <a:pt x="3751834" y="462344"/>
                </a:lnTo>
                <a:cubicBezTo>
                  <a:pt x="3760248" y="468065"/>
                  <a:pt x="3770260" y="472861"/>
                  <a:pt x="3781872" y="476731"/>
                </a:cubicBezTo>
                <a:cubicBezTo>
                  <a:pt x="3793482" y="480602"/>
                  <a:pt x="3805178" y="482537"/>
                  <a:pt x="3816956" y="482537"/>
                </a:cubicBezTo>
                <a:cubicBezTo>
                  <a:pt x="3829072" y="482537"/>
                  <a:pt x="3838580" y="479255"/>
                  <a:pt x="3845480" y="472693"/>
                </a:cubicBezTo>
                <a:cubicBezTo>
                  <a:pt x="3852378" y="466130"/>
                  <a:pt x="3855828" y="457127"/>
                  <a:pt x="3855828" y="445685"/>
                </a:cubicBezTo>
                <a:cubicBezTo>
                  <a:pt x="3855828" y="437944"/>
                  <a:pt x="3854230" y="431550"/>
                  <a:pt x="3851032" y="426501"/>
                </a:cubicBezTo>
                <a:cubicBezTo>
                  <a:pt x="3847836" y="421453"/>
                  <a:pt x="3843712" y="417414"/>
                  <a:pt x="3838664" y="414385"/>
                </a:cubicBezTo>
                <a:cubicBezTo>
                  <a:pt x="3833616" y="411357"/>
                  <a:pt x="3827894" y="409169"/>
                  <a:pt x="3821500" y="407823"/>
                </a:cubicBezTo>
                <a:cubicBezTo>
                  <a:pt x="3815106" y="406477"/>
                  <a:pt x="3808712" y="405803"/>
                  <a:pt x="3802316" y="405803"/>
                </a:cubicBezTo>
                <a:lnTo>
                  <a:pt x="3779094" y="405803"/>
                </a:lnTo>
                <a:lnTo>
                  <a:pt x="3779094" y="354311"/>
                </a:lnTo>
                <a:lnTo>
                  <a:pt x="3798278" y="354311"/>
                </a:lnTo>
                <a:cubicBezTo>
                  <a:pt x="3818470" y="354311"/>
                  <a:pt x="3835130" y="351030"/>
                  <a:pt x="3848256" y="344467"/>
                </a:cubicBezTo>
                <a:cubicBezTo>
                  <a:pt x="3861380" y="337904"/>
                  <a:pt x="3867944" y="326378"/>
                  <a:pt x="3867944" y="309887"/>
                </a:cubicBezTo>
                <a:cubicBezTo>
                  <a:pt x="3867944" y="296425"/>
                  <a:pt x="3863652" y="285150"/>
                  <a:pt x="3855072" y="276063"/>
                </a:cubicBezTo>
                <a:cubicBezTo>
                  <a:pt x="3846488" y="266977"/>
                  <a:pt x="3831596" y="262433"/>
                  <a:pt x="3810394" y="262433"/>
                </a:cubicBezTo>
                <a:cubicBezTo>
                  <a:pt x="3793230" y="262433"/>
                  <a:pt x="3778506" y="264284"/>
                  <a:pt x="3766222" y="267986"/>
                </a:cubicBezTo>
                <a:cubicBezTo>
                  <a:pt x="3753938" y="271688"/>
                  <a:pt x="3743924" y="275222"/>
                  <a:pt x="3736184" y="278588"/>
                </a:cubicBezTo>
                <a:lnTo>
                  <a:pt x="3724068" y="226591"/>
                </a:lnTo>
                <a:cubicBezTo>
                  <a:pt x="3727770" y="224908"/>
                  <a:pt x="3732988" y="223057"/>
                  <a:pt x="3739718" y="221037"/>
                </a:cubicBezTo>
                <a:cubicBezTo>
                  <a:pt x="3746450" y="219018"/>
                  <a:pt x="3753770" y="217167"/>
                  <a:pt x="3761678" y="215484"/>
                </a:cubicBezTo>
                <a:cubicBezTo>
                  <a:pt x="3769588" y="213802"/>
                  <a:pt x="3777832" y="212371"/>
                  <a:pt x="3786414" y="211193"/>
                </a:cubicBezTo>
                <a:cubicBezTo>
                  <a:pt x="3794996" y="210015"/>
                  <a:pt x="3803158" y="209427"/>
                  <a:pt x="3810898" y="209427"/>
                </a:cubicBezTo>
                <a:cubicBezTo>
                  <a:pt x="3831764" y="209427"/>
                  <a:pt x="3849770" y="211867"/>
                  <a:pt x="3864916" y="216746"/>
                </a:cubicBezTo>
                <a:cubicBezTo>
                  <a:pt x="3880060" y="221626"/>
                  <a:pt x="3892512" y="228526"/>
                  <a:pt x="3902272" y="237444"/>
                </a:cubicBezTo>
                <a:cubicBezTo>
                  <a:pt x="3912032" y="246363"/>
                  <a:pt x="3919268" y="256880"/>
                  <a:pt x="3923980" y="268996"/>
                </a:cubicBezTo>
                <a:cubicBezTo>
                  <a:pt x="3928692" y="281112"/>
                  <a:pt x="3931048" y="294405"/>
                  <a:pt x="3931048" y="308877"/>
                </a:cubicBezTo>
                <a:cubicBezTo>
                  <a:pt x="3931048" y="327051"/>
                  <a:pt x="3926588" y="342700"/>
                  <a:pt x="3917668" y="355826"/>
                </a:cubicBezTo>
                <a:cubicBezTo>
                  <a:pt x="3908750" y="368951"/>
                  <a:pt x="3896214" y="378879"/>
                  <a:pt x="3880060" y="385610"/>
                </a:cubicBezTo>
                <a:cubicBezTo>
                  <a:pt x="3891840" y="391668"/>
                  <a:pt x="3901262" y="400419"/>
                  <a:pt x="3908330" y="411861"/>
                </a:cubicBezTo>
                <a:cubicBezTo>
                  <a:pt x="3915398" y="423304"/>
                  <a:pt x="3918932" y="435252"/>
                  <a:pt x="3918932" y="447704"/>
                </a:cubicBezTo>
                <a:cubicBezTo>
                  <a:pt x="3918932" y="460156"/>
                  <a:pt x="3916912" y="471767"/>
                  <a:pt x="3912874" y="482537"/>
                </a:cubicBezTo>
                <a:cubicBezTo>
                  <a:pt x="3908834" y="493306"/>
                  <a:pt x="3902608" y="502646"/>
                  <a:pt x="3894196" y="510555"/>
                </a:cubicBezTo>
                <a:cubicBezTo>
                  <a:pt x="3885780" y="518464"/>
                  <a:pt x="3875096" y="524606"/>
                  <a:pt x="3862138" y="528981"/>
                </a:cubicBezTo>
                <a:cubicBezTo>
                  <a:pt x="3849180" y="533356"/>
                  <a:pt x="3833952" y="535544"/>
                  <a:pt x="3816452" y="535544"/>
                </a:cubicBezTo>
                <a:close/>
                <a:moveTo>
                  <a:pt x="3567354" y="535544"/>
                </a:moveTo>
                <a:cubicBezTo>
                  <a:pt x="3549854" y="535544"/>
                  <a:pt x="3532268" y="532178"/>
                  <a:pt x="3514600" y="525447"/>
                </a:cubicBezTo>
                <a:cubicBezTo>
                  <a:pt x="3496930" y="518716"/>
                  <a:pt x="3481366" y="508283"/>
                  <a:pt x="3467904" y="494148"/>
                </a:cubicBezTo>
                <a:lnTo>
                  <a:pt x="3498698" y="450733"/>
                </a:lnTo>
                <a:cubicBezTo>
                  <a:pt x="3509130" y="461839"/>
                  <a:pt x="3519732" y="469748"/>
                  <a:pt x="3530502" y="474460"/>
                </a:cubicBezTo>
                <a:cubicBezTo>
                  <a:pt x="3541272" y="479171"/>
                  <a:pt x="3551536" y="481527"/>
                  <a:pt x="3561296" y="481527"/>
                </a:cubicBezTo>
                <a:cubicBezTo>
                  <a:pt x="3573076" y="481527"/>
                  <a:pt x="3582836" y="478078"/>
                  <a:pt x="3590576" y="471178"/>
                </a:cubicBezTo>
                <a:cubicBezTo>
                  <a:pt x="3598316" y="464279"/>
                  <a:pt x="3602186" y="454435"/>
                  <a:pt x="3602188" y="441646"/>
                </a:cubicBezTo>
                <a:cubicBezTo>
                  <a:pt x="3602186" y="432559"/>
                  <a:pt x="3599074" y="423641"/>
                  <a:pt x="3592848" y="414890"/>
                </a:cubicBezTo>
                <a:cubicBezTo>
                  <a:pt x="3586622" y="406140"/>
                  <a:pt x="3578712" y="397053"/>
                  <a:pt x="3569120" y="387630"/>
                </a:cubicBezTo>
                <a:cubicBezTo>
                  <a:pt x="3559528" y="378206"/>
                  <a:pt x="3549264" y="368362"/>
                  <a:pt x="3538326" y="358097"/>
                </a:cubicBezTo>
                <a:cubicBezTo>
                  <a:pt x="3527388" y="347833"/>
                  <a:pt x="3517124" y="336727"/>
                  <a:pt x="3507532" y="324779"/>
                </a:cubicBezTo>
                <a:cubicBezTo>
                  <a:pt x="3497940" y="312831"/>
                  <a:pt x="3490032" y="299790"/>
                  <a:pt x="3483806" y="285655"/>
                </a:cubicBezTo>
                <a:cubicBezTo>
                  <a:pt x="3477580" y="271520"/>
                  <a:pt x="3474466" y="256039"/>
                  <a:pt x="3474466" y="239211"/>
                </a:cubicBezTo>
                <a:cubicBezTo>
                  <a:pt x="3474466" y="237192"/>
                  <a:pt x="3474382" y="233658"/>
                  <a:pt x="3474214" y="228610"/>
                </a:cubicBezTo>
                <a:cubicBezTo>
                  <a:pt x="3474046" y="223562"/>
                  <a:pt x="3474466" y="219355"/>
                  <a:pt x="3475476" y="215989"/>
                </a:cubicBezTo>
                <a:lnTo>
                  <a:pt x="3679426" y="215989"/>
                </a:lnTo>
                <a:lnTo>
                  <a:pt x="3679426" y="267481"/>
                </a:lnTo>
                <a:lnTo>
                  <a:pt x="3545142" y="267481"/>
                </a:lnTo>
                <a:cubicBezTo>
                  <a:pt x="3545142" y="272530"/>
                  <a:pt x="3546908" y="278083"/>
                  <a:pt x="3550442" y="284141"/>
                </a:cubicBezTo>
                <a:cubicBezTo>
                  <a:pt x="3553976" y="290198"/>
                  <a:pt x="3558268" y="296172"/>
                  <a:pt x="3563316" y="302062"/>
                </a:cubicBezTo>
                <a:cubicBezTo>
                  <a:pt x="3568364" y="307952"/>
                  <a:pt x="3573748" y="313673"/>
                  <a:pt x="3579470" y="319226"/>
                </a:cubicBezTo>
                <a:cubicBezTo>
                  <a:pt x="3585190" y="324779"/>
                  <a:pt x="3590240" y="329575"/>
                  <a:pt x="3594614" y="333613"/>
                </a:cubicBezTo>
                <a:cubicBezTo>
                  <a:pt x="3603364" y="341691"/>
                  <a:pt x="3611946" y="350104"/>
                  <a:pt x="3620360" y="358855"/>
                </a:cubicBezTo>
                <a:cubicBezTo>
                  <a:pt x="3628774" y="367605"/>
                  <a:pt x="3636346" y="376692"/>
                  <a:pt x="3643078" y="386115"/>
                </a:cubicBezTo>
                <a:cubicBezTo>
                  <a:pt x="3649808" y="395539"/>
                  <a:pt x="3655194" y="405214"/>
                  <a:pt x="3659232" y="415143"/>
                </a:cubicBezTo>
                <a:cubicBezTo>
                  <a:pt x="3663270" y="425071"/>
                  <a:pt x="3665290" y="435420"/>
                  <a:pt x="3665290" y="446189"/>
                </a:cubicBezTo>
                <a:cubicBezTo>
                  <a:pt x="3665290" y="460998"/>
                  <a:pt x="3662598" y="474039"/>
                  <a:pt x="3657212" y="485313"/>
                </a:cubicBezTo>
                <a:cubicBezTo>
                  <a:pt x="3651828" y="496588"/>
                  <a:pt x="3644592" y="505927"/>
                  <a:pt x="3635506" y="513331"/>
                </a:cubicBezTo>
                <a:cubicBezTo>
                  <a:pt x="3626418" y="520735"/>
                  <a:pt x="3615986" y="526288"/>
                  <a:pt x="3604206" y="529990"/>
                </a:cubicBezTo>
                <a:cubicBezTo>
                  <a:pt x="3592426" y="533692"/>
                  <a:pt x="3580142" y="535544"/>
                  <a:pt x="3567354" y="535544"/>
                </a:cubicBezTo>
                <a:close/>
                <a:moveTo>
                  <a:pt x="3324752" y="535544"/>
                </a:moveTo>
                <a:cubicBezTo>
                  <a:pt x="3290088" y="535544"/>
                  <a:pt x="3263332" y="522081"/>
                  <a:pt x="3244486" y="495157"/>
                </a:cubicBezTo>
                <a:cubicBezTo>
                  <a:pt x="3225638" y="468233"/>
                  <a:pt x="3216214" y="427511"/>
                  <a:pt x="3216214" y="372990"/>
                </a:cubicBezTo>
                <a:cubicBezTo>
                  <a:pt x="3216214" y="317796"/>
                  <a:pt x="3225470" y="276737"/>
                  <a:pt x="3243980" y="249813"/>
                </a:cubicBezTo>
                <a:cubicBezTo>
                  <a:pt x="3262490" y="222889"/>
                  <a:pt x="3289414" y="209427"/>
                  <a:pt x="3324752" y="209427"/>
                </a:cubicBezTo>
                <a:cubicBezTo>
                  <a:pt x="3360090" y="209427"/>
                  <a:pt x="3387014" y="222889"/>
                  <a:pt x="3405524" y="249813"/>
                </a:cubicBezTo>
                <a:cubicBezTo>
                  <a:pt x="3424034" y="276737"/>
                  <a:pt x="3433290" y="317796"/>
                  <a:pt x="3433290" y="372990"/>
                </a:cubicBezTo>
                <a:cubicBezTo>
                  <a:pt x="3433290" y="427847"/>
                  <a:pt x="3424034" y="468654"/>
                  <a:pt x="3405524" y="495410"/>
                </a:cubicBezTo>
                <a:cubicBezTo>
                  <a:pt x="3387014" y="522166"/>
                  <a:pt x="3360090" y="535544"/>
                  <a:pt x="3324752" y="535544"/>
                </a:cubicBezTo>
                <a:close/>
                <a:moveTo>
                  <a:pt x="3062528" y="535544"/>
                </a:moveTo>
                <a:cubicBezTo>
                  <a:pt x="3045028" y="535544"/>
                  <a:pt x="3027444" y="532178"/>
                  <a:pt x="3009774" y="525447"/>
                </a:cubicBezTo>
                <a:cubicBezTo>
                  <a:pt x="2992106" y="518716"/>
                  <a:pt x="2976540" y="508283"/>
                  <a:pt x="2963078" y="494148"/>
                </a:cubicBezTo>
                <a:lnTo>
                  <a:pt x="2993872" y="450733"/>
                </a:lnTo>
                <a:cubicBezTo>
                  <a:pt x="3004306" y="461839"/>
                  <a:pt x="3014908" y="469748"/>
                  <a:pt x="3025676" y="474460"/>
                </a:cubicBezTo>
                <a:cubicBezTo>
                  <a:pt x="3036446" y="479171"/>
                  <a:pt x="3046712" y="481527"/>
                  <a:pt x="3056472" y="481527"/>
                </a:cubicBezTo>
                <a:cubicBezTo>
                  <a:pt x="3068250" y="481527"/>
                  <a:pt x="3078010" y="478078"/>
                  <a:pt x="3085752" y="471178"/>
                </a:cubicBezTo>
                <a:cubicBezTo>
                  <a:pt x="3093492" y="464279"/>
                  <a:pt x="3097362" y="454435"/>
                  <a:pt x="3097362" y="441646"/>
                </a:cubicBezTo>
                <a:cubicBezTo>
                  <a:pt x="3097362" y="432559"/>
                  <a:pt x="3094248" y="423641"/>
                  <a:pt x="3088022" y="414890"/>
                </a:cubicBezTo>
                <a:cubicBezTo>
                  <a:pt x="3081796" y="406140"/>
                  <a:pt x="3073888" y="397053"/>
                  <a:pt x="3064296" y="387630"/>
                </a:cubicBezTo>
                <a:cubicBezTo>
                  <a:pt x="3054704" y="378206"/>
                  <a:pt x="3044440" y="368362"/>
                  <a:pt x="3033502" y="358097"/>
                </a:cubicBezTo>
                <a:cubicBezTo>
                  <a:pt x="3022564" y="347833"/>
                  <a:pt x="3012298" y="336727"/>
                  <a:pt x="3002708" y="324779"/>
                </a:cubicBezTo>
                <a:cubicBezTo>
                  <a:pt x="2993116" y="312831"/>
                  <a:pt x="2985206" y="299790"/>
                  <a:pt x="2978980" y="285655"/>
                </a:cubicBezTo>
                <a:cubicBezTo>
                  <a:pt x="2972754" y="271520"/>
                  <a:pt x="2969642" y="256039"/>
                  <a:pt x="2969642" y="239211"/>
                </a:cubicBezTo>
                <a:cubicBezTo>
                  <a:pt x="2969642" y="237192"/>
                  <a:pt x="2969558" y="233658"/>
                  <a:pt x="2969388" y="228610"/>
                </a:cubicBezTo>
                <a:cubicBezTo>
                  <a:pt x="2969220" y="223562"/>
                  <a:pt x="2969640" y="219355"/>
                  <a:pt x="2970650" y="215989"/>
                </a:cubicBezTo>
                <a:lnTo>
                  <a:pt x="3174600" y="215989"/>
                </a:lnTo>
                <a:lnTo>
                  <a:pt x="3174600" y="267481"/>
                </a:lnTo>
                <a:lnTo>
                  <a:pt x="3040316" y="267481"/>
                </a:lnTo>
                <a:cubicBezTo>
                  <a:pt x="3040316" y="272530"/>
                  <a:pt x="3042084" y="278083"/>
                  <a:pt x="3045618" y="284141"/>
                </a:cubicBezTo>
                <a:cubicBezTo>
                  <a:pt x="3049152" y="290198"/>
                  <a:pt x="3053442" y="296172"/>
                  <a:pt x="3058490" y="302062"/>
                </a:cubicBezTo>
                <a:cubicBezTo>
                  <a:pt x="3063538" y="307952"/>
                  <a:pt x="3068924" y="313673"/>
                  <a:pt x="3074644" y="319226"/>
                </a:cubicBezTo>
                <a:cubicBezTo>
                  <a:pt x="3080366" y="324779"/>
                  <a:pt x="3085414" y="329575"/>
                  <a:pt x="3089790" y="333613"/>
                </a:cubicBezTo>
                <a:cubicBezTo>
                  <a:pt x="3098540" y="341691"/>
                  <a:pt x="3107122" y="350104"/>
                  <a:pt x="3115536" y="358855"/>
                </a:cubicBezTo>
                <a:cubicBezTo>
                  <a:pt x="3123950" y="367605"/>
                  <a:pt x="3131522" y="376692"/>
                  <a:pt x="3138252" y="386115"/>
                </a:cubicBezTo>
                <a:cubicBezTo>
                  <a:pt x="3144984" y="395539"/>
                  <a:pt x="3150368" y="405214"/>
                  <a:pt x="3154408" y="415143"/>
                </a:cubicBezTo>
                <a:cubicBezTo>
                  <a:pt x="3158446" y="425071"/>
                  <a:pt x="3160464" y="435420"/>
                  <a:pt x="3160464" y="446189"/>
                </a:cubicBezTo>
                <a:cubicBezTo>
                  <a:pt x="3160464" y="460998"/>
                  <a:pt x="3157772" y="474039"/>
                  <a:pt x="3152388" y="485313"/>
                </a:cubicBezTo>
                <a:cubicBezTo>
                  <a:pt x="3147002" y="496588"/>
                  <a:pt x="3139766" y="505927"/>
                  <a:pt x="3130680" y="513331"/>
                </a:cubicBezTo>
                <a:cubicBezTo>
                  <a:pt x="3121594" y="520735"/>
                  <a:pt x="3111160" y="526288"/>
                  <a:pt x="3099382" y="529990"/>
                </a:cubicBezTo>
                <a:cubicBezTo>
                  <a:pt x="3087602" y="533692"/>
                  <a:pt x="3075318" y="535544"/>
                  <a:pt x="3062528" y="535544"/>
                </a:cubicBezTo>
                <a:close/>
                <a:moveTo>
                  <a:pt x="2292890" y="561290"/>
                </a:moveTo>
                <a:cubicBezTo>
                  <a:pt x="2282120" y="561290"/>
                  <a:pt x="2272949" y="557756"/>
                  <a:pt x="2265377" y="550688"/>
                </a:cubicBezTo>
                <a:cubicBezTo>
                  <a:pt x="2257805" y="543621"/>
                  <a:pt x="2254018" y="533861"/>
                  <a:pt x="2254018" y="521408"/>
                </a:cubicBezTo>
                <a:cubicBezTo>
                  <a:pt x="2254018" y="509293"/>
                  <a:pt x="2257805" y="499701"/>
                  <a:pt x="2265377" y="492633"/>
                </a:cubicBezTo>
                <a:cubicBezTo>
                  <a:pt x="2272949" y="485566"/>
                  <a:pt x="2282120" y="482032"/>
                  <a:pt x="2292890" y="482032"/>
                </a:cubicBezTo>
                <a:cubicBezTo>
                  <a:pt x="2303660" y="482032"/>
                  <a:pt x="2312914" y="485566"/>
                  <a:pt x="2320655" y="492633"/>
                </a:cubicBezTo>
                <a:cubicBezTo>
                  <a:pt x="2328396" y="499701"/>
                  <a:pt x="2332266" y="509293"/>
                  <a:pt x="2332266" y="521408"/>
                </a:cubicBezTo>
                <a:cubicBezTo>
                  <a:pt x="2332266" y="533861"/>
                  <a:pt x="2328396" y="543621"/>
                  <a:pt x="2320655" y="550688"/>
                </a:cubicBezTo>
                <a:cubicBezTo>
                  <a:pt x="2312914" y="557756"/>
                  <a:pt x="2303660" y="561290"/>
                  <a:pt x="2292890" y="561290"/>
                </a:cubicBezTo>
                <a:close/>
                <a:moveTo>
                  <a:pt x="1959420" y="563309"/>
                </a:moveTo>
                <a:lnTo>
                  <a:pt x="1959420" y="511817"/>
                </a:lnTo>
                <a:lnTo>
                  <a:pt x="2025047" y="511817"/>
                </a:lnTo>
                <a:lnTo>
                  <a:pt x="2025047" y="310392"/>
                </a:lnTo>
                <a:cubicBezTo>
                  <a:pt x="2025047" y="277746"/>
                  <a:pt x="2031610" y="252926"/>
                  <a:pt x="2044735" y="235930"/>
                </a:cubicBezTo>
                <a:cubicBezTo>
                  <a:pt x="2057860" y="218934"/>
                  <a:pt x="2078727" y="210436"/>
                  <a:pt x="2107333" y="210436"/>
                </a:cubicBezTo>
                <a:cubicBezTo>
                  <a:pt x="2117767" y="210436"/>
                  <a:pt x="2127106" y="211109"/>
                  <a:pt x="2135351" y="212455"/>
                </a:cubicBezTo>
                <a:cubicBezTo>
                  <a:pt x="2143597" y="213802"/>
                  <a:pt x="2150580" y="215400"/>
                  <a:pt x="2156302" y="217251"/>
                </a:cubicBezTo>
                <a:cubicBezTo>
                  <a:pt x="2162023" y="219102"/>
                  <a:pt x="2166650" y="220869"/>
                  <a:pt x="2170184" y="222552"/>
                </a:cubicBezTo>
                <a:cubicBezTo>
                  <a:pt x="2173718" y="224235"/>
                  <a:pt x="2175990" y="225413"/>
                  <a:pt x="2176999" y="226086"/>
                </a:cubicBezTo>
                <a:lnTo>
                  <a:pt x="2168922" y="276063"/>
                </a:lnTo>
                <a:cubicBezTo>
                  <a:pt x="2166230" y="275054"/>
                  <a:pt x="2160677" y="272866"/>
                  <a:pt x="2152263" y="269501"/>
                </a:cubicBezTo>
                <a:cubicBezTo>
                  <a:pt x="2143849" y="266135"/>
                  <a:pt x="2133416" y="264452"/>
                  <a:pt x="2120964" y="264452"/>
                </a:cubicBezTo>
                <a:cubicBezTo>
                  <a:pt x="2111204" y="264452"/>
                  <a:pt x="2103126" y="267313"/>
                  <a:pt x="2096732" y="273034"/>
                </a:cubicBezTo>
                <a:cubicBezTo>
                  <a:pt x="2090338" y="278756"/>
                  <a:pt x="2087140" y="289694"/>
                  <a:pt x="2087140" y="305848"/>
                </a:cubicBezTo>
                <a:lnTo>
                  <a:pt x="2087140" y="563309"/>
                </a:lnTo>
                <a:close/>
                <a:moveTo>
                  <a:pt x="1607052" y="565833"/>
                </a:moveTo>
                <a:cubicBezTo>
                  <a:pt x="1594263" y="565833"/>
                  <a:pt x="1581811" y="564234"/>
                  <a:pt x="1569695" y="561037"/>
                </a:cubicBezTo>
                <a:cubicBezTo>
                  <a:pt x="1557579" y="557840"/>
                  <a:pt x="1546810" y="552455"/>
                  <a:pt x="1537386" y="544883"/>
                </a:cubicBezTo>
                <a:cubicBezTo>
                  <a:pt x="1527963" y="537310"/>
                  <a:pt x="1520474" y="527214"/>
                  <a:pt x="1514921" y="514593"/>
                </a:cubicBezTo>
                <a:cubicBezTo>
                  <a:pt x="1509368" y="501973"/>
                  <a:pt x="1506592" y="486071"/>
                  <a:pt x="1506592" y="466887"/>
                </a:cubicBezTo>
                <a:lnTo>
                  <a:pt x="1506592" y="453257"/>
                </a:lnTo>
                <a:lnTo>
                  <a:pt x="1454595" y="453257"/>
                </a:lnTo>
                <a:lnTo>
                  <a:pt x="1454595" y="401765"/>
                </a:lnTo>
                <a:lnTo>
                  <a:pt x="1506592" y="401765"/>
                </a:lnTo>
                <a:lnTo>
                  <a:pt x="1506592" y="215989"/>
                </a:lnTo>
                <a:lnTo>
                  <a:pt x="1569190" y="215989"/>
                </a:lnTo>
                <a:lnTo>
                  <a:pt x="1569190" y="401765"/>
                </a:lnTo>
                <a:lnTo>
                  <a:pt x="1666621" y="401765"/>
                </a:lnTo>
                <a:lnTo>
                  <a:pt x="1666621" y="453257"/>
                </a:lnTo>
                <a:lnTo>
                  <a:pt x="1569190" y="453257"/>
                </a:lnTo>
                <a:lnTo>
                  <a:pt x="1569190" y="465878"/>
                </a:lnTo>
                <a:cubicBezTo>
                  <a:pt x="1569190" y="475974"/>
                  <a:pt x="1570368" y="484135"/>
                  <a:pt x="1572724" y="490362"/>
                </a:cubicBezTo>
                <a:cubicBezTo>
                  <a:pt x="1575080" y="496588"/>
                  <a:pt x="1578193" y="501384"/>
                  <a:pt x="1582063" y="504749"/>
                </a:cubicBezTo>
                <a:cubicBezTo>
                  <a:pt x="1585933" y="508115"/>
                  <a:pt x="1590477" y="510302"/>
                  <a:pt x="1595693" y="511312"/>
                </a:cubicBezTo>
                <a:cubicBezTo>
                  <a:pt x="1600910" y="512322"/>
                  <a:pt x="1606379" y="512826"/>
                  <a:pt x="1612100" y="512826"/>
                </a:cubicBezTo>
                <a:cubicBezTo>
                  <a:pt x="1622533" y="512826"/>
                  <a:pt x="1633555" y="511396"/>
                  <a:pt x="1645166" y="508535"/>
                </a:cubicBezTo>
                <a:cubicBezTo>
                  <a:pt x="1656777" y="505675"/>
                  <a:pt x="1666453" y="502898"/>
                  <a:pt x="1674194" y="500206"/>
                </a:cubicBezTo>
                <a:lnTo>
                  <a:pt x="1684795" y="550688"/>
                </a:lnTo>
                <a:cubicBezTo>
                  <a:pt x="1673689" y="556073"/>
                  <a:pt x="1661236" y="559943"/>
                  <a:pt x="1647438" y="562299"/>
                </a:cubicBezTo>
                <a:cubicBezTo>
                  <a:pt x="1633639" y="564655"/>
                  <a:pt x="1620178" y="565833"/>
                  <a:pt x="1607052" y="565833"/>
                </a:cubicBezTo>
                <a:close/>
                <a:moveTo>
                  <a:pt x="0" y="796029"/>
                </a:moveTo>
                <a:lnTo>
                  <a:pt x="4876802" y="796029"/>
                </a:lnTo>
                <a:lnTo>
                  <a:pt x="4824822" y="344498"/>
                </a:lnTo>
                <a:cubicBezTo>
                  <a:pt x="4801968" y="145891"/>
                  <a:pt x="4682292" y="207"/>
                  <a:pt x="4541980" y="155"/>
                </a:cubicBezTo>
                <a:lnTo>
                  <a:pt x="0" y="0"/>
                </a:lnTo>
                <a:close/>
              </a:path>
            </a:pathLst>
          </a:custGeom>
          <a:solidFill>
            <a:srgbClr val="00B050"/>
          </a:solidFill>
          <a:ln w="2834" cap="flat">
            <a:noFill/>
            <a:prstDash val="solid"/>
            <a:miter/>
          </a:ln>
        </p:spPr>
        <p:txBody>
          <a:bodyPr wrap="square" rtlCol="0" anchor="ctr">
            <a:noAutofit/>
          </a:bodyPr>
          <a:lstStyle/>
          <a:p>
            <a:endParaRPr lang="en-US" dirty="0"/>
          </a:p>
        </p:txBody>
      </p:sp>
    </p:spTree>
    <p:extLst>
      <p:ext uri="{BB962C8B-B14F-4D97-AF65-F5344CB8AC3E}">
        <p14:creationId xmlns:p14="http://schemas.microsoft.com/office/powerpoint/2010/main" val="305700241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7_Title and Content">
    <p:spTree>
      <p:nvGrpSpPr>
        <p:cNvPr id="1" name=""/>
        <p:cNvGrpSpPr/>
        <p:nvPr/>
      </p:nvGrpSpPr>
      <p:grpSpPr>
        <a:xfrm>
          <a:off x="0" y="0"/>
          <a:ext cx="0" cy="0"/>
          <a:chOff x="0" y="0"/>
          <a:chExt cx="0" cy="0"/>
        </a:xfrm>
      </p:grpSpPr>
      <p:sp>
        <p:nvSpPr>
          <p:cNvPr id="6" name="object 4">
            <a:extLst>
              <a:ext uri="{FF2B5EF4-FFF2-40B4-BE49-F238E27FC236}">
                <a16:creationId xmlns:a16="http://schemas.microsoft.com/office/drawing/2014/main" id="{ED016D23-5721-500E-F5FD-4532489937C3}"/>
              </a:ext>
            </a:extLst>
          </p:cNvPr>
          <p:cNvSpPr/>
          <p:nvPr userDrawn="1"/>
        </p:nvSpPr>
        <p:spPr>
          <a:xfrm>
            <a:off x="2974038" y="0"/>
            <a:ext cx="1750695" cy="467995"/>
          </a:xfrm>
          <a:custGeom>
            <a:avLst/>
            <a:gdLst/>
            <a:ahLst/>
            <a:cxnLst/>
            <a:rect l="l" t="t" r="r" b="b"/>
            <a:pathLst>
              <a:path w="1750695" h="467995">
                <a:moveTo>
                  <a:pt x="1750463" y="0"/>
                </a:moveTo>
                <a:lnTo>
                  <a:pt x="0" y="0"/>
                </a:lnTo>
                <a:lnTo>
                  <a:pt x="752433" y="438676"/>
                </a:lnTo>
                <a:lnTo>
                  <a:pt x="797088" y="457866"/>
                </a:lnTo>
                <a:lnTo>
                  <a:pt x="844132" y="467461"/>
                </a:lnTo>
                <a:lnTo>
                  <a:pt x="891973" y="467461"/>
                </a:lnTo>
                <a:lnTo>
                  <a:pt x="939018" y="457866"/>
                </a:lnTo>
                <a:lnTo>
                  <a:pt x="983672" y="438676"/>
                </a:lnTo>
                <a:lnTo>
                  <a:pt x="1750463" y="0"/>
                </a:lnTo>
                <a:close/>
              </a:path>
            </a:pathLst>
          </a:custGeom>
          <a:solidFill>
            <a:srgbClr val="FFFFFF"/>
          </a:solidFill>
        </p:spPr>
        <p:txBody>
          <a:bodyPr wrap="square" lIns="0" tIns="0" rIns="0" bIns="0" rtlCol="0"/>
          <a:lstStyle/>
          <a:p>
            <a:endParaRPr/>
          </a:p>
        </p:txBody>
      </p:sp>
      <p:sp>
        <p:nvSpPr>
          <p:cNvPr id="9" name="object 7">
            <a:extLst>
              <a:ext uri="{FF2B5EF4-FFF2-40B4-BE49-F238E27FC236}">
                <a16:creationId xmlns:a16="http://schemas.microsoft.com/office/drawing/2014/main" id="{7B442BB3-EFD2-D68C-F66D-411FCE471DC2}"/>
              </a:ext>
            </a:extLst>
          </p:cNvPr>
          <p:cNvSpPr/>
          <p:nvPr/>
        </p:nvSpPr>
        <p:spPr>
          <a:xfrm>
            <a:off x="0" y="0"/>
            <a:ext cx="3819525" cy="3227705"/>
          </a:xfrm>
          <a:custGeom>
            <a:avLst/>
            <a:gdLst/>
            <a:ahLst/>
            <a:cxnLst/>
            <a:rect l="l" t="t" r="r" b="b"/>
            <a:pathLst>
              <a:path w="3819525" h="3227705">
                <a:moveTo>
                  <a:pt x="1789430" y="0"/>
                </a:moveTo>
                <a:lnTo>
                  <a:pt x="0" y="0"/>
                </a:lnTo>
                <a:lnTo>
                  <a:pt x="0" y="3098000"/>
                </a:lnTo>
                <a:lnTo>
                  <a:pt x="97427" y="3154801"/>
                </a:lnTo>
                <a:lnTo>
                  <a:pt x="141387" y="3176910"/>
                </a:lnTo>
                <a:lnTo>
                  <a:pt x="186738" y="3195000"/>
                </a:lnTo>
                <a:lnTo>
                  <a:pt x="233202" y="3209070"/>
                </a:lnTo>
                <a:lnTo>
                  <a:pt x="280502" y="3219120"/>
                </a:lnTo>
                <a:lnTo>
                  <a:pt x="328357" y="3225150"/>
                </a:lnTo>
                <a:lnTo>
                  <a:pt x="376491" y="3227160"/>
                </a:lnTo>
                <a:lnTo>
                  <a:pt x="424626" y="3225150"/>
                </a:lnTo>
                <a:lnTo>
                  <a:pt x="472481" y="3219120"/>
                </a:lnTo>
                <a:lnTo>
                  <a:pt x="519781" y="3209070"/>
                </a:lnTo>
                <a:lnTo>
                  <a:pt x="566245" y="3195000"/>
                </a:lnTo>
                <a:lnTo>
                  <a:pt x="611596" y="3176910"/>
                </a:lnTo>
                <a:lnTo>
                  <a:pt x="655556" y="3154801"/>
                </a:lnTo>
                <a:lnTo>
                  <a:pt x="3727107" y="1397577"/>
                </a:lnTo>
                <a:lnTo>
                  <a:pt x="3763856" y="1370914"/>
                </a:lnTo>
                <a:lnTo>
                  <a:pt x="3791417" y="1338263"/>
                </a:lnTo>
                <a:lnTo>
                  <a:pt x="3809792" y="1301335"/>
                </a:lnTo>
                <a:lnTo>
                  <a:pt x="3818979" y="1261841"/>
                </a:lnTo>
                <a:lnTo>
                  <a:pt x="3818979" y="1221492"/>
                </a:lnTo>
                <a:lnTo>
                  <a:pt x="3809792" y="1181999"/>
                </a:lnTo>
                <a:lnTo>
                  <a:pt x="3791417" y="1145073"/>
                </a:lnTo>
                <a:lnTo>
                  <a:pt x="3763856" y="1112424"/>
                </a:lnTo>
                <a:lnTo>
                  <a:pt x="3727107" y="1085764"/>
                </a:lnTo>
                <a:lnTo>
                  <a:pt x="1789430" y="0"/>
                </a:lnTo>
                <a:close/>
              </a:path>
            </a:pathLst>
          </a:custGeom>
          <a:solidFill>
            <a:srgbClr val="FFFFFF"/>
          </a:solidFill>
        </p:spPr>
        <p:txBody>
          <a:bodyPr wrap="square" lIns="0" tIns="0" rIns="0" bIns="0" rtlCol="0"/>
          <a:lstStyle/>
          <a:p>
            <a:endParaRPr/>
          </a:p>
        </p:txBody>
      </p:sp>
      <p:sp>
        <p:nvSpPr>
          <p:cNvPr id="10" name="object 8">
            <a:extLst>
              <a:ext uri="{FF2B5EF4-FFF2-40B4-BE49-F238E27FC236}">
                <a16:creationId xmlns:a16="http://schemas.microsoft.com/office/drawing/2014/main" id="{7C5088D7-9EB4-4147-A355-F26ACBE46FAF}"/>
              </a:ext>
            </a:extLst>
          </p:cNvPr>
          <p:cNvSpPr/>
          <p:nvPr/>
        </p:nvSpPr>
        <p:spPr>
          <a:xfrm>
            <a:off x="755337" y="1446742"/>
            <a:ext cx="7031990" cy="8500110"/>
          </a:xfrm>
          <a:custGeom>
            <a:avLst/>
            <a:gdLst/>
            <a:ahLst/>
            <a:cxnLst/>
            <a:rect l="l" t="t" r="r" b="b"/>
            <a:pathLst>
              <a:path w="7031990" h="8500110">
                <a:moveTo>
                  <a:pt x="7031785" y="0"/>
                </a:moveTo>
                <a:lnTo>
                  <a:pt x="0" y="0"/>
                </a:lnTo>
                <a:lnTo>
                  <a:pt x="0" y="8499783"/>
                </a:lnTo>
                <a:lnTo>
                  <a:pt x="3988642" y="7841216"/>
                </a:lnTo>
                <a:lnTo>
                  <a:pt x="4036805" y="7832935"/>
                </a:lnTo>
                <a:lnTo>
                  <a:pt x="4084729" y="7824039"/>
                </a:lnTo>
                <a:lnTo>
                  <a:pt x="4132408" y="7814532"/>
                </a:lnTo>
                <a:lnTo>
                  <a:pt x="4179840" y="7804419"/>
                </a:lnTo>
                <a:lnTo>
                  <a:pt x="4227022" y="7793704"/>
                </a:lnTo>
                <a:lnTo>
                  <a:pt x="4273948" y="7782392"/>
                </a:lnTo>
                <a:lnTo>
                  <a:pt x="4320615" y="7770487"/>
                </a:lnTo>
                <a:lnTo>
                  <a:pt x="4367020" y="7757994"/>
                </a:lnTo>
                <a:lnTo>
                  <a:pt x="4413159" y="7744918"/>
                </a:lnTo>
                <a:lnTo>
                  <a:pt x="4459027" y="7731262"/>
                </a:lnTo>
                <a:lnTo>
                  <a:pt x="4504622" y="7717031"/>
                </a:lnTo>
                <a:lnTo>
                  <a:pt x="4549939" y="7702230"/>
                </a:lnTo>
                <a:lnTo>
                  <a:pt x="4594974" y="7686862"/>
                </a:lnTo>
                <a:lnTo>
                  <a:pt x="4639724" y="7670934"/>
                </a:lnTo>
                <a:lnTo>
                  <a:pt x="4684185" y="7654448"/>
                </a:lnTo>
                <a:lnTo>
                  <a:pt x="4728353" y="7637410"/>
                </a:lnTo>
                <a:lnTo>
                  <a:pt x="4772224" y="7619824"/>
                </a:lnTo>
                <a:lnTo>
                  <a:pt x="4815795" y="7601695"/>
                </a:lnTo>
                <a:lnTo>
                  <a:pt x="4859062" y="7583026"/>
                </a:lnTo>
                <a:lnTo>
                  <a:pt x="4902020" y="7563823"/>
                </a:lnTo>
                <a:lnTo>
                  <a:pt x="4944667" y="7544090"/>
                </a:lnTo>
                <a:lnTo>
                  <a:pt x="4986998" y="7523831"/>
                </a:lnTo>
                <a:lnTo>
                  <a:pt x="5029009" y="7503051"/>
                </a:lnTo>
                <a:lnTo>
                  <a:pt x="5070698" y="7481755"/>
                </a:lnTo>
                <a:lnTo>
                  <a:pt x="5112059" y="7459946"/>
                </a:lnTo>
                <a:lnTo>
                  <a:pt x="5153089" y="7437629"/>
                </a:lnTo>
                <a:lnTo>
                  <a:pt x="5193785" y="7414809"/>
                </a:lnTo>
                <a:lnTo>
                  <a:pt x="5234142" y="7391490"/>
                </a:lnTo>
                <a:lnTo>
                  <a:pt x="5274157" y="7367677"/>
                </a:lnTo>
                <a:lnTo>
                  <a:pt x="5313826" y="7343374"/>
                </a:lnTo>
                <a:lnTo>
                  <a:pt x="5353145" y="7318586"/>
                </a:lnTo>
                <a:lnTo>
                  <a:pt x="5392111" y="7293317"/>
                </a:lnTo>
                <a:lnTo>
                  <a:pt x="5430719" y="7267571"/>
                </a:lnTo>
                <a:lnTo>
                  <a:pt x="5468966" y="7241354"/>
                </a:lnTo>
                <a:lnTo>
                  <a:pt x="5506848" y="7214668"/>
                </a:lnTo>
                <a:lnTo>
                  <a:pt x="5544361" y="7187520"/>
                </a:lnTo>
                <a:lnTo>
                  <a:pt x="5581502" y="7159914"/>
                </a:lnTo>
                <a:lnTo>
                  <a:pt x="5618266" y="7131853"/>
                </a:lnTo>
                <a:lnTo>
                  <a:pt x="5654650" y="7103343"/>
                </a:lnTo>
                <a:lnTo>
                  <a:pt x="5690649" y="7074387"/>
                </a:lnTo>
                <a:lnTo>
                  <a:pt x="5726262" y="7044991"/>
                </a:lnTo>
                <a:lnTo>
                  <a:pt x="5761482" y="7015159"/>
                </a:lnTo>
                <a:lnTo>
                  <a:pt x="5796307" y="6984895"/>
                </a:lnTo>
                <a:lnTo>
                  <a:pt x="5830733" y="6954204"/>
                </a:lnTo>
                <a:lnTo>
                  <a:pt x="5864756" y="6923090"/>
                </a:lnTo>
                <a:lnTo>
                  <a:pt x="5898373" y="6891558"/>
                </a:lnTo>
                <a:lnTo>
                  <a:pt x="5931579" y="6859612"/>
                </a:lnTo>
                <a:lnTo>
                  <a:pt x="5964370" y="6827256"/>
                </a:lnTo>
                <a:lnTo>
                  <a:pt x="5996743" y="6794496"/>
                </a:lnTo>
                <a:lnTo>
                  <a:pt x="6028694" y="6761335"/>
                </a:lnTo>
                <a:lnTo>
                  <a:pt x="6060220" y="6727779"/>
                </a:lnTo>
                <a:lnTo>
                  <a:pt x="6091316" y="6693831"/>
                </a:lnTo>
                <a:lnTo>
                  <a:pt x="6121979" y="6659496"/>
                </a:lnTo>
                <a:lnTo>
                  <a:pt x="6152204" y="6624778"/>
                </a:lnTo>
                <a:lnTo>
                  <a:pt x="6181989" y="6589683"/>
                </a:lnTo>
                <a:lnTo>
                  <a:pt x="6211329" y="6554214"/>
                </a:lnTo>
                <a:lnTo>
                  <a:pt x="6240220" y="6518375"/>
                </a:lnTo>
                <a:lnTo>
                  <a:pt x="6268660" y="6482173"/>
                </a:lnTo>
                <a:lnTo>
                  <a:pt x="6296643" y="6445610"/>
                </a:lnTo>
                <a:lnTo>
                  <a:pt x="6324166" y="6408691"/>
                </a:lnTo>
                <a:lnTo>
                  <a:pt x="6351225" y="6371421"/>
                </a:lnTo>
                <a:lnTo>
                  <a:pt x="6377817" y="6333805"/>
                </a:lnTo>
                <a:lnTo>
                  <a:pt x="6403938" y="6295846"/>
                </a:lnTo>
                <a:lnTo>
                  <a:pt x="6429583" y="6257550"/>
                </a:lnTo>
                <a:lnTo>
                  <a:pt x="6454750" y="6218920"/>
                </a:lnTo>
                <a:lnTo>
                  <a:pt x="6479434" y="6179961"/>
                </a:lnTo>
                <a:lnTo>
                  <a:pt x="6503632" y="6140678"/>
                </a:lnTo>
                <a:lnTo>
                  <a:pt x="6527339" y="6101075"/>
                </a:lnTo>
                <a:lnTo>
                  <a:pt x="6550552" y="6061157"/>
                </a:lnTo>
                <a:lnTo>
                  <a:pt x="6573268" y="6020928"/>
                </a:lnTo>
                <a:lnTo>
                  <a:pt x="6595481" y="5980392"/>
                </a:lnTo>
                <a:lnTo>
                  <a:pt x="6617190" y="5939554"/>
                </a:lnTo>
                <a:lnTo>
                  <a:pt x="6638389" y="5898419"/>
                </a:lnTo>
                <a:lnTo>
                  <a:pt x="6659075" y="5856991"/>
                </a:lnTo>
                <a:lnTo>
                  <a:pt x="6679244" y="5815274"/>
                </a:lnTo>
                <a:lnTo>
                  <a:pt x="6698892" y="5773273"/>
                </a:lnTo>
                <a:lnTo>
                  <a:pt x="6718017" y="5730992"/>
                </a:lnTo>
                <a:lnTo>
                  <a:pt x="6736613" y="5688437"/>
                </a:lnTo>
                <a:lnTo>
                  <a:pt x="6754676" y="5645610"/>
                </a:lnTo>
                <a:lnTo>
                  <a:pt x="6772205" y="5602518"/>
                </a:lnTo>
                <a:lnTo>
                  <a:pt x="6789193" y="5559163"/>
                </a:lnTo>
                <a:lnTo>
                  <a:pt x="6805638" y="5515552"/>
                </a:lnTo>
                <a:lnTo>
                  <a:pt x="6821536" y="5471687"/>
                </a:lnTo>
                <a:lnTo>
                  <a:pt x="6836883" y="5427575"/>
                </a:lnTo>
                <a:lnTo>
                  <a:pt x="6851675" y="5383218"/>
                </a:lnTo>
                <a:lnTo>
                  <a:pt x="6865909" y="5338622"/>
                </a:lnTo>
                <a:lnTo>
                  <a:pt x="6879580" y="5293791"/>
                </a:lnTo>
                <a:lnTo>
                  <a:pt x="6892685" y="5248730"/>
                </a:lnTo>
                <a:lnTo>
                  <a:pt x="6905220" y="5203443"/>
                </a:lnTo>
                <a:lnTo>
                  <a:pt x="6917181" y="5157934"/>
                </a:lnTo>
                <a:lnTo>
                  <a:pt x="6928565" y="5112208"/>
                </a:lnTo>
                <a:lnTo>
                  <a:pt x="6939367" y="5066270"/>
                </a:lnTo>
                <a:lnTo>
                  <a:pt x="6949585" y="5020124"/>
                </a:lnTo>
                <a:lnTo>
                  <a:pt x="6959213" y="4973774"/>
                </a:lnTo>
                <a:lnTo>
                  <a:pt x="6968248" y="4927225"/>
                </a:lnTo>
                <a:lnTo>
                  <a:pt x="6976687" y="4880481"/>
                </a:lnTo>
                <a:lnTo>
                  <a:pt x="6984526" y="4833548"/>
                </a:lnTo>
                <a:lnTo>
                  <a:pt x="6991760" y="4786428"/>
                </a:lnTo>
                <a:lnTo>
                  <a:pt x="6998387" y="4739127"/>
                </a:lnTo>
                <a:lnTo>
                  <a:pt x="7004402" y="4691650"/>
                </a:lnTo>
                <a:lnTo>
                  <a:pt x="7009801" y="4644000"/>
                </a:lnTo>
                <a:lnTo>
                  <a:pt x="7014581" y="4596183"/>
                </a:lnTo>
                <a:lnTo>
                  <a:pt x="7018738" y="4548202"/>
                </a:lnTo>
                <a:lnTo>
                  <a:pt x="7022268" y="4500062"/>
                </a:lnTo>
                <a:lnTo>
                  <a:pt x="7025168" y="4451768"/>
                </a:lnTo>
                <a:lnTo>
                  <a:pt x="7027433" y="4403324"/>
                </a:lnTo>
                <a:lnTo>
                  <a:pt x="7029059" y="4354734"/>
                </a:lnTo>
                <a:lnTo>
                  <a:pt x="7030044" y="4306004"/>
                </a:lnTo>
                <a:lnTo>
                  <a:pt x="7030382" y="4257137"/>
                </a:lnTo>
                <a:lnTo>
                  <a:pt x="7031785" y="0"/>
                </a:lnTo>
                <a:close/>
              </a:path>
            </a:pathLst>
          </a:custGeom>
          <a:solidFill>
            <a:srgbClr val="0070AD"/>
          </a:solidFill>
        </p:spPr>
        <p:txBody>
          <a:bodyPr wrap="square" lIns="0" tIns="0" rIns="0" bIns="0" rtlCol="0"/>
          <a:lstStyle/>
          <a:p>
            <a:endParaRPr dirty="0"/>
          </a:p>
        </p:txBody>
      </p:sp>
      <p:sp>
        <p:nvSpPr>
          <p:cNvPr id="14" name="object 14">
            <a:extLst>
              <a:ext uri="{FF2B5EF4-FFF2-40B4-BE49-F238E27FC236}">
                <a16:creationId xmlns:a16="http://schemas.microsoft.com/office/drawing/2014/main" id="{BCD1E6CE-2BD0-F1C2-1BE9-AEA812073E1C}"/>
              </a:ext>
            </a:extLst>
          </p:cNvPr>
          <p:cNvSpPr txBox="1"/>
          <p:nvPr userDrawn="1"/>
        </p:nvSpPr>
        <p:spPr>
          <a:xfrm>
            <a:off x="772681" y="728582"/>
            <a:ext cx="5164569" cy="367408"/>
          </a:xfrm>
          <a:prstGeom prst="rect">
            <a:avLst/>
          </a:prstGeom>
        </p:spPr>
        <p:txBody>
          <a:bodyPr vert="horz" wrap="square" lIns="0" tIns="13335" rIns="0" bIns="0" rtlCol="0">
            <a:spAutoFit/>
          </a:bodyPr>
          <a:lstStyle/>
          <a:p>
            <a:pPr marL="12700">
              <a:lnSpc>
                <a:spcPct val="100000"/>
              </a:lnSpc>
              <a:spcBef>
                <a:spcPts val="105"/>
              </a:spcBef>
            </a:pPr>
            <a:r>
              <a:rPr sz="2300" b="0" dirty="0">
                <a:solidFill>
                  <a:srgbClr val="2B0A3D"/>
                </a:solidFill>
                <a:latin typeface="Ubuntu Light"/>
                <a:cs typeface="Ubuntu Light"/>
              </a:rPr>
              <a:t>Sogeti </a:t>
            </a:r>
            <a:r>
              <a:rPr lang="es-ES" sz="2300" b="0" dirty="0">
                <a:solidFill>
                  <a:srgbClr val="2B0A3D"/>
                </a:solidFill>
                <a:latin typeface="Ubuntu Light"/>
                <a:cs typeface="Ubuntu Light"/>
              </a:rPr>
              <a:t>Spain · Solution passports</a:t>
            </a:r>
            <a:endParaRPr sz="2300" dirty="0">
              <a:latin typeface="Ubuntu Light"/>
              <a:cs typeface="Ubuntu Light"/>
            </a:endParaRPr>
          </a:p>
        </p:txBody>
      </p:sp>
      <p:sp>
        <p:nvSpPr>
          <p:cNvPr id="2" name="Forma libre 1">
            <a:extLst>
              <a:ext uri="{FF2B5EF4-FFF2-40B4-BE49-F238E27FC236}">
                <a16:creationId xmlns:a16="http://schemas.microsoft.com/office/drawing/2014/main" id="{989C6E1A-67B2-6E4A-EE4C-8F8171710AAA}"/>
              </a:ext>
            </a:extLst>
          </p:cNvPr>
          <p:cNvSpPr/>
          <p:nvPr userDrawn="1"/>
        </p:nvSpPr>
        <p:spPr>
          <a:xfrm flipV="1">
            <a:off x="755650" y="10384024"/>
            <a:ext cx="2362200" cy="385576"/>
          </a:xfrm>
          <a:custGeom>
            <a:avLst/>
            <a:gdLst/>
            <a:ahLst/>
            <a:cxnLst/>
            <a:rect l="l" t="t" r="r" b="b"/>
            <a:pathLst>
              <a:path w="4876802" h="796029">
                <a:moveTo>
                  <a:pt x="2572782" y="405299"/>
                </a:moveTo>
                <a:cubicBezTo>
                  <a:pt x="2589609" y="405299"/>
                  <a:pt x="2601809" y="398820"/>
                  <a:pt x="2609382" y="385863"/>
                </a:cubicBezTo>
                <a:cubicBezTo>
                  <a:pt x="2616954" y="372906"/>
                  <a:pt x="2620740" y="355826"/>
                  <a:pt x="2620740" y="334623"/>
                </a:cubicBezTo>
                <a:cubicBezTo>
                  <a:pt x="2620740" y="313420"/>
                  <a:pt x="2616618" y="296256"/>
                  <a:pt x="2608372" y="283131"/>
                </a:cubicBezTo>
                <a:cubicBezTo>
                  <a:pt x="2600126" y="270006"/>
                  <a:pt x="2587927" y="263443"/>
                  <a:pt x="2571772" y="263443"/>
                </a:cubicBezTo>
                <a:cubicBezTo>
                  <a:pt x="2554945" y="263443"/>
                  <a:pt x="2542744" y="270006"/>
                  <a:pt x="2535172" y="283131"/>
                </a:cubicBezTo>
                <a:cubicBezTo>
                  <a:pt x="2527600" y="296256"/>
                  <a:pt x="2523814" y="313420"/>
                  <a:pt x="2523814" y="334623"/>
                </a:cubicBezTo>
                <a:cubicBezTo>
                  <a:pt x="2523814" y="355826"/>
                  <a:pt x="2527937" y="372906"/>
                  <a:pt x="2536182" y="385863"/>
                </a:cubicBezTo>
                <a:cubicBezTo>
                  <a:pt x="2544428" y="398820"/>
                  <a:pt x="2556628" y="405299"/>
                  <a:pt x="2572782" y="405299"/>
                </a:cubicBezTo>
                <a:close/>
                <a:moveTo>
                  <a:pt x="1810782" y="405299"/>
                </a:moveTo>
                <a:cubicBezTo>
                  <a:pt x="1827610" y="405299"/>
                  <a:pt x="1839810" y="398820"/>
                  <a:pt x="1847382" y="385863"/>
                </a:cubicBezTo>
                <a:cubicBezTo>
                  <a:pt x="1854954" y="372906"/>
                  <a:pt x="1858740" y="355826"/>
                  <a:pt x="1858740" y="334623"/>
                </a:cubicBezTo>
                <a:cubicBezTo>
                  <a:pt x="1858740" y="313420"/>
                  <a:pt x="1854618" y="296256"/>
                  <a:pt x="1846372" y="283131"/>
                </a:cubicBezTo>
                <a:cubicBezTo>
                  <a:pt x="1838127" y="270006"/>
                  <a:pt x="1825927" y="263443"/>
                  <a:pt x="1809772" y="263443"/>
                </a:cubicBezTo>
                <a:cubicBezTo>
                  <a:pt x="1792945" y="263443"/>
                  <a:pt x="1780745" y="270006"/>
                  <a:pt x="1773173" y="283131"/>
                </a:cubicBezTo>
                <a:cubicBezTo>
                  <a:pt x="1765600" y="296256"/>
                  <a:pt x="1761814" y="313420"/>
                  <a:pt x="1761814" y="334623"/>
                </a:cubicBezTo>
                <a:cubicBezTo>
                  <a:pt x="1761814" y="355826"/>
                  <a:pt x="1765937" y="372906"/>
                  <a:pt x="1774182" y="385863"/>
                </a:cubicBezTo>
                <a:cubicBezTo>
                  <a:pt x="1782428" y="398820"/>
                  <a:pt x="1794628" y="405299"/>
                  <a:pt x="1810782" y="405299"/>
                </a:cubicBezTo>
                <a:close/>
                <a:moveTo>
                  <a:pt x="810657" y="405299"/>
                </a:moveTo>
                <a:cubicBezTo>
                  <a:pt x="827485" y="405299"/>
                  <a:pt x="839684" y="398820"/>
                  <a:pt x="847257" y="385863"/>
                </a:cubicBezTo>
                <a:cubicBezTo>
                  <a:pt x="854829" y="372906"/>
                  <a:pt x="858615" y="355826"/>
                  <a:pt x="858616" y="334623"/>
                </a:cubicBezTo>
                <a:cubicBezTo>
                  <a:pt x="858615" y="313420"/>
                  <a:pt x="854493" y="296256"/>
                  <a:pt x="846247" y="283131"/>
                </a:cubicBezTo>
                <a:cubicBezTo>
                  <a:pt x="838002" y="270006"/>
                  <a:pt x="825802" y="263443"/>
                  <a:pt x="809647" y="263443"/>
                </a:cubicBezTo>
                <a:cubicBezTo>
                  <a:pt x="792820" y="263443"/>
                  <a:pt x="780620" y="270006"/>
                  <a:pt x="773048" y="283131"/>
                </a:cubicBezTo>
                <a:cubicBezTo>
                  <a:pt x="765475" y="296256"/>
                  <a:pt x="761689" y="313420"/>
                  <a:pt x="761689" y="334623"/>
                </a:cubicBezTo>
                <a:cubicBezTo>
                  <a:pt x="761689" y="355826"/>
                  <a:pt x="765812" y="372906"/>
                  <a:pt x="774057" y="385863"/>
                </a:cubicBezTo>
                <a:cubicBezTo>
                  <a:pt x="782303" y="398820"/>
                  <a:pt x="794503" y="405299"/>
                  <a:pt x="810657" y="405299"/>
                </a:cubicBezTo>
                <a:close/>
                <a:moveTo>
                  <a:pt x="3325256" y="411861"/>
                </a:moveTo>
                <a:cubicBezTo>
                  <a:pt x="3316506" y="411861"/>
                  <a:pt x="3309608" y="408496"/>
                  <a:pt x="3304560" y="401765"/>
                </a:cubicBezTo>
                <a:cubicBezTo>
                  <a:pt x="3299512" y="395034"/>
                  <a:pt x="3296988" y="387125"/>
                  <a:pt x="3296988" y="378038"/>
                </a:cubicBezTo>
                <a:cubicBezTo>
                  <a:pt x="3296988" y="368951"/>
                  <a:pt x="3299512" y="361126"/>
                  <a:pt x="3304560" y="354564"/>
                </a:cubicBezTo>
                <a:cubicBezTo>
                  <a:pt x="3309608" y="348001"/>
                  <a:pt x="3316506" y="344720"/>
                  <a:pt x="3325256" y="344720"/>
                </a:cubicBezTo>
                <a:cubicBezTo>
                  <a:pt x="3333334" y="344720"/>
                  <a:pt x="3339980" y="348001"/>
                  <a:pt x="3345198" y="354564"/>
                </a:cubicBezTo>
                <a:cubicBezTo>
                  <a:pt x="3350414" y="361126"/>
                  <a:pt x="3353022" y="368951"/>
                  <a:pt x="3353022" y="378038"/>
                </a:cubicBezTo>
                <a:cubicBezTo>
                  <a:pt x="3353022" y="387125"/>
                  <a:pt x="3350414" y="395034"/>
                  <a:pt x="3345198" y="401765"/>
                </a:cubicBezTo>
                <a:cubicBezTo>
                  <a:pt x="3339980" y="408496"/>
                  <a:pt x="3333334" y="411861"/>
                  <a:pt x="3325256" y="411861"/>
                </a:cubicBezTo>
                <a:close/>
                <a:moveTo>
                  <a:pt x="2207070" y="453257"/>
                </a:moveTo>
                <a:lnTo>
                  <a:pt x="2207070" y="401765"/>
                </a:lnTo>
                <a:lnTo>
                  <a:pt x="2272697" y="401765"/>
                </a:lnTo>
                <a:lnTo>
                  <a:pt x="2272697" y="314430"/>
                </a:lnTo>
                <a:cubicBezTo>
                  <a:pt x="2272697" y="297939"/>
                  <a:pt x="2274043" y="283299"/>
                  <a:pt x="2276735" y="270510"/>
                </a:cubicBezTo>
                <a:cubicBezTo>
                  <a:pt x="2279428" y="257721"/>
                  <a:pt x="2284055" y="246868"/>
                  <a:pt x="2290618" y="237949"/>
                </a:cubicBezTo>
                <a:cubicBezTo>
                  <a:pt x="2297181" y="229031"/>
                  <a:pt x="2305931" y="222215"/>
                  <a:pt x="2316869" y="217504"/>
                </a:cubicBezTo>
                <a:cubicBezTo>
                  <a:pt x="2327807" y="212792"/>
                  <a:pt x="2341353" y="210436"/>
                  <a:pt x="2357508" y="210436"/>
                </a:cubicBezTo>
                <a:cubicBezTo>
                  <a:pt x="2366931" y="210436"/>
                  <a:pt x="2377280" y="211530"/>
                  <a:pt x="2388554" y="213718"/>
                </a:cubicBezTo>
                <a:cubicBezTo>
                  <a:pt x="2399829" y="215905"/>
                  <a:pt x="2411860" y="220028"/>
                  <a:pt x="2424649" y="226086"/>
                </a:cubicBezTo>
                <a:lnTo>
                  <a:pt x="2416572" y="276063"/>
                </a:lnTo>
                <a:cubicBezTo>
                  <a:pt x="2406475" y="271352"/>
                  <a:pt x="2397388" y="268239"/>
                  <a:pt x="2389312" y="266724"/>
                </a:cubicBezTo>
                <a:cubicBezTo>
                  <a:pt x="2381234" y="265210"/>
                  <a:pt x="2374335" y="264452"/>
                  <a:pt x="2368614" y="264452"/>
                </a:cubicBezTo>
                <a:cubicBezTo>
                  <a:pt x="2356498" y="264452"/>
                  <a:pt x="2347832" y="267902"/>
                  <a:pt x="2342615" y="274801"/>
                </a:cubicBezTo>
                <a:cubicBezTo>
                  <a:pt x="2337398" y="281701"/>
                  <a:pt x="2334790" y="292218"/>
                  <a:pt x="2334790" y="306353"/>
                </a:cubicBezTo>
                <a:lnTo>
                  <a:pt x="2334790" y="453257"/>
                </a:lnTo>
                <a:close/>
                <a:moveTo>
                  <a:pt x="1088092" y="457800"/>
                </a:moveTo>
                <a:cubicBezTo>
                  <a:pt x="1064870" y="457800"/>
                  <a:pt x="1044593" y="455949"/>
                  <a:pt x="1027260" y="452247"/>
                </a:cubicBezTo>
                <a:cubicBezTo>
                  <a:pt x="1009928" y="448545"/>
                  <a:pt x="993016" y="443665"/>
                  <a:pt x="976526" y="437607"/>
                </a:cubicBezTo>
                <a:lnTo>
                  <a:pt x="976526" y="215989"/>
                </a:lnTo>
                <a:lnTo>
                  <a:pt x="1039124" y="215989"/>
                </a:lnTo>
                <a:lnTo>
                  <a:pt x="1039124" y="392173"/>
                </a:lnTo>
                <a:cubicBezTo>
                  <a:pt x="1047874" y="394529"/>
                  <a:pt x="1056456" y="396128"/>
                  <a:pt x="1064870" y="396969"/>
                </a:cubicBezTo>
                <a:cubicBezTo>
                  <a:pt x="1073284" y="397810"/>
                  <a:pt x="1081866" y="398231"/>
                  <a:pt x="1090616" y="398231"/>
                </a:cubicBezTo>
                <a:cubicBezTo>
                  <a:pt x="1094318" y="398231"/>
                  <a:pt x="1098861" y="398063"/>
                  <a:pt x="1104246" y="397726"/>
                </a:cubicBezTo>
                <a:cubicBezTo>
                  <a:pt x="1109631" y="397390"/>
                  <a:pt x="1115184" y="396801"/>
                  <a:pt x="1120905" y="395959"/>
                </a:cubicBezTo>
                <a:cubicBezTo>
                  <a:pt x="1126627" y="395118"/>
                  <a:pt x="1132264" y="394192"/>
                  <a:pt x="1137817" y="393183"/>
                </a:cubicBezTo>
                <a:cubicBezTo>
                  <a:pt x="1143370" y="392173"/>
                  <a:pt x="1148166" y="391164"/>
                  <a:pt x="1152205" y="390154"/>
                </a:cubicBezTo>
                <a:lnTo>
                  <a:pt x="1163311" y="447704"/>
                </a:lnTo>
                <a:cubicBezTo>
                  <a:pt x="1157589" y="449723"/>
                  <a:pt x="1151111" y="451322"/>
                  <a:pt x="1143875" y="452500"/>
                </a:cubicBezTo>
                <a:cubicBezTo>
                  <a:pt x="1136639" y="453678"/>
                  <a:pt x="1129487" y="454687"/>
                  <a:pt x="1122420" y="455529"/>
                </a:cubicBezTo>
                <a:cubicBezTo>
                  <a:pt x="1115352" y="456370"/>
                  <a:pt x="1108706" y="456959"/>
                  <a:pt x="1102479" y="457296"/>
                </a:cubicBezTo>
                <a:cubicBezTo>
                  <a:pt x="1096253" y="457632"/>
                  <a:pt x="1091457" y="457800"/>
                  <a:pt x="1088092" y="457800"/>
                </a:cubicBezTo>
                <a:close/>
                <a:moveTo>
                  <a:pt x="2572782" y="459315"/>
                </a:moveTo>
                <a:cubicBezTo>
                  <a:pt x="2556628" y="459315"/>
                  <a:pt x="2541651" y="456370"/>
                  <a:pt x="2527852" y="450480"/>
                </a:cubicBezTo>
                <a:cubicBezTo>
                  <a:pt x="2514054" y="444591"/>
                  <a:pt x="2502190" y="436177"/>
                  <a:pt x="2492262" y="425239"/>
                </a:cubicBezTo>
                <a:cubicBezTo>
                  <a:pt x="2482334" y="414301"/>
                  <a:pt x="2474594" y="401176"/>
                  <a:pt x="2469040" y="385863"/>
                </a:cubicBezTo>
                <a:cubicBezTo>
                  <a:pt x="2463487" y="370550"/>
                  <a:pt x="2460711" y="353638"/>
                  <a:pt x="2460711" y="335128"/>
                </a:cubicBezTo>
                <a:cubicBezTo>
                  <a:pt x="2460711" y="316281"/>
                  <a:pt x="2463403" y="299201"/>
                  <a:pt x="2468788" y="283888"/>
                </a:cubicBezTo>
                <a:cubicBezTo>
                  <a:pt x="2474173" y="268575"/>
                  <a:pt x="2481829" y="255366"/>
                  <a:pt x="2491758" y="244259"/>
                </a:cubicBezTo>
                <a:cubicBezTo>
                  <a:pt x="2501686" y="233153"/>
                  <a:pt x="2513465" y="224571"/>
                  <a:pt x="2527095" y="218513"/>
                </a:cubicBezTo>
                <a:cubicBezTo>
                  <a:pt x="2540726" y="212455"/>
                  <a:pt x="2555954" y="209427"/>
                  <a:pt x="2572782" y="209427"/>
                </a:cubicBezTo>
                <a:cubicBezTo>
                  <a:pt x="2589609" y="209427"/>
                  <a:pt x="2604838" y="212455"/>
                  <a:pt x="2618468" y="218513"/>
                </a:cubicBezTo>
                <a:cubicBezTo>
                  <a:pt x="2632098" y="224571"/>
                  <a:pt x="2643794" y="233153"/>
                  <a:pt x="2653554" y="244259"/>
                </a:cubicBezTo>
                <a:cubicBezTo>
                  <a:pt x="2663314" y="255366"/>
                  <a:pt x="2670886" y="268575"/>
                  <a:pt x="2676271" y="283888"/>
                </a:cubicBezTo>
                <a:cubicBezTo>
                  <a:pt x="2681656" y="299201"/>
                  <a:pt x="2684348" y="316281"/>
                  <a:pt x="2684348" y="335128"/>
                </a:cubicBezTo>
                <a:cubicBezTo>
                  <a:pt x="2684348" y="353638"/>
                  <a:pt x="2681656" y="370550"/>
                  <a:pt x="2676271" y="385863"/>
                </a:cubicBezTo>
                <a:cubicBezTo>
                  <a:pt x="2670886" y="401176"/>
                  <a:pt x="2663230" y="414301"/>
                  <a:pt x="2653302" y="425239"/>
                </a:cubicBezTo>
                <a:cubicBezTo>
                  <a:pt x="2643373" y="436177"/>
                  <a:pt x="2631594" y="444591"/>
                  <a:pt x="2617964" y="450480"/>
                </a:cubicBezTo>
                <a:cubicBezTo>
                  <a:pt x="2604334" y="456370"/>
                  <a:pt x="2589273" y="459315"/>
                  <a:pt x="2572782" y="459315"/>
                </a:cubicBezTo>
                <a:close/>
                <a:moveTo>
                  <a:pt x="1810782" y="459315"/>
                </a:moveTo>
                <a:cubicBezTo>
                  <a:pt x="1794628" y="459315"/>
                  <a:pt x="1779651" y="456370"/>
                  <a:pt x="1765853" y="450480"/>
                </a:cubicBezTo>
                <a:cubicBezTo>
                  <a:pt x="1752054" y="444591"/>
                  <a:pt x="1740191" y="436177"/>
                  <a:pt x="1730262" y="425239"/>
                </a:cubicBezTo>
                <a:cubicBezTo>
                  <a:pt x="1720334" y="414301"/>
                  <a:pt x="1712594" y="401176"/>
                  <a:pt x="1707040" y="385863"/>
                </a:cubicBezTo>
                <a:cubicBezTo>
                  <a:pt x="1701488" y="370550"/>
                  <a:pt x="1698711" y="353638"/>
                  <a:pt x="1698711" y="335128"/>
                </a:cubicBezTo>
                <a:cubicBezTo>
                  <a:pt x="1698711" y="316281"/>
                  <a:pt x="1701403" y="299201"/>
                  <a:pt x="1706788" y="283888"/>
                </a:cubicBezTo>
                <a:cubicBezTo>
                  <a:pt x="1712173" y="268575"/>
                  <a:pt x="1719829" y="255366"/>
                  <a:pt x="1729758" y="244259"/>
                </a:cubicBezTo>
                <a:cubicBezTo>
                  <a:pt x="1739686" y="233153"/>
                  <a:pt x="1751465" y="224571"/>
                  <a:pt x="1765095" y="218513"/>
                </a:cubicBezTo>
                <a:cubicBezTo>
                  <a:pt x="1778726" y="212455"/>
                  <a:pt x="1793954" y="209427"/>
                  <a:pt x="1810782" y="209427"/>
                </a:cubicBezTo>
                <a:cubicBezTo>
                  <a:pt x="1827610" y="209427"/>
                  <a:pt x="1842838" y="212455"/>
                  <a:pt x="1856469" y="218513"/>
                </a:cubicBezTo>
                <a:cubicBezTo>
                  <a:pt x="1870099" y="224571"/>
                  <a:pt x="1881794" y="233153"/>
                  <a:pt x="1891554" y="244259"/>
                </a:cubicBezTo>
                <a:cubicBezTo>
                  <a:pt x="1901314" y="255366"/>
                  <a:pt x="1908886" y="268575"/>
                  <a:pt x="1914271" y="283888"/>
                </a:cubicBezTo>
                <a:cubicBezTo>
                  <a:pt x="1919656" y="299201"/>
                  <a:pt x="1922348" y="316281"/>
                  <a:pt x="1922348" y="335128"/>
                </a:cubicBezTo>
                <a:cubicBezTo>
                  <a:pt x="1922348" y="353638"/>
                  <a:pt x="1919656" y="370550"/>
                  <a:pt x="1914271" y="385863"/>
                </a:cubicBezTo>
                <a:cubicBezTo>
                  <a:pt x="1908886" y="401176"/>
                  <a:pt x="1901230" y="414301"/>
                  <a:pt x="1891302" y="425239"/>
                </a:cubicBezTo>
                <a:cubicBezTo>
                  <a:pt x="1881374" y="436177"/>
                  <a:pt x="1869594" y="444591"/>
                  <a:pt x="1855964" y="450480"/>
                </a:cubicBezTo>
                <a:cubicBezTo>
                  <a:pt x="1842334" y="456370"/>
                  <a:pt x="1827273" y="459315"/>
                  <a:pt x="1810782" y="459315"/>
                </a:cubicBezTo>
                <a:close/>
                <a:moveTo>
                  <a:pt x="810657" y="459315"/>
                </a:moveTo>
                <a:cubicBezTo>
                  <a:pt x="794503" y="459315"/>
                  <a:pt x="779526" y="456370"/>
                  <a:pt x="765728" y="450480"/>
                </a:cubicBezTo>
                <a:cubicBezTo>
                  <a:pt x="751929" y="444591"/>
                  <a:pt x="740066" y="436177"/>
                  <a:pt x="730138" y="425239"/>
                </a:cubicBezTo>
                <a:cubicBezTo>
                  <a:pt x="720209" y="414301"/>
                  <a:pt x="712469" y="401176"/>
                  <a:pt x="706916" y="385863"/>
                </a:cubicBezTo>
                <a:cubicBezTo>
                  <a:pt x="701362" y="370550"/>
                  <a:pt x="698586" y="353638"/>
                  <a:pt x="698586" y="335128"/>
                </a:cubicBezTo>
                <a:cubicBezTo>
                  <a:pt x="698586" y="316281"/>
                  <a:pt x="701278" y="299201"/>
                  <a:pt x="706663" y="283888"/>
                </a:cubicBezTo>
                <a:cubicBezTo>
                  <a:pt x="712048" y="268575"/>
                  <a:pt x="719704" y="255366"/>
                  <a:pt x="729633" y="244259"/>
                </a:cubicBezTo>
                <a:cubicBezTo>
                  <a:pt x="739561" y="233153"/>
                  <a:pt x="751340" y="224571"/>
                  <a:pt x="764970" y="218513"/>
                </a:cubicBezTo>
                <a:cubicBezTo>
                  <a:pt x="778601" y="212455"/>
                  <a:pt x="793830" y="209427"/>
                  <a:pt x="810657" y="209427"/>
                </a:cubicBezTo>
                <a:cubicBezTo>
                  <a:pt x="827485" y="209427"/>
                  <a:pt x="842713" y="212455"/>
                  <a:pt x="856344" y="218513"/>
                </a:cubicBezTo>
                <a:cubicBezTo>
                  <a:pt x="869974" y="224571"/>
                  <a:pt x="881669" y="233153"/>
                  <a:pt x="891429" y="244259"/>
                </a:cubicBezTo>
                <a:cubicBezTo>
                  <a:pt x="901189" y="255366"/>
                  <a:pt x="908761" y="268575"/>
                  <a:pt x="914146" y="283888"/>
                </a:cubicBezTo>
                <a:cubicBezTo>
                  <a:pt x="919531" y="299201"/>
                  <a:pt x="922223" y="316281"/>
                  <a:pt x="922223" y="335128"/>
                </a:cubicBezTo>
                <a:cubicBezTo>
                  <a:pt x="922223" y="353638"/>
                  <a:pt x="919531" y="370550"/>
                  <a:pt x="914146" y="385863"/>
                </a:cubicBezTo>
                <a:cubicBezTo>
                  <a:pt x="908761" y="401176"/>
                  <a:pt x="901105" y="414301"/>
                  <a:pt x="891177" y="425239"/>
                </a:cubicBezTo>
                <a:cubicBezTo>
                  <a:pt x="881248" y="436177"/>
                  <a:pt x="869469" y="444591"/>
                  <a:pt x="855839" y="450480"/>
                </a:cubicBezTo>
                <a:cubicBezTo>
                  <a:pt x="842209" y="456370"/>
                  <a:pt x="827148" y="459315"/>
                  <a:pt x="810657" y="459315"/>
                </a:cubicBezTo>
                <a:close/>
                <a:moveTo>
                  <a:pt x="546919" y="477993"/>
                </a:moveTo>
                <a:cubicBezTo>
                  <a:pt x="563410" y="477993"/>
                  <a:pt x="576620" y="474207"/>
                  <a:pt x="586548" y="466635"/>
                </a:cubicBezTo>
                <a:cubicBezTo>
                  <a:pt x="596476" y="459062"/>
                  <a:pt x="601441" y="446189"/>
                  <a:pt x="601441" y="428016"/>
                </a:cubicBezTo>
                <a:cubicBezTo>
                  <a:pt x="601441" y="408832"/>
                  <a:pt x="596392" y="395286"/>
                  <a:pt x="586296" y="387377"/>
                </a:cubicBezTo>
                <a:cubicBezTo>
                  <a:pt x="576199" y="379468"/>
                  <a:pt x="561223" y="375514"/>
                  <a:pt x="541366" y="375514"/>
                </a:cubicBezTo>
                <a:lnTo>
                  <a:pt x="516125" y="375514"/>
                </a:lnTo>
                <a:lnTo>
                  <a:pt x="516125" y="476479"/>
                </a:lnTo>
                <a:cubicBezTo>
                  <a:pt x="519827" y="477152"/>
                  <a:pt x="524960" y="477573"/>
                  <a:pt x="531522" y="477741"/>
                </a:cubicBezTo>
                <a:cubicBezTo>
                  <a:pt x="538085" y="477909"/>
                  <a:pt x="543217" y="477993"/>
                  <a:pt x="546919" y="477993"/>
                </a:cubicBezTo>
                <a:close/>
                <a:moveTo>
                  <a:pt x="3324752" y="482537"/>
                </a:moveTo>
                <a:cubicBezTo>
                  <a:pt x="3341916" y="482537"/>
                  <a:pt x="3354958" y="473198"/>
                  <a:pt x="3363876" y="454519"/>
                </a:cubicBezTo>
                <a:cubicBezTo>
                  <a:pt x="3372794" y="435841"/>
                  <a:pt x="3377254" y="408664"/>
                  <a:pt x="3377254" y="372990"/>
                </a:cubicBezTo>
                <a:cubicBezTo>
                  <a:pt x="3377254" y="336979"/>
                  <a:pt x="3372794" y="309634"/>
                  <a:pt x="3363876" y="290956"/>
                </a:cubicBezTo>
                <a:cubicBezTo>
                  <a:pt x="3354958" y="272277"/>
                  <a:pt x="3341916" y="262938"/>
                  <a:pt x="3324752" y="262938"/>
                </a:cubicBezTo>
                <a:cubicBezTo>
                  <a:pt x="3307924" y="262938"/>
                  <a:pt x="3294968" y="272277"/>
                  <a:pt x="3285880" y="290956"/>
                </a:cubicBezTo>
                <a:cubicBezTo>
                  <a:pt x="3276794" y="309634"/>
                  <a:pt x="3272250" y="336979"/>
                  <a:pt x="3272250" y="372990"/>
                </a:cubicBezTo>
                <a:cubicBezTo>
                  <a:pt x="3272250" y="408664"/>
                  <a:pt x="3276794" y="435841"/>
                  <a:pt x="3285880" y="454519"/>
                </a:cubicBezTo>
                <a:cubicBezTo>
                  <a:pt x="3294968" y="473198"/>
                  <a:pt x="3307924" y="482537"/>
                  <a:pt x="3324752" y="482537"/>
                </a:cubicBezTo>
                <a:close/>
                <a:moveTo>
                  <a:pt x="1323054" y="522923"/>
                </a:moveTo>
                <a:lnTo>
                  <a:pt x="1260961" y="512826"/>
                </a:lnTo>
                <a:lnTo>
                  <a:pt x="1260961" y="453257"/>
                </a:lnTo>
                <a:lnTo>
                  <a:pt x="1206945" y="453257"/>
                </a:lnTo>
                <a:lnTo>
                  <a:pt x="1206945" y="401765"/>
                </a:lnTo>
                <a:lnTo>
                  <a:pt x="1260961" y="401765"/>
                </a:lnTo>
                <a:lnTo>
                  <a:pt x="1260961" y="304334"/>
                </a:lnTo>
                <a:cubicBezTo>
                  <a:pt x="1260961" y="284477"/>
                  <a:pt x="1262980" y="268407"/>
                  <a:pt x="1267019" y="256123"/>
                </a:cubicBezTo>
                <a:cubicBezTo>
                  <a:pt x="1271057" y="243839"/>
                  <a:pt x="1276947" y="234331"/>
                  <a:pt x="1284688" y="227600"/>
                </a:cubicBezTo>
                <a:cubicBezTo>
                  <a:pt x="1292428" y="220869"/>
                  <a:pt x="1301852" y="216326"/>
                  <a:pt x="1312958" y="213970"/>
                </a:cubicBezTo>
                <a:cubicBezTo>
                  <a:pt x="1324064" y="211614"/>
                  <a:pt x="1336853" y="210436"/>
                  <a:pt x="1351325" y="210436"/>
                </a:cubicBezTo>
                <a:cubicBezTo>
                  <a:pt x="1363777" y="210436"/>
                  <a:pt x="1376650" y="211446"/>
                  <a:pt x="1389944" y="213465"/>
                </a:cubicBezTo>
                <a:cubicBezTo>
                  <a:pt x="1403238" y="215484"/>
                  <a:pt x="1415606" y="218850"/>
                  <a:pt x="1427048" y="223562"/>
                </a:cubicBezTo>
                <a:lnTo>
                  <a:pt x="1418466" y="277073"/>
                </a:lnTo>
                <a:cubicBezTo>
                  <a:pt x="1412745" y="274381"/>
                  <a:pt x="1407444" y="272193"/>
                  <a:pt x="1402564" y="270510"/>
                </a:cubicBezTo>
                <a:cubicBezTo>
                  <a:pt x="1397684" y="268828"/>
                  <a:pt x="1392973" y="267566"/>
                  <a:pt x="1388429" y="266724"/>
                </a:cubicBezTo>
                <a:cubicBezTo>
                  <a:pt x="1383886" y="265883"/>
                  <a:pt x="1379174" y="265294"/>
                  <a:pt x="1374294" y="264957"/>
                </a:cubicBezTo>
                <a:cubicBezTo>
                  <a:pt x="1369414" y="264621"/>
                  <a:pt x="1364114" y="264452"/>
                  <a:pt x="1358392" y="264452"/>
                </a:cubicBezTo>
                <a:cubicBezTo>
                  <a:pt x="1353007" y="264452"/>
                  <a:pt x="1348127" y="264957"/>
                  <a:pt x="1343752" y="265967"/>
                </a:cubicBezTo>
                <a:cubicBezTo>
                  <a:pt x="1339377" y="266977"/>
                  <a:pt x="1335675" y="268996"/>
                  <a:pt x="1332646" y="272025"/>
                </a:cubicBezTo>
                <a:cubicBezTo>
                  <a:pt x="1329617" y="275054"/>
                  <a:pt x="1327261" y="279261"/>
                  <a:pt x="1325579" y="284645"/>
                </a:cubicBezTo>
                <a:cubicBezTo>
                  <a:pt x="1323896" y="290030"/>
                  <a:pt x="1323054" y="297098"/>
                  <a:pt x="1323054" y="305848"/>
                </a:cubicBezTo>
                <a:lnTo>
                  <a:pt x="1323054" y="401765"/>
                </a:lnTo>
                <a:lnTo>
                  <a:pt x="1422505" y="401765"/>
                </a:lnTo>
                <a:lnTo>
                  <a:pt x="1422505" y="453257"/>
                </a:lnTo>
                <a:lnTo>
                  <a:pt x="1323054" y="453257"/>
                </a:lnTo>
                <a:close/>
                <a:moveTo>
                  <a:pt x="539852" y="532010"/>
                </a:moveTo>
                <a:cubicBezTo>
                  <a:pt x="534131" y="532010"/>
                  <a:pt x="527568" y="531841"/>
                  <a:pt x="520164" y="531505"/>
                </a:cubicBezTo>
                <a:cubicBezTo>
                  <a:pt x="512760" y="531168"/>
                  <a:pt x="505187" y="530748"/>
                  <a:pt x="497447" y="530243"/>
                </a:cubicBezTo>
                <a:cubicBezTo>
                  <a:pt x="489706" y="529738"/>
                  <a:pt x="482049" y="528981"/>
                  <a:pt x="474477" y="527971"/>
                </a:cubicBezTo>
                <a:cubicBezTo>
                  <a:pt x="466905" y="526961"/>
                  <a:pt x="460090" y="525784"/>
                  <a:pt x="454032" y="524437"/>
                </a:cubicBezTo>
                <a:lnTo>
                  <a:pt x="454032" y="215989"/>
                </a:lnTo>
                <a:lnTo>
                  <a:pt x="516125" y="215989"/>
                </a:lnTo>
                <a:lnTo>
                  <a:pt x="516125" y="321498"/>
                </a:lnTo>
                <a:lnTo>
                  <a:pt x="538337" y="321498"/>
                </a:lnTo>
                <a:cubicBezTo>
                  <a:pt x="578723" y="321498"/>
                  <a:pt x="609938" y="329827"/>
                  <a:pt x="631982" y="346486"/>
                </a:cubicBezTo>
                <a:cubicBezTo>
                  <a:pt x="654026" y="363146"/>
                  <a:pt x="665048" y="390154"/>
                  <a:pt x="665048" y="427511"/>
                </a:cubicBezTo>
                <a:cubicBezTo>
                  <a:pt x="665048" y="464531"/>
                  <a:pt x="654111" y="491203"/>
                  <a:pt x="632235" y="507526"/>
                </a:cubicBezTo>
                <a:cubicBezTo>
                  <a:pt x="610359" y="523848"/>
                  <a:pt x="579565" y="532010"/>
                  <a:pt x="539852" y="532010"/>
                </a:cubicBezTo>
                <a:close/>
                <a:moveTo>
                  <a:pt x="3816452" y="535544"/>
                </a:moveTo>
                <a:cubicBezTo>
                  <a:pt x="3797604" y="535544"/>
                  <a:pt x="3780694" y="532430"/>
                  <a:pt x="3765716" y="526204"/>
                </a:cubicBezTo>
                <a:cubicBezTo>
                  <a:pt x="3750740" y="519978"/>
                  <a:pt x="3738708" y="513836"/>
                  <a:pt x="3729622" y="507778"/>
                </a:cubicBezTo>
                <a:lnTo>
                  <a:pt x="3751834" y="462344"/>
                </a:lnTo>
                <a:cubicBezTo>
                  <a:pt x="3760248" y="468065"/>
                  <a:pt x="3770260" y="472861"/>
                  <a:pt x="3781872" y="476731"/>
                </a:cubicBezTo>
                <a:cubicBezTo>
                  <a:pt x="3793482" y="480602"/>
                  <a:pt x="3805178" y="482537"/>
                  <a:pt x="3816956" y="482537"/>
                </a:cubicBezTo>
                <a:cubicBezTo>
                  <a:pt x="3829072" y="482537"/>
                  <a:pt x="3838580" y="479255"/>
                  <a:pt x="3845480" y="472693"/>
                </a:cubicBezTo>
                <a:cubicBezTo>
                  <a:pt x="3852378" y="466130"/>
                  <a:pt x="3855828" y="457127"/>
                  <a:pt x="3855828" y="445685"/>
                </a:cubicBezTo>
                <a:cubicBezTo>
                  <a:pt x="3855828" y="437944"/>
                  <a:pt x="3854230" y="431550"/>
                  <a:pt x="3851032" y="426501"/>
                </a:cubicBezTo>
                <a:cubicBezTo>
                  <a:pt x="3847836" y="421453"/>
                  <a:pt x="3843712" y="417414"/>
                  <a:pt x="3838664" y="414385"/>
                </a:cubicBezTo>
                <a:cubicBezTo>
                  <a:pt x="3833616" y="411357"/>
                  <a:pt x="3827894" y="409169"/>
                  <a:pt x="3821500" y="407823"/>
                </a:cubicBezTo>
                <a:cubicBezTo>
                  <a:pt x="3815106" y="406477"/>
                  <a:pt x="3808712" y="405803"/>
                  <a:pt x="3802316" y="405803"/>
                </a:cubicBezTo>
                <a:lnTo>
                  <a:pt x="3779094" y="405803"/>
                </a:lnTo>
                <a:lnTo>
                  <a:pt x="3779094" y="354311"/>
                </a:lnTo>
                <a:lnTo>
                  <a:pt x="3798278" y="354311"/>
                </a:lnTo>
                <a:cubicBezTo>
                  <a:pt x="3818470" y="354311"/>
                  <a:pt x="3835130" y="351030"/>
                  <a:pt x="3848256" y="344467"/>
                </a:cubicBezTo>
                <a:cubicBezTo>
                  <a:pt x="3861380" y="337904"/>
                  <a:pt x="3867944" y="326378"/>
                  <a:pt x="3867944" y="309887"/>
                </a:cubicBezTo>
                <a:cubicBezTo>
                  <a:pt x="3867944" y="296425"/>
                  <a:pt x="3863652" y="285150"/>
                  <a:pt x="3855072" y="276063"/>
                </a:cubicBezTo>
                <a:cubicBezTo>
                  <a:pt x="3846488" y="266977"/>
                  <a:pt x="3831596" y="262433"/>
                  <a:pt x="3810394" y="262433"/>
                </a:cubicBezTo>
                <a:cubicBezTo>
                  <a:pt x="3793230" y="262433"/>
                  <a:pt x="3778506" y="264284"/>
                  <a:pt x="3766222" y="267986"/>
                </a:cubicBezTo>
                <a:cubicBezTo>
                  <a:pt x="3753938" y="271688"/>
                  <a:pt x="3743924" y="275222"/>
                  <a:pt x="3736184" y="278588"/>
                </a:cubicBezTo>
                <a:lnTo>
                  <a:pt x="3724068" y="226591"/>
                </a:lnTo>
                <a:cubicBezTo>
                  <a:pt x="3727770" y="224908"/>
                  <a:pt x="3732988" y="223057"/>
                  <a:pt x="3739718" y="221037"/>
                </a:cubicBezTo>
                <a:cubicBezTo>
                  <a:pt x="3746450" y="219018"/>
                  <a:pt x="3753770" y="217167"/>
                  <a:pt x="3761678" y="215484"/>
                </a:cubicBezTo>
                <a:cubicBezTo>
                  <a:pt x="3769588" y="213802"/>
                  <a:pt x="3777832" y="212371"/>
                  <a:pt x="3786414" y="211193"/>
                </a:cubicBezTo>
                <a:cubicBezTo>
                  <a:pt x="3794996" y="210015"/>
                  <a:pt x="3803158" y="209427"/>
                  <a:pt x="3810898" y="209427"/>
                </a:cubicBezTo>
                <a:cubicBezTo>
                  <a:pt x="3831764" y="209427"/>
                  <a:pt x="3849770" y="211867"/>
                  <a:pt x="3864916" y="216746"/>
                </a:cubicBezTo>
                <a:cubicBezTo>
                  <a:pt x="3880060" y="221626"/>
                  <a:pt x="3892512" y="228526"/>
                  <a:pt x="3902272" y="237444"/>
                </a:cubicBezTo>
                <a:cubicBezTo>
                  <a:pt x="3912032" y="246363"/>
                  <a:pt x="3919268" y="256880"/>
                  <a:pt x="3923980" y="268996"/>
                </a:cubicBezTo>
                <a:cubicBezTo>
                  <a:pt x="3928692" y="281112"/>
                  <a:pt x="3931048" y="294405"/>
                  <a:pt x="3931048" y="308877"/>
                </a:cubicBezTo>
                <a:cubicBezTo>
                  <a:pt x="3931048" y="327051"/>
                  <a:pt x="3926588" y="342700"/>
                  <a:pt x="3917668" y="355826"/>
                </a:cubicBezTo>
                <a:cubicBezTo>
                  <a:pt x="3908750" y="368951"/>
                  <a:pt x="3896214" y="378879"/>
                  <a:pt x="3880060" y="385610"/>
                </a:cubicBezTo>
                <a:cubicBezTo>
                  <a:pt x="3891840" y="391668"/>
                  <a:pt x="3901262" y="400419"/>
                  <a:pt x="3908330" y="411861"/>
                </a:cubicBezTo>
                <a:cubicBezTo>
                  <a:pt x="3915398" y="423304"/>
                  <a:pt x="3918932" y="435252"/>
                  <a:pt x="3918932" y="447704"/>
                </a:cubicBezTo>
                <a:cubicBezTo>
                  <a:pt x="3918932" y="460156"/>
                  <a:pt x="3916912" y="471767"/>
                  <a:pt x="3912874" y="482537"/>
                </a:cubicBezTo>
                <a:cubicBezTo>
                  <a:pt x="3908834" y="493306"/>
                  <a:pt x="3902608" y="502646"/>
                  <a:pt x="3894196" y="510555"/>
                </a:cubicBezTo>
                <a:cubicBezTo>
                  <a:pt x="3885780" y="518464"/>
                  <a:pt x="3875096" y="524606"/>
                  <a:pt x="3862138" y="528981"/>
                </a:cubicBezTo>
                <a:cubicBezTo>
                  <a:pt x="3849180" y="533356"/>
                  <a:pt x="3833952" y="535544"/>
                  <a:pt x="3816452" y="535544"/>
                </a:cubicBezTo>
                <a:close/>
                <a:moveTo>
                  <a:pt x="3567354" y="535544"/>
                </a:moveTo>
                <a:cubicBezTo>
                  <a:pt x="3549854" y="535544"/>
                  <a:pt x="3532268" y="532178"/>
                  <a:pt x="3514600" y="525447"/>
                </a:cubicBezTo>
                <a:cubicBezTo>
                  <a:pt x="3496930" y="518716"/>
                  <a:pt x="3481366" y="508283"/>
                  <a:pt x="3467904" y="494148"/>
                </a:cubicBezTo>
                <a:lnTo>
                  <a:pt x="3498698" y="450733"/>
                </a:lnTo>
                <a:cubicBezTo>
                  <a:pt x="3509130" y="461839"/>
                  <a:pt x="3519732" y="469748"/>
                  <a:pt x="3530502" y="474460"/>
                </a:cubicBezTo>
                <a:cubicBezTo>
                  <a:pt x="3541272" y="479171"/>
                  <a:pt x="3551536" y="481527"/>
                  <a:pt x="3561296" y="481527"/>
                </a:cubicBezTo>
                <a:cubicBezTo>
                  <a:pt x="3573076" y="481527"/>
                  <a:pt x="3582836" y="478078"/>
                  <a:pt x="3590576" y="471178"/>
                </a:cubicBezTo>
                <a:cubicBezTo>
                  <a:pt x="3598316" y="464279"/>
                  <a:pt x="3602186" y="454435"/>
                  <a:pt x="3602188" y="441646"/>
                </a:cubicBezTo>
                <a:cubicBezTo>
                  <a:pt x="3602186" y="432559"/>
                  <a:pt x="3599074" y="423641"/>
                  <a:pt x="3592848" y="414890"/>
                </a:cubicBezTo>
                <a:cubicBezTo>
                  <a:pt x="3586622" y="406140"/>
                  <a:pt x="3578712" y="397053"/>
                  <a:pt x="3569120" y="387630"/>
                </a:cubicBezTo>
                <a:cubicBezTo>
                  <a:pt x="3559528" y="378206"/>
                  <a:pt x="3549264" y="368362"/>
                  <a:pt x="3538326" y="358097"/>
                </a:cubicBezTo>
                <a:cubicBezTo>
                  <a:pt x="3527388" y="347833"/>
                  <a:pt x="3517124" y="336727"/>
                  <a:pt x="3507532" y="324779"/>
                </a:cubicBezTo>
                <a:cubicBezTo>
                  <a:pt x="3497940" y="312831"/>
                  <a:pt x="3490032" y="299790"/>
                  <a:pt x="3483806" y="285655"/>
                </a:cubicBezTo>
                <a:cubicBezTo>
                  <a:pt x="3477580" y="271520"/>
                  <a:pt x="3474466" y="256039"/>
                  <a:pt x="3474466" y="239211"/>
                </a:cubicBezTo>
                <a:cubicBezTo>
                  <a:pt x="3474466" y="237192"/>
                  <a:pt x="3474382" y="233658"/>
                  <a:pt x="3474214" y="228610"/>
                </a:cubicBezTo>
                <a:cubicBezTo>
                  <a:pt x="3474046" y="223562"/>
                  <a:pt x="3474466" y="219355"/>
                  <a:pt x="3475476" y="215989"/>
                </a:cubicBezTo>
                <a:lnTo>
                  <a:pt x="3679426" y="215989"/>
                </a:lnTo>
                <a:lnTo>
                  <a:pt x="3679426" y="267481"/>
                </a:lnTo>
                <a:lnTo>
                  <a:pt x="3545142" y="267481"/>
                </a:lnTo>
                <a:cubicBezTo>
                  <a:pt x="3545142" y="272530"/>
                  <a:pt x="3546908" y="278083"/>
                  <a:pt x="3550442" y="284141"/>
                </a:cubicBezTo>
                <a:cubicBezTo>
                  <a:pt x="3553976" y="290198"/>
                  <a:pt x="3558268" y="296172"/>
                  <a:pt x="3563316" y="302062"/>
                </a:cubicBezTo>
                <a:cubicBezTo>
                  <a:pt x="3568364" y="307952"/>
                  <a:pt x="3573748" y="313673"/>
                  <a:pt x="3579470" y="319226"/>
                </a:cubicBezTo>
                <a:cubicBezTo>
                  <a:pt x="3585190" y="324779"/>
                  <a:pt x="3590240" y="329575"/>
                  <a:pt x="3594614" y="333613"/>
                </a:cubicBezTo>
                <a:cubicBezTo>
                  <a:pt x="3603364" y="341691"/>
                  <a:pt x="3611946" y="350104"/>
                  <a:pt x="3620360" y="358855"/>
                </a:cubicBezTo>
                <a:cubicBezTo>
                  <a:pt x="3628774" y="367605"/>
                  <a:pt x="3636346" y="376692"/>
                  <a:pt x="3643078" y="386115"/>
                </a:cubicBezTo>
                <a:cubicBezTo>
                  <a:pt x="3649808" y="395539"/>
                  <a:pt x="3655194" y="405214"/>
                  <a:pt x="3659232" y="415143"/>
                </a:cubicBezTo>
                <a:cubicBezTo>
                  <a:pt x="3663270" y="425071"/>
                  <a:pt x="3665290" y="435420"/>
                  <a:pt x="3665290" y="446189"/>
                </a:cubicBezTo>
                <a:cubicBezTo>
                  <a:pt x="3665290" y="460998"/>
                  <a:pt x="3662598" y="474039"/>
                  <a:pt x="3657212" y="485313"/>
                </a:cubicBezTo>
                <a:cubicBezTo>
                  <a:pt x="3651828" y="496588"/>
                  <a:pt x="3644592" y="505927"/>
                  <a:pt x="3635506" y="513331"/>
                </a:cubicBezTo>
                <a:cubicBezTo>
                  <a:pt x="3626418" y="520735"/>
                  <a:pt x="3615986" y="526288"/>
                  <a:pt x="3604206" y="529990"/>
                </a:cubicBezTo>
                <a:cubicBezTo>
                  <a:pt x="3592426" y="533692"/>
                  <a:pt x="3580142" y="535544"/>
                  <a:pt x="3567354" y="535544"/>
                </a:cubicBezTo>
                <a:close/>
                <a:moveTo>
                  <a:pt x="3324752" y="535544"/>
                </a:moveTo>
                <a:cubicBezTo>
                  <a:pt x="3290088" y="535544"/>
                  <a:pt x="3263332" y="522081"/>
                  <a:pt x="3244486" y="495157"/>
                </a:cubicBezTo>
                <a:cubicBezTo>
                  <a:pt x="3225638" y="468233"/>
                  <a:pt x="3216214" y="427511"/>
                  <a:pt x="3216214" y="372990"/>
                </a:cubicBezTo>
                <a:cubicBezTo>
                  <a:pt x="3216214" y="317796"/>
                  <a:pt x="3225470" y="276737"/>
                  <a:pt x="3243980" y="249813"/>
                </a:cubicBezTo>
                <a:cubicBezTo>
                  <a:pt x="3262490" y="222889"/>
                  <a:pt x="3289414" y="209427"/>
                  <a:pt x="3324752" y="209427"/>
                </a:cubicBezTo>
                <a:cubicBezTo>
                  <a:pt x="3360090" y="209427"/>
                  <a:pt x="3387014" y="222889"/>
                  <a:pt x="3405524" y="249813"/>
                </a:cubicBezTo>
                <a:cubicBezTo>
                  <a:pt x="3424034" y="276737"/>
                  <a:pt x="3433290" y="317796"/>
                  <a:pt x="3433290" y="372990"/>
                </a:cubicBezTo>
                <a:cubicBezTo>
                  <a:pt x="3433290" y="427847"/>
                  <a:pt x="3424034" y="468654"/>
                  <a:pt x="3405524" y="495410"/>
                </a:cubicBezTo>
                <a:cubicBezTo>
                  <a:pt x="3387014" y="522166"/>
                  <a:pt x="3360090" y="535544"/>
                  <a:pt x="3324752" y="535544"/>
                </a:cubicBezTo>
                <a:close/>
                <a:moveTo>
                  <a:pt x="3062528" y="535544"/>
                </a:moveTo>
                <a:cubicBezTo>
                  <a:pt x="3045028" y="535544"/>
                  <a:pt x="3027444" y="532178"/>
                  <a:pt x="3009774" y="525447"/>
                </a:cubicBezTo>
                <a:cubicBezTo>
                  <a:pt x="2992106" y="518716"/>
                  <a:pt x="2976540" y="508283"/>
                  <a:pt x="2963078" y="494148"/>
                </a:cubicBezTo>
                <a:lnTo>
                  <a:pt x="2993872" y="450733"/>
                </a:lnTo>
                <a:cubicBezTo>
                  <a:pt x="3004306" y="461839"/>
                  <a:pt x="3014908" y="469748"/>
                  <a:pt x="3025676" y="474460"/>
                </a:cubicBezTo>
                <a:cubicBezTo>
                  <a:pt x="3036446" y="479171"/>
                  <a:pt x="3046712" y="481527"/>
                  <a:pt x="3056472" y="481527"/>
                </a:cubicBezTo>
                <a:cubicBezTo>
                  <a:pt x="3068250" y="481527"/>
                  <a:pt x="3078010" y="478078"/>
                  <a:pt x="3085752" y="471178"/>
                </a:cubicBezTo>
                <a:cubicBezTo>
                  <a:pt x="3093492" y="464279"/>
                  <a:pt x="3097362" y="454435"/>
                  <a:pt x="3097362" y="441646"/>
                </a:cubicBezTo>
                <a:cubicBezTo>
                  <a:pt x="3097362" y="432559"/>
                  <a:pt x="3094248" y="423641"/>
                  <a:pt x="3088022" y="414890"/>
                </a:cubicBezTo>
                <a:cubicBezTo>
                  <a:pt x="3081796" y="406140"/>
                  <a:pt x="3073888" y="397053"/>
                  <a:pt x="3064296" y="387630"/>
                </a:cubicBezTo>
                <a:cubicBezTo>
                  <a:pt x="3054704" y="378206"/>
                  <a:pt x="3044440" y="368362"/>
                  <a:pt x="3033502" y="358097"/>
                </a:cubicBezTo>
                <a:cubicBezTo>
                  <a:pt x="3022564" y="347833"/>
                  <a:pt x="3012298" y="336727"/>
                  <a:pt x="3002708" y="324779"/>
                </a:cubicBezTo>
                <a:cubicBezTo>
                  <a:pt x="2993116" y="312831"/>
                  <a:pt x="2985206" y="299790"/>
                  <a:pt x="2978980" y="285655"/>
                </a:cubicBezTo>
                <a:cubicBezTo>
                  <a:pt x="2972754" y="271520"/>
                  <a:pt x="2969642" y="256039"/>
                  <a:pt x="2969642" y="239211"/>
                </a:cubicBezTo>
                <a:cubicBezTo>
                  <a:pt x="2969642" y="237192"/>
                  <a:pt x="2969558" y="233658"/>
                  <a:pt x="2969388" y="228610"/>
                </a:cubicBezTo>
                <a:cubicBezTo>
                  <a:pt x="2969220" y="223562"/>
                  <a:pt x="2969640" y="219355"/>
                  <a:pt x="2970650" y="215989"/>
                </a:cubicBezTo>
                <a:lnTo>
                  <a:pt x="3174600" y="215989"/>
                </a:lnTo>
                <a:lnTo>
                  <a:pt x="3174600" y="267481"/>
                </a:lnTo>
                <a:lnTo>
                  <a:pt x="3040316" y="267481"/>
                </a:lnTo>
                <a:cubicBezTo>
                  <a:pt x="3040316" y="272530"/>
                  <a:pt x="3042084" y="278083"/>
                  <a:pt x="3045618" y="284141"/>
                </a:cubicBezTo>
                <a:cubicBezTo>
                  <a:pt x="3049152" y="290198"/>
                  <a:pt x="3053442" y="296172"/>
                  <a:pt x="3058490" y="302062"/>
                </a:cubicBezTo>
                <a:cubicBezTo>
                  <a:pt x="3063538" y="307952"/>
                  <a:pt x="3068924" y="313673"/>
                  <a:pt x="3074644" y="319226"/>
                </a:cubicBezTo>
                <a:cubicBezTo>
                  <a:pt x="3080366" y="324779"/>
                  <a:pt x="3085414" y="329575"/>
                  <a:pt x="3089790" y="333613"/>
                </a:cubicBezTo>
                <a:cubicBezTo>
                  <a:pt x="3098540" y="341691"/>
                  <a:pt x="3107122" y="350104"/>
                  <a:pt x="3115536" y="358855"/>
                </a:cubicBezTo>
                <a:cubicBezTo>
                  <a:pt x="3123950" y="367605"/>
                  <a:pt x="3131522" y="376692"/>
                  <a:pt x="3138252" y="386115"/>
                </a:cubicBezTo>
                <a:cubicBezTo>
                  <a:pt x="3144984" y="395539"/>
                  <a:pt x="3150368" y="405214"/>
                  <a:pt x="3154408" y="415143"/>
                </a:cubicBezTo>
                <a:cubicBezTo>
                  <a:pt x="3158446" y="425071"/>
                  <a:pt x="3160464" y="435420"/>
                  <a:pt x="3160464" y="446189"/>
                </a:cubicBezTo>
                <a:cubicBezTo>
                  <a:pt x="3160464" y="460998"/>
                  <a:pt x="3157772" y="474039"/>
                  <a:pt x="3152388" y="485313"/>
                </a:cubicBezTo>
                <a:cubicBezTo>
                  <a:pt x="3147002" y="496588"/>
                  <a:pt x="3139766" y="505927"/>
                  <a:pt x="3130680" y="513331"/>
                </a:cubicBezTo>
                <a:cubicBezTo>
                  <a:pt x="3121594" y="520735"/>
                  <a:pt x="3111160" y="526288"/>
                  <a:pt x="3099382" y="529990"/>
                </a:cubicBezTo>
                <a:cubicBezTo>
                  <a:pt x="3087602" y="533692"/>
                  <a:pt x="3075318" y="535544"/>
                  <a:pt x="3062528" y="535544"/>
                </a:cubicBezTo>
                <a:close/>
                <a:moveTo>
                  <a:pt x="2292890" y="561290"/>
                </a:moveTo>
                <a:cubicBezTo>
                  <a:pt x="2282120" y="561290"/>
                  <a:pt x="2272949" y="557756"/>
                  <a:pt x="2265377" y="550688"/>
                </a:cubicBezTo>
                <a:cubicBezTo>
                  <a:pt x="2257805" y="543621"/>
                  <a:pt x="2254018" y="533861"/>
                  <a:pt x="2254018" y="521408"/>
                </a:cubicBezTo>
                <a:cubicBezTo>
                  <a:pt x="2254018" y="509293"/>
                  <a:pt x="2257805" y="499701"/>
                  <a:pt x="2265377" y="492633"/>
                </a:cubicBezTo>
                <a:cubicBezTo>
                  <a:pt x="2272949" y="485566"/>
                  <a:pt x="2282120" y="482032"/>
                  <a:pt x="2292890" y="482032"/>
                </a:cubicBezTo>
                <a:cubicBezTo>
                  <a:pt x="2303660" y="482032"/>
                  <a:pt x="2312914" y="485566"/>
                  <a:pt x="2320655" y="492633"/>
                </a:cubicBezTo>
                <a:cubicBezTo>
                  <a:pt x="2328396" y="499701"/>
                  <a:pt x="2332266" y="509293"/>
                  <a:pt x="2332266" y="521408"/>
                </a:cubicBezTo>
                <a:cubicBezTo>
                  <a:pt x="2332266" y="533861"/>
                  <a:pt x="2328396" y="543621"/>
                  <a:pt x="2320655" y="550688"/>
                </a:cubicBezTo>
                <a:cubicBezTo>
                  <a:pt x="2312914" y="557756"/>
                  <a:pt x="2303660" y="561290"/>
                  <a:pt x="2292890" y="561290"/>
                </a:cubicBezTo>
                <a:close/>
                <a:moveTo>
                  <a:pt x="1959420" y="563309"/>
                </a:moveTo>
                <a:lnTo>
                  <a:pt x="1959420" y="511817"/>
                </a:lnTo>
                <a:lnTo>
                  <a:pt x="2025047" y="511817"/>
                </a:lnTo>
                <a:lnTo>
                  <a:pt x="2025047" y="310392"/>
                </a:lnTo>
                <a:cubicBezTo>
                  <a:pt x="2025047" y="277746"/>
                  <a:pt x="2031610" y="252926"/>
                  <a:pt x="2044735" y="235930"/>
                </a:cubicBezTo>
                <a:cubicBezTo>
                  <a:pt x="2057860" y="218934"/>
                  <a:pt x="2078727" y="210436"/>
                  <a:pt x="2107333" y="210436"/>
                </a:cubicBezTo>
                <a:cubicBezTo>
                  <a:pt x="2117767" y="210436"/>
                  <a:pt x="2127106" y="211109"/>
                  <a:pt x="2135351" y="212455"/>
                </a:cubicBezTo>
                <a:cubicBezTo>
                  <a:pt x="2143597" y="213802"/>
                  <a:pt x="2150580" y="215400"/>
                  <a:pt x="2156302" y="217251"/>
                </a:cubicBezTo>
                <a:cubicBezTo>
                  <a:pt x="2162023" y="219102"/>
                  <a:pt x="2166650" y="220869"/>
                  <a:pt x="2170184" y="222552"/>
                </a:cubicBezTo>
                <a:cubicBezTo>
                  <a:pt x="2173718" y="224235"/>
                  <a:pt x="2175990" y="225413"/>
                  <a:pt x="2176999" y="226086"/>
                </a:cubicBezTo>
                <a:lnTo>
                  <a:pt x="2168922" y="276063"/>
                </a:lnTo>
                <a:cubicBezTo>
                  <a:pt x="2166230" y="275054"/>
                  <a:pt x="2160677" y="272866"/>
                  <a:pt x="2152263" y="269501"/>
                </a:cubicBezTo>
                <a:cubicBezTo>
                  <a:pt x="2143849" y="266135"/>
                  <a:pt x="2133416" y="264452"/>
                  <a:pt x="2120964" y="264452"/>
                </a:cubicBezTo>
                <a:cubicBezTo>
                  <a:pt x="2111204" y="264452"/>
                  <a:pt x="2103126" y="267313"/>
                  <a:pt x="2096732" y="273034"/>
                </a:cubicBezTo>
                <a:cubicBezTo>
                  <a:pt x="2090338" y="278756"/>
                  <a:pt x="2087140" y="289694"/>
                  <a:pt x="2087140" y="305848"/>
                </a:cubicBezTo>
                <a:lnTo>
                  <a:pt x="2087140" y="563309"/>
                </a:lnTo>
                <a:close/>
                <a:moveTo>
                  <a:pt x="1607052" y="565833"/>
                </a:moveTo>
                <a:cubicBezTo>
                  <a:pt x="1594263" y="565833"/>
                  <a:pt x="1581811" y="564234"/>
                  <a:pt x="1569695" y="561037"/>
                </a:cubicBezTo>
                <a:cubicBezTo>
                  <a:pt x="1557579" y="557840"/>
                  <a:pt x="1546810" y="552455"/>
                  <a:pt x="1537386" y="544883"/>
                </a:cubicBezTo>
                <a:cubicBezTo>
                  <a:pt x="1527963" y="537310"/>
                  <a:pt x="1520474" y="527214"/>
                  <a:pt x="1514921" y="514593"/>
                </a:cubicBezTo>
                <a:cubicBezTo>
                  <a:pt x="1509368" y="501973"/>
                  <a:pt x="1506592" y="486071"/>
                  <a:pt x="1506592" y="466887"/>
                </a:cubicBezTo>
                <a:lnTo>
                  <a:pt x="1506592" y="453257"/>
                </a:lnTo>
                <a:lnTo>
                  <a:pt x="1454595" y="453257"/>
                </a:lnTo>
                <a:lnTo>
                  <a:pt x="1454595" y="401765"/>
                </a:lnTo>
                <a:lnTo>
                  <a:pt x="1506592" y="401765"/>
                </a:lnTo>
                <a:lnTo>
                  <a:pt x="1506592" y="215989"/>
                </a:lnTo>
                <a:lnTo>
                  <a:pt x="1569190" y="215989"/>
                </a:lnTo>
                <a:lnTo>
                  <a:pt x="1569190" y="401765"/>
                </a:lnTo>
                <a:lnTo>
                  <a:pt x="1666621" y="401765"/>
                </a:lnTo>
                <a:lnTo>
                  <a:pt x="1666621" y="453257"/>
                </a:lnTo>
                <a:lnTo>
                  <a:pt x="1569190" y="453257"/>
                </a:lnTo>
                <a:lnTo>
                  <a:pt x="1569190" y="465878"/>
                </a:lnTo>
                <a:cubicBezTo>
                  <a:pt x="1569190" y="475974"/>
                  <a:pt x="1570368" y="484135"/>
                  <a:pt x="1572724" y="490362"/>
                </a:cubicBezTo>
                <a:cubicBezTo>
                  <a:pt x="1575080" y="496588"/>
                  <a:pt x="1578193" y="501384"/>
                  <a:pt x="1582063" y="504749"/>
                </a:cubicBezTo>
                <a:cubicBezTo>
                  <a:pt x="1585933" y="508115"/>
                  <a:pt x="1590477" y="510302"/>
                  <a:pt x="1595693" y="511312"/>
                </a:cubicBezTo>
                <a:cubicBezTo>
                  <a:pt x="1600910" y="512322"/>
                  <a:pt x="1606379" y="512826"/>
                  <a:pt x="1612100" y="512826"/>
                </a:cubicBezTo>
                <a:cubicBezTo>
                  <a:pt x="1622533" y="512826"/>
                  <a:pt x="1633555" y="511396"/>
                  <a:pt x="1645166" y="508535"/>
                </a:cubicBezTo>
                <a:cubicBezTo>
                  <a:pt x="1656777" y="505675"/>
                  <a:pt x="1666453" y="502898"/>
                  <a:pt x="1674194" y="500206"/>
                </a:cubicBezTo>
                <a:lnTo>
                  <a:pt x="1684795" y="550688"/>
                </a:lnTo>
                <a:cubicBezTo>
                  <a:pt x="1673689" y="556073"/>
                  <a:pt x="1661236" y="559943"/>
                  <a:pt x="1647438" y="562299"/>
                </a:cubicBezTo>
                <a:cubicBezTo>
                  <a:pt x="1633639" y="564655"/>
                  <a:pt x="1620178" y="565833"/>
                  <a:pt x="1607052" y="565833"/>
                </a:cubicBezTo>
                <a:close/>
                <a:moveTo>
                  <a:pt x="0" y="796029"/>
                </a:moveTo>
                <a:lnTo>
                  <a:pt x="4876802" y="796029"/>
                </a:lnTo>
                <a:lnTo>
                  <a:pt x="4824822" y="344498"/>
                </a:lnTo>
                <a:cubicBezTo>
                  <a:pt x="4801968" y="145891"/>
                  <a:pt x="4682292" y="207"/>
                  <a:pt x="4541980" y="155"/>
                </a:cubicBezTo>
                <a:lnTo>
                  <a:pt x="0" y="0"/>
                </a:lnTo>
                <a:close/>
              </a:path>
            </a:pathLst>
          </a:custGeom>
          <a:solidFill>
            <a:srgbClr val="12A9D8"/>
          </a:solidFill>
          <a:ln w="2834" cap="flat">
            <a:noFill/>
            <a:prstDash val="solid"/>
            <a:miter/>
          </a:ln>
        </p:spPr>
        <p:txBody>
          <a:bodyPr wrap="square" rtlCol="0" anchor="ctr">
            <a:noAutofit/>
          </a:bodyPr>
          <a:lstStyle/>
          <a:p>
            <a:endParaRPr lang="en-US" dirty="0"/>
          </a:p>
        </p:txBody>
      </p:sp>
    </p:spTree>
    <p:extLst>
      <p:ext uri="{BB962C8B-B14F-4D97-AF65-F5344CB8AC3E}">
        <p14:creationId xmlns:p14="http://schemas.microsoft.com/office/powerpoint/2010/main" val="35748612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8_Title and Content">
    <p:spTree>
      <p:nvGrpSpPr>
        <p:cNvPr id="1" name=""/>
        <p:cNvGrpSpPr/>
        <p:nvPr/>
      </p:nvGrpSpPr>
      <p:grpSpPr>
        <a:xfrm>
          <a:off x="0" y="0"/>
          <a:ext cx="0" cy="0"/>
          <a:chOff x="0" y="0"/>
          <a:chExt cx="0" cy="0"/>
        </a:xfrm>
      </p:grpSpPr>
      <p:sp>
        <p:nvSpPr>
          <p:cNvPr id="6" name="object 4">
            <a:extLst>
              <a:ext uri="{FF2B5EF4-FFF2-40B4-BE49-F238E27FC236}">
                <a16:creationId xmlns:a16="http://schemas.microsoft.com/office/drawing/2014/main" id="{ED016D23-5721-500E-F5FD-4532489937C3}"/>
              </a:ext>
            </a:extLst>
          </p:cNvPr>
          <p:cNvSpPr/>
          <p:nvPr userDrawn="1"/>
        </p:nvSpPr>
        <p:spPr>
          <a:xfrm>
            <a:off x="2974038" y="0"/>
            <a:ext cx="1750695" cy="467995"/>
          </a:xfrm>
          <a:custGeom>
            <a:avLst/>
            <a:gdLst/>
            <a:ahLst/>
            <a:cxnLst/>
            <a:rect l="l" t="t" r="r" b="b"/>
            <a:pathLst>
              <a:path w="1750695" h="467995">
                <a:moveTo>
                  <a:pt x="1750463" y="0"/>
                </a:moveTo>
                <a:lnTo>
                  <a:pt x="0" y="0"/>
                </a:lnTo>
                <a:lnTo>
                  <a:pt x="752433" y="438676"/>
                </a:lnTo>
                <a:lnTo>
                  <a:pt x="797088" y="457866"/>
                </a:lnTo>
                <a:lnTo>
                  <a:pt x="844132" y="467461"/>
                </a:lnTo>
                <a:lnTo>
                  <a:pt x="891973" y="467461"/>
                </a:lnTo>
                <a:lnTo>
                  <a:pt x="939018" y="457866"/>
                </a:lnTo>
                <a:lnTo>
                  <a:pt x="983672" y="438676"/>
                </a:lnTo>
                <a:lnTo>
                  <a:pt x="1750463" y="0"/>
                </a:lnTo>
                <a:close/>
              </a:path>
            </a:pathLst>
          </a:custGeom>
          <a:solidFill>
            <a:srgbClr val="FFFFFF"/>
          </a:solidFill>
        </p:spPr>
        <p:txBody>
          <a:bodyPr wrap="square" lIns="0" tIns="0" rIns="0" bIns="0" rtlCol="0"/>
          <a:lstStyle/>
          <a:p>
            <a:endParaRPr/>
          </a:p>
        </p:txBody>
      </p:sp>
      <p:sp>
        <p:nvSpPr>
          <p:cNvPr id="9" name="object 7">
            <a:extLst>
              <a:ext uri="{FF2B5EF4-FFF2-40B4-BE49-F238E27FC236}">
                <a16:creationId xmlns:a16="http://schemas.microsoft.com/office/drawing/2014/main" id="{7B442BB3-EFD2-D68C-F66D-411FCE471DC2}"/>
              </a:ext>
            </a:extLst>
          </p:cNvPr>
          <p:cNvSpPr/>
          <p:nvPr/>
        </p:nvSpPr>
        <p:spPr>
          <a:xfrm>
            <a:off x="0" y="0"/>
            <a:ext cx="3819525" cy="3227705"/>
          </a:xfrm>
          <a:custGeom>
            <a:avLst/>
            <a:gdLst/>
            <a:ahLst/>
            <a:cxnLst/>
            <a:rect l="l" t="t" r="r" b="b"/>
            <a:pathLst>
              <a:path w="3819525" h="3227705">
                <a:moveTo>
                  <a:pt x="1789430" y="0"/>
                </a:moveTo>
                <a:lnTo>
                  <a:pt x="0" y="0"/>
                </a:lnTo>
                <a:lnTo>
                  <a:pt x="0" y="3098000"/>
                </a:lnTo>
                <a:lnTo>
                  <a:pt x="97427" y="3154801"/>
                </a:lnTo>
                <a:lnTo>
                  <a:pt x="141387" y="3176910"/>
                </a:lnTo>
                <a:lnTo>
                  <a:pt x="186738" y="3195000"/>
                </a:lnTo>
                <a:lnTo>
                  <a:pt x="233202" y="3209070"/>
                </a:lnTo>
                <a:lnTo>
                  <a:pt x="280502" y="3219120"/>
                </a:lnTo>
                <a:lnTo>
                  <a:pt x="328357" y="3225150"/>
                </a:lnTo>
                <a:lnTo>
                  <a:pt x="376491" y="3227160"/>
                </a:lnTo>
                <a:lnTo>
                  <a:pt x="424626" y="3225150"/>
                </a:lnTo>
                <a:lnTo>
                  <a:pt x="472481" y="3219120"/>
                </a:lnTo>
                <a:lnTo>
                  <a:pt x="519781" y="3209070"/>
                </a:lnTo>
                <a:lnTo>
                  <a:pt x="566245" y="3195000"/>
                </a:lnTo>
                <a:lnTo>
                  <a:pt x="611596" y="3176910"/>
                </a:lnTo>
                <a:lnTo>
                  <a:pt x="655556" y="3154801"/>
                </a:lnTo>
                <a:lnTo>
                  <a:pt x="3727107" y="1397577"/>
                </a:lnTo>
                <a:lnTo>
                  <a:pt x="3763856" y="1370914"/>
                </a:lnTo>
                <a:lnTo>
                  <a:pt x="3791417" y="1338263"/>
                </a:lnTo>
                <a:lnTo>
                  <a:pt x="3809792" y="1301335"/>
                </a:lnTo>
                <a:lnTo>
                  <a:pt x="3818979" y="1261841"/>
                </a:lnTo>
                <a:lnTo>
                  <a:pt x="3818979" y="1221492"/>
                </a:lnTo>
                <a:lnTo>
                  <a:pt x="3809792" y="1181999"/>
                </a:lnTo>
                <a:lnTo>
                  <a:pt x="3791417" y="1145073"/>
                </a:lnTo>
                <a:lnTo>
                  <a:pt x="3763856" y="1112424"/>
                </a:lnTo>
                <a:lnTo>
                  <a:pt x="3727107" y="1085764"/>
                </a:lnTo>
                <a:lnTo>
                  <a:pt x="1789430" y="0"/>
                </a:lnTo>
                <a:close/>
              </a:path>
            </a:pathLst>
          </a:custGeom>
          <a:solidFill>
            <a:srgbClr val="FFFFFF"/>
          </a:solidFill>
        </p:spPr>
        <p:txBody>
          <a:bodyPr wrap="square" lIns="0" tIns="0" rIns="0" bIns="0" rtlCol="0"/>
          <a:lstStyle/>
          <a:p>
            <a:endParaRPr/>
          </a:p>
        </p:txBody>
      </p:sp>
      <p:sp>
        <p:nvSpPr>
          <p:cNvPr id="10" name="object 8">
            <a:extLst>
              <a:ext uri="{FF2B5EF4-FFF2-40B4-BE49-F238E27FC236}">
                <a16:creationId xmlns:a16="http://schemas.microsoft.com/office/drawing/2014/main" id="{7C5088D7-9EB4-4147-A355-F26ACBE46FAF}"/>
              </a:ext>
            </a:extLst>
          </p:cNvPr>
          <p:cNvSpPr/>
          <p:nvPr/>
        </p:nvSpPr>
        <p:spPr>
          <a:xfrm>
            <a:off x="755337" y="1446742"/>
            <a:ext cx="7031990" cy="8500110"/>
          </a:xfrm>
          <a:custGeom>
            <a:avLst/>
            <a:gdLst/>
            <a:ahLst/>
            <a:cxnLst/>
            <a:rect l="l" t="t" r="r" b="b"/>
            <a:pathLst>
              <a:path w="7031990" h="8500110">
                <a:moveTo>
                  <a:pt x="7031785" y="0"/>
                </a:moveTo>
                <a:lnTo>
                  <a:pt x="0" y="0"/>
                </a:lnTo>
                <a:lnTo>
                  <a:pt x="0" y="8499783"/>
                </a:lnTo>
                <a:lnTo>
                  <a:pt x="3988642" y="7841216"/>
                </a:lnTo>
                <a:lnTo>
                  <a:pt x="4036805" y="7832935"/>
                </a:lnTo>
                <a:lnTo>
                  <a:pt x="4084729" y="7824039"/>
                </a:lnTo>
                <a:lnTo>
                  <a:pt x="4132408" y="7814532"/>
                </a:lnTo>
                <a:lnTo>
                  <a:pt x="4179840" y="7804419"/>
                </a:lnTo>
                <a:lnTo>
                  <a:pt x="4227022" y="7793704"/>
                </a:lnTo>
                <a:lnTo>
                  <a:pt x="4273948" y="7782392"/>
                </a:lnTo>
                <a:lnTo>
                  <a:pt x="4320615" y="7770487"/>
                </a:lnTo>
                <a:lnTo>
                  <a:pt x="4367020" y="7757994"/>
                </a:lnTo>
                <a:lnTo>
                  <a:pt x="4413159" y="7744918"/>
                </a:lnTo>
                <a:lnTo>
                  <a:pt x="4459027" y="7731262"/>
                </a:lnTo>
                <a:lnTo>
                  <a:pt x="4504622" y="7717031"/>
                </a:lnTo>
                <a:lnTo>
                  <a:pt x="4549939" y="7702230"/>
                </a:lnTo>
                <a:lnTo>
                  <a:pt x="4594974" y="7686862"/>
                </a:lnTo>
                <a:lnTo>
                  <a:pt x="4639724" y="7670934"/>
                </a:lnTo>
                <a:lnTo>
                  <a:pt x="4684185" y="7654448"/>
                </a:lnTo>
                <a:lnTo>
                  <a:pt x="4728353" y="7637410"/>
                </a:lnTo>
                <a:lnTo>
                  <a:pt x="4772224" y="7619824"/>
                </a:lnTo>
                <a:lnTo>
                  <a:pt x="4815795" y="7601695"/>
                </a:lnTo>
                <a:lnTo>
                  <a:pt x="4859062" y="7583026"/>
                </a:lnTo>
                <a:lnTo>
                  <a:pt x="4902020" y="7563823"/>
                </a:lnTo>
                <a:lnTo>
                  <a:pt x="4944667" y="7544090"/>
                </a:lnTo>
                <a:lnTo>
                  <a:pt x="4986998" y="7523831"/>
                </a:lnTo>
                <a:lnTo>
                  <a:pt x="5029009" y="7503051"/>
                </a:lnTo>
                <a:lnTo>
                  <a:pt x="5070698" y="7481755"/>
                </a:lnTo>
                <a:lnTo>
                  <a:pt x="5112059" y="7459946"/>
                </a:lnTo>
                <a:lnTo>
                  <a:pt x="5153089" y="7437629"/>
                </a:lnTo>
                <a:lnTo>
                  <a:pt x="5193785" y="7414809"/>
                </a:lnTo>
                <a:lnTo>
                  <a:pt x="5234142" y="7391490"/>
                </a:lnTo>
                <a:lnTo>
                  <a:pt x="5274157" y="7367677"/>
                </a:lnTo>
                <a:lnTo>
                  <a:pt x="5313826" y="7343374"/>
                </a:lnTo>
                <a:lnTo>
                  <a:pt x="5353145" y="7318586"/>
                </a:lnTo>
                <a:lnTo>
                  <a:pt x="5392111" y="7293317"/>
                </a:lnTo>
                <a:lnTo>
                  <a:pt x="5430719" y="7267571"/>
                </a:lnTo>
                <a:lnTo>
                  <a:pt x="5468966" y="7241354"/>
                </a:lnTo>
                <a:lnTo>
                  <a:pt x="5506848" y="7214668"/>
                </a:lnTo>
                <a:lnTo>
                  <a:pt x="5544361" y="7187520"/>
                </a:lnTo>
                <a:lnTo>
                  <a:pt x="5581502" y="7159914"/>
                </a:lnTo>
                <a:lnTo>
                  <a:pt x="5618266" y="7131853"/>
                </a:lnTo>
                <a:lnTo>
                  <a:pt x="5654650" y="7103343"/>
                </a:lnTo>
                <a:lnTo>
                  <a:pt x="5690649" y="7074387"/>
                </a:lnTo>
                <a:lnTo>
                  <a:pt x="5726262" y="7044991"/>
                </a:lnTo>
                <a:lnTo>
                  <a:pt x="5761482" y="7015159"/>
                </a:lnTo>
                <a:lnTo>
                  <a:pt x="5796307" y="6984895"/>
                </a:lnTo>
                <a:lnTo>
                  <a:pt x="5830733" y="6954204"/>
                </a:lnTo>
                <a:lnTo>
                  <a:pt x="5864756" y="6923090"/>
                </a:lnTo>
                <a:lnTo>
                  <a:pt x="5898373" y="6891558"/>
                </a:lnTo>
                <a:lnTo>
                  <a:pt x="5931579" y="6859612"/>
                </a:lnTo>
                <a:lnTo>
                  <a:pt x="5964370" y="6827256"/>
                </a:lnTo>
                <a:lnTo>
                  <a:pt x="5996743" y="6794496"/>
                </a:lnTo>
                <a:lnTo>
                  <a:pt x="6028694" y="6761335"/>
                </a:lnTo>
                <a:lnTo>
                  <a:pt x="6060220" y="6727779"/>
                </a:lnTo>
                <a:lnTo>
                  <a:pt x="6091316" y="6693831"/>
                </a:lnTo>
                <a:lnTo>
                  <a:pt x="6121979" y="6659496"/>
                </a:lnTo>
                <a:lnTo>
                  <a:pt x="6152204" y="6624778"/>
                </a:lnTo>
                <a:lnTo>
                  <a:pt x="6181989" y="6589683"/>
                </a:lnTo>
                <a:lnTo>
                  <a:pt x="6211329" y="6554214"/>
                </a:lnTo>
                <a:lnTo>
                  <a:pt x="6240220" y="6518375"/>
                </a:lnTo>
                <a:lnTo>
                  <a:pt x="6268660" y="6482173"/>
                </a:lnTo>
                <a:lnTo>
                  <a:pt x="6296643" y="6445610"/>
                </a:lnTo>
                <a:lnTo>
                  <a:pt x="6324166" y="6408691"/>
                </a:lnTo>
                <a:lnTo>
                  <a:pt x="6351225" y="6371421"/>
                </a:lnTo>
                <a:lnTo>
                  <a:pt x="6377817" y="6333805"/>
                </a:lnTo>
                <a:lnTo>
                  <a:pt x="6403938" y="6295846"/>
                </a:lnTo>
                <a:lnTo>
                  <a:pt x="6429583" y="6257550"/>
                </a:lnTo>
                <a:lnTo>
                  <a:pt x="6454750" y="6218920"/>
                </a:lnTo>
                <a:lnTo>
                  <a:pt x="6479434" y="6179961"/>
                </a:lnTo>
                <a:lnTo>
                  <a:pt x="6503632" y="6140678"/>
                </a:lnTo>
                <a:lnTo>
                  <a:pt x="6527339" y="6101075"/>
                </a:lnTo>
                <a:lnTo>
                  <a:pt x="6550552" y="6061157"/>
                </a:lnTo>
                <a:lnTo>
                  <a:pt x="6573268" y="6020928"/>
                </a:lnTo>
                <a:lnTo>
                  <a:pt x="6595481" y="5980392"/>
                </a:lnTo>
                <a:lnTo>
                  <a:pt x="6617190" y="5939554"/>
                </a:lnTo>
                <a:lnTo>
                  <a:pt x="6638389" y="5898419"/>
                </a:lnTo>
                <a:lnTo>
                  <a:pt x="6659075" y="5856991"/>
                </a:lnTo>
                <a:lnTo>
                  <a:pt x="6679244" y="5815274"/>
                </a:lnTo>
                <a:lnTo>
                  <a:pt x="6698892" y="5773273"/>
                </a:lnTo>
                <a:lnTo>
                  <a:pt x="6718017" y="5730992"/>
                </a:lnTo>
                <a:lnTo>
                  <a:pt x="6736613" y="5688437"/>
                </a:lnTo>
                <a:lnTo>
                  <a:pt x="6754676" y="5645610"/>
                </a:lnTo>
                <a:lnTo>
                  <a:pt x="6772205" y="5602518"/>
                </a:lnTo>
                <a:lnTo>
                  <a:pt x="6789193" y="5559163"/>
                </a:lnTo>
                <a:lnTo>
                  <a:pt x="6805638" y="5515552"/>
                </a:lnTo>
                <a:lnTo>
                  <a:pt x="6821536" y="5471687"/>
                </a:lnTo>
                <a:lnTo>
                  <a:pt x="6836883" y="5427575"/>
                </a:lnTo>
                <a:lnTo>
                  <a:pt x="6851675" y="5383218"/>
                </a:lnTo>
                <a:lnTo>
                  <a:pt x="6865909" y="5338622"/>
                </a:lnTo>
                <a:lnTo>
                  <a:pt x="6879580" y="5293791"/>
                </a:lnTo>
                <a:lnTo>
                  <a:pt x="6892685" y="5248730"/>
                </a:lnTo>
                <a:lnTo>
                  <a:pt x="6905220" y="5203443"/>
                </a:lnTo>
                <a:lnTo>
                  <a:pt x="6917181" y="5157934"/>
                </a:lnTo>
                <a:lnTo>
                  <a:pt x="6928565" y="5112208"/>
                </a:lnTo>
                <a:lnTo>
                  <a:pt x="6939367" y="5066270"/>
                </a:lnTo>
                <a:lnTo>
                  <a:pt x="6949585" y="5020124"/>
                </a:lnTo>
                <a:lnTo>
                  <a:pt x="6959213" y="4973774"/>
                </a:lnTo>
                <a:lnTo>
                  <a:pt x="6968248" y="4927225"/>
                </a:lnTo>
                <a:lnTo>
                  <a:pt x="6976687" y="4880481"/>
                </a:lnTo>
                <a:lnTo>
                  <a:pt x="6984526" y="4833548"/>
                </a:lnTo>
                <a:lnTo>
                  <a:pt x="6991760" y="4786428"/>
                </a:lnTo>
                <a:lnTo>
                  <a:pt x="6998387" y="4739127"/>
                </a:lnTo>
                <a:lnTo>
                  <a:pt x="7004402" y="4691650"/>
                </a:lnTo>
                <a:lnTo>
                  <a:pt x="7009801" y="4644000"/>
                </a:lnTo>
                <a:lnTo>
                  <a:pt x="7014581" y="4596183"/>
                </a:lnTo>
                <a:lnTo>
                  <a:pt x="7018738" y="4548202"/>
                </a:lnTo>
                <a:lnTo>
                  <a:pt x="7022268" y="4500062"/>
                </a:lnTo>
                <a:lnTo>
                  <a:pt x="7025168" y="4451768"/>
                </a:lnTo>
                <a:lnTo>
                  <a:pt x="7027433" y="4403324"/>
                </a:lnTo>
                <a:lnTo>
                  <a:pt x="7029059" y="4354734"/>
                </a:lnTo>
                <a:lnTo>
                  <a:pt x="7030044" y="4306004"/>
                </a:lnTo>
                <a:lnTo>
                  <a:pt x="7030382" y="4257137"/>
                </a:lnTo>
                <a:lnTo>
                  <a:pt x="7031785" y="0"/>
                </a:lnTo>
                <a:close/>
              </a:path>
            </a:pathLst>
          </a:custGeom>
          <a:solidFill>
            <a:srgbClr val="0070AD"/>
          </a:solidFill>
        </p:spPr>
        <p:txBody>
          <a:bodyPr wrap="square" lIns="0" tIns="0" rIns="0" bIns="0" rtlCol="0"/>
          <a:lstStyle/>
          <a:p>
            <a:endParaRPr dirty="0"/>
          </a:p>
        </p:txBody>
      </p:sp>
      <p:sp>
        <p:nvSpPr>
          <p:cNvPr id="14" name="object 14">
            <a:extLst>
              <a:ext uri="{FF2B5EF4-FFF2-40B4-BE49-F238E27FC236}">
                <a16:creationId xmlns:a16="http://schemas.microsoft.com/office/drawing/2014/main" id="{BCD1E6CE-2BD0-F1C2-1BE9-AEA812073E1C}"/>
              </a:ext>
            </a:extLst>
          </p:cNvPr>
          <p:cNvSpPr txBox="1"/>
          <p:nvPr userDrawn="1"/>
        </p:nvSpPr>
        <p:spPr>
          <a:xfrm>
            <a:off x="772681" y="728582"/>
            <a:ext cx="5164569" cy="367408"/>
          </a:xfrm>
          <a:prstGeom prst="rect">
            <a:avLst/>
          </a:prstGeom>
        </p:spPr>
        <p:txBody>
          <a:bodyPr vert="horz" wrap="square" lIns="0" tIns="13335" rIns="0" bIns="0" rtlCol="0">
            <a:spAutoFit/>
          </a:bodyPr>
          <a:lstStyle/>
          <a:p>
            <a:pPr marL="12700">
              <a:lnSpc>
                <a:spcPct val="100000"/>
              </a:lnSpc>
              <a:spcBef>
                <a:spcPts val="105"/>
              </a:spcBef>
            </a:pPr>
            <a:r>
              <a:rPr sz="2300" b="0" dirty="0">
                <a:solidFill>
                  <a:srgbClr val="2B0A3D"/>
                </a:solidFill>
                <a:latin typeface="Ubuntu Light"/>
                <a:cs typeface="Ubuntu Light"/>
              </a:rPr>
              <a:t>Sogeti </a:t>
            </a:r>
            <a:r>
              <a:rPr lang="es-ES" sz="2300" b="0" dirty="0">
                <a:solidFill>
                  <a:srgbClr val="2B0A3D"/>
                </a:solidFill>
                <a:latin typeface="Ubuntu Light"/>
                <a:cs typeface="Ubuntu Light"/>
              </a:rPr>
              <a:t>Spain · Solution passports</a:t>
            </a:r>
            <a:endParaRPr sz="2300" dirty="0">
              <a:latin typeface="Ubuntu Light"/>
              <a:cs typeface="Ubuntu Light"/>
            </a:endParaRPr>
          </a:p>
        </p:txBody>
      </p:sp>
      <p:sp>
        <p:nvSpPr>
          <p:cNvPr id="2" name="Forma libre 1">
            <a:extLst>
              <a:ext uri="{FF2B5EF4-FFF2-40B4-BE49-F238E27FC236}">
                <a16:creationId xmlns:a16="http://schemas.microsoft.com/office/drawing/2014/main" id="{989C6E1A-67B2-6E4A-EE4C-8F8171710AAA}"/>
              </a:ext>
            </a:extLst>
          </p:cNvPr>
          <p:cNvSpPr/>
          <p:nvPr userDrawn="1"/>
        </p:nvSpPr>
        <p:spPr>
          <a:xfrm flipV="1">
            <a:off x="755650" y="10384024"/>
            <a:ext cx="2362200" cy="385576"/>
          </a:xfrm>
          <a:custGeom>
            <a:avLst/>
            <a:gdLst/>
            <a:ahLst/>
            <a:cxnLst/>
            <a:rect l="l" t="t" r="r" b="b"/>
            <a:pathLst>
              <a:path w="4876802" h="796029">
                <a:moveTo>
                  <a:pt x="2572782" y="405299"/>
                </a:moveTo>
                <a:cubicBezTo>
                  <a:pt x="2589609" y="405299"/>
                  <a:pt x="2601809" y="398820"/>
                  <a:pt x="2609382" y="385863"/>
                </a:cubicBezTo>
                <a:cubicBezTo>
                  <a:pt x="2616954" y="372906"/>
                  <a:pt x="2620740" y="355826"/>
                  <a:pt x="2620740" y="334623"/>
                </a:cubicBezTo>
                <a:cubicBezTo>
                  <a:pt x="2620740" y="313420"/>
                  <a:pt x="2616618" y="296256"/>
                  <a:pt x="2608372" y="283131"/>
                </a:cubicBezTo>
                <a:cubicBezTo>
                  <a:pt x="2600126" y="270006"/>
                  <a:pt x="2587927" y="263443"/>
                  <a:pt x="2571772" y="263443"/>
                </a:cubicBezTo>
                <a:cubicBezTo>
                  <a:pt x="2554945" y="263443"/>
                  <a:pt x="2542744" y="270006"/>
                  <a:pt x="2535172" y="283131"/>
                </a:cubicBezTo>
                <a:cubicBezTo>
                  <a:pt x="2527600" y="296256"/>
                  <a:pt x="2523814" y="313420"/>
                  <a:pt x="2523814" y="334623"/>
                </a:cubicBezTo>
                <a:cubicBezTo>
                  <a:pt x="2523814" y="355826"/>
                  <a:pt x="2527937" y="372906"/>
                  <a:pt x="2536182" y="385863"/>
                </a:cubicBezTo>
                <a:cubicBezTo>
                  <a:pt x="2544428" y="398820"/>
                  <a:pt x="2556628" y="405299"/>
                  <a:pt x="2572782" y="405299"/>
                </a:cubicBezTo>
                <a:close/>
                <a:moveTo>
                  <a:pt x="1810782" y="405299"/>
                </a:moveTo>
                <a:cubicBezTo>
                  <a:pt x="1827610" y="405299"/>
                  <a:pt x="1839810" y="398820"/>
                  <a:pt x="1847382" y="385863"/>
                </a:cubicBezTo>
                <a:cubicBezTo>
                  <a:pt x="1854954" y="372906"/>
                  <a:pt x="1858740" y="355826"/>
                  <a:pt x="1858740" y="334623"/>
                </a:cubicBezTo>
                <a:cubicBezTo>
                  <a:pt x="1858740" y="313420"/>
                  <a:pt x="1854618" y="296256"/>
                  <a:pt x="1846372" y="283131"/>
                </a:cubicBezTo>
                <a:cubicBezTo>
                  <a:pt x="1838127" y="270006"/>
                  <a:pt x="1825927" y="263443"/>
                  <a:pt x="1809772" y="263443"/>
                </a:cubicBezTo>
                <a:cubicBezTo>
                  <a:pt x="1792945" y="263443"/>
                  <a:pt x="1780745" y="270006"/>
                  <a:pt x="1773173" y="283131"/>
                </a:cubicBezTo>
                <a:cubicBezTo>
                  <a:pt x="1765600" y="296256"/>
                  <a:pt x="1761814" y="313420"/>
                  <a:pt x="1761814" y="334623"/>
                </a:cubicBezTo>
                <a:cubicBezTo>
                  <a:pt x="1761814" y="355826"/>
                  <a:pt x="1765937" y="372906"/>
                  <a:pt x="1774182" y="385863"/>
                </a:cubicBezTo>
                <a:cubicBezTo>
                  <a:pt x="1782428" y="398820"/>
                  <a:pt x="1794628" y="405299"/>
                  <a:pt x="1810782" y="405299"/>
                </a:cubicBezTo>
                <a:close/>
                <a:moveTo>
                  <a:pt x="810657" y="405299"/>
                </a:moveTo>
                <a:cubicBezTo>
                  <a:pt x="827485" y="405299"/>
                  <a:pt x="839684" y="398820"/>
                  <a:pt x="847257" y="385863"/>
                </a:cubicBezTo>
                <a:cubicBezTo>
                  <a:pt x="854829" y="372906"/>
                  <a:pt x="858615" y="355826"/>
                  <a:pt x="858616" y="334623"/>
                </a:cubicBezTo>
                <a:cubicBezTo>
                  <a:pt x="858615" y="313420"/>
                  <a:pt x="854493" y="296256"/>
                  <a:pt x="846247" y="283131"/>
                </a:cubicBezTo>
                <a:cubicBezTo>
                  <a:pt x="838002" y="270006"/>
                  <a:pt x="825802" y="263443"/>
                  <a:pt x="809647" y="263443"/>
                </a:cubicBezTo>
                <a:cubicBezTo>
                  <a:pt x="792820" y="263443"/>
                  <a:pt x="780620" y="270006"/>
                  <a:pt x="773048" y="283131"/>
                </a:cubicBezTo>
                <a:cubicBezTo>
                  <a:pt x="765475" y="296256"/>
                  <a:pt x="761689" y="313420"/>
                  <a:pt x="761689" y="334623"/>
                </a:cubicBezTo>
                <a:cubicBezTo>
                  <a:pt x="761689" y="355826"/>
                  <a:pt x="765812" y="372906"/>
                  <a:pt x="774057" y="385863"/>
                </a:cubicBezTo>
                <a:cubicBezTo>
                  <a:pt x="782303" y="398820"/>
                  <a:pt x="794503" y="405299"/>
                  <a:pt x="810657" y="405299"/>
                </a:cubicBezTo>
                <a:close/>
                <a:moveTo>
                  <a:pt x="3325256" y="411861"/>
                </a:moveTo>
                <a:cubicBezTo>
                  <a:pt x="3316506" y="411861"/>
                  <a:pt x="3309608" y="408496"/>
                  <a:pt x="3304560" y="401765"/>
                </a:cubicBezTo>
                <a:cubicBezTo>
                  <a:pt x="3299512" y="395034"/>
                  <a:pt x="3296988" y="387125"/>
                  <a:pt x="3296988" y="378038"/>
                </a:cubicBezTo>
                <a:cubicBezTo>
                  <a:pt x="3296988" y="368951"/>
                  <a:pt x="3299512" y="361126"/>
                  <a:pt x="3304560" y="354564"/>
                </a:cubicBezTo>
                <a:cubicBezTo>
                  <a:pt x="3309608" y="348001"/>
                  <a:pt x="3316506" y="344720"/>
                  <a:pt x="3325256" y="344720"/>
                </a:cubicBezTo>
                <a:cubicBezTo>
                  <a:pt x="3333334" y="344720"/>
                  <a:pt x="3339980" y="348001"/>
                  <a:pt x="3345198" y="354564"/>
                </a:cubicBezTo>
                <a:cubicBezTo>
                  <a:pt x="3350414" y="361126"/>
                  <a:pt x="3353022" y="368951"/>
                  <a:pt x="3353022" y="378038"/>
                </a:cubicBezTo>
                <a:cubicBezTo>
                  <a:pt x="3353022" y="387125"/>
                  <a:pt x="3350414" y="395034"/>
                  <a:pt x="3345198" y="401765"/>
                </a:cubicBezTo>
                <a:cubicBezTo>
                  <a:pt x="3339980" y="408496"/>
                  <a:pt x="3333334" y="411861"/>
                  <a:pt x="3325256" y="411861"/>
                </a:cubicBezTo>
                <a:close/>
                <a:moveTo>
                  <a:pt x="2207070" y="453257"/>
                </a:moveTo>
                <a:lnTo>
                  <a:pt x="2207070" y="401765"/>
                </a:lnTo>
                <a:lnTo>
                  <a:pt x="2272697" y="401765"/>
                </a:lnTo>
                <a:lnTo>
                  <a:pt x="2272697" y="314430"/>
                </a:lnTo>
                <a:cubicBezTo>
                  <a:pt x="2272697" y="297939"/>
                  <a:pt x="2274043" y="283299"/>
                  <a:pt x="2276735" y="270510"/>
                </a:cubicBezTo>
                <a:cubicBezTo>
                  <a:pt x="2279428" y="257721"/>
                  <a:pt x="2284055" y="246868"/>
                  <a:pt x="2290618" y="237949"/>
                </a:cubicBezTo>
                <a:cubicBezTo>
                  <a:pt x="2297181" y="229031"/>
                  <a:pt x="2305931" y="222215"/>
                  <a:pt x="2316869" y="217504"/>
                </a:cubicBezTo>
                <a:cubicBezTo>
                  <a:pt x="2327807" y="212792"/>
                  <a:pt x="2341353" y="210436"/>
                  <a:pt x="2357508" y="210436"/>
                </a:cubicBezTo>
                <a:cubicBezTo>
                  <a:pt x="2366931" y="210436"/>
                  <a:pt x="2377280" y="211530"/>
                  <a:pt x="2388554" y="213718"/>
                </a:cubicBezTo>
                <a:cubicBezTo>
                  <a:pt x="2399829" y="215905"/>
                  <a:pt x="2411860" y="220028"/>
                  <a:pt x="2424649" y="226086"/>
                </a:cubicBezTo>
                <a:lnTo>
                  <a:pt x="2416572" y="276063"/>
                </a:lnTo>
                <a:cubicBezTo>
                  <a:pt x="2406475" y="271352"/>
                  <a:pt x="2397388" y="268239"/>
                  <a:pt x="2389312" y="266724"/>
                </a:cubicBezTo>
                <a:cubicBezTo>
                  <a:pt x="2381234" y="265210"/>
                  <a:pt x="2374335" y="264452"/>
                  <a:pt x="2368614" y="264452"/>
                </a:cubicBezTo>
                <a:cubicBezTo>
                  <a:pt x="2356498" y="264452"/>
                  <a:pt x="2347832" y="267902"/>
                  <a:pt x="2342615" y="274801"/>
                </a:cubicBezTo>
                <a:cubicBezTo>
                  <a:pt x="2337398" y="281701"/>
                  <a:pt x="2334790" y="292218"/>
                  <a:pt x="2334790" y="306353"/>
                </a:cubicBezTo>
                <a:lnTo>
                  <a:pt x="2334790" y="453257"/>
                </a:lnTo>
                <a:close/>
                <a:moveTo>
                  <a:pt x="1088092" y="457800"/>
                </a:moveTo>
                <a:cubicBezTo>
                  <a:pt x="1064870" y="457800"/>
                  <a:pt x="1044593" y="455949"/>
                  <a:pt x="1027260" y="452247"/>
                </a:cubicBezTo>
                <a:cubicBezTo>
                  <a:pt x="1009928" y="448545"/>
                  <a:pt x="993016" y="443665"/>
                  <a:pt x="976526" y="437607"/>
                </a:cubicBezTo>
                <a:lnTo>
                  <a:pt x="976526" y="215989"/>
                </a:lnTo>
                <a:lnTo>
                  <a:pt x="1039124" y="215989"/>
                </a:lnTo>
                <a:lnTo>
                  <a:pt x="1039124" y="392173"/>
                </a:lnTo>
                <a:cubicBezTo>
                  <a:pt x="1047874" y="394529"/>
                  <a:pt x="1056456" y="396128"/>
                  <a:pt x="1064870" y="396969"/>
                </a:cubicBezTo>
                <a:cubicBezTo>
                  <a:pt x="1073284" y="397810"/>
                  <a:pt x="1081866" y="398231"/>
                  <a:pt x="1090616" y="398231"/>
                </a:cubicBezTo>
                <a:cubicBezTo>
                  <a:pt x="1094318" y="398231"/>
                  <a:pt x="1098861" y="398063"/>
                  <a:pt x="1104246" y="397726"/>
                </a:cubicBezTo>
                <a:cubicBezTo>
                  <a:pt x="1109631" y="397390"/>
                  <a:pt x="1115184" y="396801"/>
                  <a:pt x="1120905" y="395959"/>
                </a:cubicBezTo>
                <a:cubicBezTo>
                  <a:pt x="1126627" y="395118"/>
                  <a:pt x="1132264" y="394192"/>
                  <a:pt x="1137817" y="393183"/>
                </a:cubicBezTo>
                <a:cubicBezTo>
                  <a:pt x="1143370" y="392173"/>
                  <a:pt x="1148166" y="391164"/>
                  <a:pt x="1152205" y="390154"/>
                </a:cubicBezTo>
                <a:lnTo>
                  <a:pt x="1163311" y="447704"/>
                </a:lnTo>
                <a:cubicBezTo>
                  <a:pt x="1157589" y="449723"/>
                  <a:pt x="1151111" y="451322"/>
                  <a:pt x="1143875" y="452500"/>
                </a:cubicBezTo>
                <a:cubicBezTo>
                  <a:pt x="1136639" y="453678"/>
                  <a:pt x="1129487" y="454687"/>
                  <a:pt x="1122420" y="455529"/>
                </a:cubicBezTo>
                <a:cubicBezTo>
                  <a:pt x="1115352" y="456370"/>
                  <a:pt x="1108706" y="456959"/>
                  <a:pt x="1102479" y="457296"/>
                </a:cubicBezTo>
                <a:cubicBezTo>
                  <a:pt x="1096253" y="457632"/>
                  <a:pt x="1091457" y="457800"/>
                  <a:pt x="1088092" y="457800"/>
                </a:cubicBezTo>
                <a:close/>
                <a:moveTo>
                  <a:pt x="2572782" y="459315"/>
                </a:moveTo>
                <a:cubicBezTo>
                  <a:pt x="2556628" y="459315"/>
                  <a:pt x="2541651" y="456370"/>
                  <a:pt x="2527852" y="450480"/>
                </a:cubicBezTo>
                <a:cubicBezTo>
                  <a:pt x="2514054" y="444591"/>
                  <a:pt x="2502190" y="436177"/>
                  <a:pt x="2492262" y="425239"/>
                </a:cubicBezTo>
                <a:cubicBezTo>
                  <a:pt x="2482334" y="414301"/>
                  <a:pt x="2474594" y="401176"/>
                  <a:pt x="2469040" y="385863"/>
                </a:cubicBezTo>
                <a:cubicBezTo>
                  <a:pt x="2463487" y="370550"/>
                  <a:pt x="2460711" y="353638"/>
                  <a:pt x="2460711" y="335128"/>
                </a:cubicBezTo>
                <a:cubicBezTo>
                  <a:pt x="2460711" y="316281"/>
                  <a:pt x="2463403" y="299201"/>
                  <a:pt x="2468788" y="283888"/>
                </a:cubicBezTo>
                <a:cubicBezTo>
                  <a:pt x="2474173" y="268575"/>
                  <a:pt x="2481829" y="255366"/>
                  <a:pt x="2491758" y="244259"/>
                </a:cubicBezTo>
                <a:cubicBezTo>
                  <a:pt x="2501686" y="233153"/>
                  <a:pt x="2513465" y="224571"/>
                  <a:pt x="2527095" y="218513"/>
                </a:cubicBezTo>
                <a:cubicBezTo>
                  <a:pt x="2540726" y="212455"/>
                  <a:pt x="2555954" y="209427"/>
                  <a:pt x="2572782" y="209427"/>
                </a:cubicBezTo>
                <a:cubicBezTo>
                  <a:pt x="2589609" y="209427"/>
                  <a:pt x="2604838" y="212455"/>
                  <a:pt x="2618468" y="218513"/>
                </a:cubicBezTo>
                <a:cubicBezTo>
                  <a:pt x="2632098" y="224571"/>
                  <a:pt x="2643794" y="233153"/>
                  <a:pt x="2653554" y="244259"/>
                </a:cubicBezTo>
                <a:cubicBezTo>
                  <a:pt x="2663314" y="255366"/>
                  <a:pt x="2670886" y="268575"/>
                  <a:pt x="2676271" y="283888"/>
                </a:cubicBezTo>
                <a:cubicBezTo>
                  <a:pt x="2681656" y="299201"/>
                  <a:pt x="2684348" y="316281"/>
                  <a:pt x="2684348" y="335128"/>
                </a:cubicBezTo>
                <a:cubicBezTo>
                  <a:pt x="2684348" y="353638"/>
                  <a:pt x="2681656" y="370550"/>
                  <a:pt x="2676271" y="385863"/>
                </a:cubicBezTo>
                <a:cubicBezTo>
                  <a:pt x="2670886" y="401176"/>
                  <a:pt x="2663230" y="414301"/>
                  <a:pt x="2653302" y="425239"/>
                </a:cubicBezTo>
                <a:cubicBezTo>
                  <a:pt x="2643373" y="436177"/>
                  <a:pt x="2631594" y="444591"/>
                  <a:pt x="2617964" y="450480"/>
                </a:cubicBezTo>
                <a:cubicBezTo>
                  <a:pt x="2604334" y="456370"/>
                  <a:pt x="2589273" y="459315"/>
                  <a:pt x="2572782" y="459315"/>
                </a:cubicBezTo>
                <a:close/>
                <a:moveTo>
                  <a:pt x="1810782" y="459315"/>
                </a:moveTo>
                <a:cubicBezTo>
                  <a:pt x="1794628" y="459315"/>
                  <a:pt x="1779651" y="456370"/>
                  <a:pt x="1765853" y="450480"/>
                </a:cubicBezTo>
                <a:cubicBezTo>
                  <a:pt x="1752054" y="444591"/>
                  <a:pt x="1740191" y="436177"/>
                  <a:pt x="1730262" y="425239"/>
                </a:cubicBezTo>
                <a:cubicBezTo>
                  <a:pt x="1720334" y="414301"/>
                  <a:pt x="1712594" y="401176"/>
                  <a:pt x="1707040" y="385863"/>
                </a:cubicBezTo>
                <a:cubicBezTo>
                  <a:pt x="1701488" y="370550"/>
                  <a:pt x="1698711" y="353638"/>
                  <a:pt x="1698711" y="335128"/>
                </a:cubicBezTo>
                <a:cubicBezTo>
                  <a:pt x="1698711" y="316281"/>
                  <a:pt x="1701403" y="299201"/>
                  <a:pt x="1706788" y="283888"/>
                </a:cubicBezTo>
                <a:cubicBezTo>
                  <a:pt x="1712173" y="268575"/>
                  <a:pt x="1719829" y="255366"/>
                  <a:pt x="1729758" y="244259"/>
                </a:cubicBezTo>
                <a:cubicBezTo>
                  <a:pt x="1739686" y="233153"/>
                  <a:pt x="1751465" y="224571"/>
                  <a:pt x="1765095" y="218513"/>
                </a:cubicBezTo>
                <a:cubicBezTo>
                  <a:pt x="1778726" y="212455"/>
                  <a:pt x="1793954" y="209427"/>
                  <a:pt x="1810782" y="209427"/>
                </a:cubicBezTo>
                <a:cubicBezTo>
                  <a:pt x="1827610" y="209427"/>
                  <a:pt x="1842838" y="212455"/>
                  <a:pt x="1856469" y="218513"/>
                </a:cubicBezTo>
                <a:cubicBezTo>
                  <a:pt x="1870099" y="224571"/>
                  <a:pt x="1881794" y="233153"/>
                  <a:pt x="1891554" y="244259"/>
                </a:cubicBezTo>
                <a:cubicBezTo>
                  <a:pt x="1901314" y="255366"/>
                  <a:pt x="1908886" y="268575"/>
                  <a:pt x="1914271" y="283888"/>
                </a:cubicBezTo>
                <a:cubicBezTo>
                  <a:pt x="1919656" y="299201"/>
                  <a:pt x="1922348" y="316281"/>
                  <a:pt x="1922348" y="335128"/>
                </a:cubicBezTo>
                <a:cubicBezTo>
                  <a:pt x="1922348" y="353638"/>
                  <a:pt x="1919656" y="370550"/>
                  <a:pt x="1914271" y="385863"/>
                </a:cubicBezTo>
                <a:cubicBezTo>
                  <a:pt x="1908886" y="401176"/>
                  <a:pt x="1901230" y="414301"/>
                  <a:pt x="1891302" y="425239"/>
                </a:cubicBezTo>
                <a:cubicBezTo>
                  <a:pt x="1881374" y="436177"/>
                  <a:pt x="1869594" y="444591"/>
                  <a:pt x="1855964" y="450480"/>
                </a:cubicBezTo>
                <a:cubicBezTo>
                  <a:pt x="1842334" y="456370"/>
                  <a:pt x="1827273" y="459315"/>
                  <a:pt x="1810782" y="459315"/>
                </a:cubicBezTo>
                <a:close/>
                <a:moveTo>
                  <a:pt x="810657" y="459315"/>
                </a:moveTo>
                <a:cubicBezTo>
                  <a:pt x="794503" y="459315"/>
                  <a:pt x="779526" y="456370"/>
                  <a:pt x="765728" y="450480"/>
                </a:cubicBezTo>
                <a:cubicBezTo>
                  <a:pt x="751929" y="444591"/>
                  <a:pt x="740066" y="436177"/>
                  <a:pt x="730138" y="425239"/>
                </a:cubicBezTo>
                <a:cubicBezTo>
                  <a:pt x="720209" y="414301"/>
                  <a:pt x="712469" y="401176"/>
                  <a:pt x="706916" y="385863"/>
                </a:cubicBezTo>
                <a:cubicBezTo>
                  <a:pt x="701362" y="370550"/>
                  <a:pt x="698586" y="353638"/>
                  <a:pt x="698586" y="335128"/>
                </a:cubicBezTo>
                <a:cubicBezTo>
                  <a:pt x="698586" y="316281"/>
                  <a:pt x="701278" y="299201"/>
                  <a:pt x="706663" y="283888"/>
                </a:cubicBezTo>
                <a:cubicBezTo>
                  <a:pt x="712048" y="268575"/>
                  <a:pt x="719704" y="255366"/>
                  <a:pt x="729633" y="244259"/>
                </a:cubicBezTo>
                <a:cubicBezTo>
                  <a:pt x="739561" y="233153"/>
                  <a:pt x="751340" y="224571"/>
                  <a:pt x="764970" y="218513"/>
                </a:cubicBezTo>
                <a:cubicBezTo>
                  <a:pt x="778601" y="212455"/>
                  <a:pt x="793830" y="209427"/>
                  <a:pt x="810657" y="209427"/>
                </a:cubicBezTo>
                <a:cubicBezTo>
                  <a:pt x="827485" y="209427"/>
                  <a:pt x="842713" y="212455"/>
                  <a:pt x="856344" y="218513"/>
                </a:cubicBezTo>
                <a:cubicBezTo>
                  <a:pt x="869974" y="224571"/>
                  <a:pt x="881669" y="233153"/>
                  <a:pt x="891429" y="244259"/>
                </a:cubicBezTo>
                <a:cubicBezTo>
                  <a:pt x="901189" y="255366"/>
                  <a:pt x="908761" y="268575"/>
                  <a:pt x="914146" y="283888"/>
                </a:cubicBezTo>
                <a:cubicBezTo>
                  <a:pt x="919531" y="299201"/>
                  <a:pt x="922223" y="316281"/>
                  <a:pt x="922223" y="335128"/>
                </a:cubicBezTo>
                <a:cubicBezTo>
                  <a:pt x="922223" y="353638"/>
                  <a:pt x="919531" y="370550"/>
                  <a:pt x="914146" y="385863"/>
                </a:cubicBezTo>
                <a:cubicBezTo>
                  <a:pt x="908761" y="401176"/>
                  <a:pt x="901105" y="414301"/>
                  <a:pt x="891177" y="425239"/>
                </a:cubicBezTo>
                <a:cubicBezTo>
                  <a:pt x="881248" y="436177"/>
                  <a:pt x="869469" y="444591"/>
                  <a:pt x="855839" y="450480"/>
                </a:cubicBezTo>
                <a:cubicBezTo>
                  <a:pt x="842209" y="456370"/>
                  <a:pt x="827148" y="459315"/>
                  <a:pt x="810657" y="459315"/>
                </a:cubicBezTo>
                <a:close/>
                <a:moveTo>
                  <a:pt x="546919" y="477993"/>
                </a:moveTo>
                <a:cubicBezTo>
                  <a:pt x="563410" y="477993"/>
                  <a:pt x="576620" y="474207"/>
                  <a:pt x="586548" y="466635"/>
                </a:cubicBezTo>
                <a:cubicBezTo>
                  <a:pt x="596476" y="459062"/>
                  <a:pt x="601441" y="446189"/>
                  <a:pt x="601441" y="428016"/>
                </a:cubicBezTo>
                <a:cubicBezTo>
                  <a:pt x="601441" y="408832"/>
                  <a:pt x="596392" y="395286"/>
                  <a:pt x="586296" y="387377"/>
                </a:cubicBezTo>
                <a:cubicBezTo>
                  <a:pt x="576199" y="379468"/>
                  <a:pt x="561223" y="375514"/>
                  <a:pt x="541366" y="375514"/>
                </a:cubicBezTo>
                <a:lnTo>
                  <a:pt x="516125" y="375514"/>
                </a:lnTo>
                <a:lnTo>
                  <a:pt x="516125" y="476479"/>
                </a:lnTo>
                <a:cubicBezTo>
                  <a:pt x="519827" y="477152"/>
                  <a:pt x="524960" y="477573"/>
                  <a:pt x="531522" y="477741"/>
                </a:cubicBezTo>
                <a:cubicBezTo>
                  <a:pt x="538085" y="477909"/>
                  <a:pt x="543217" y="477993"/>
                  <a:pt x="546919" y="477993"/>
                </a:cubicBezTo>
                <a:close/>
                <a:moveTo>
                  <a:pt x="3324752" y="482537"/>
                </a:moveTo>
                <a:cubicBezTo>
                  <a:pt x="3341916" y="482537"/>
                  <a:pt x="3354958" y="473198"/>
                  <a:pt x="3363876" y="454519"/>
                </a:cubicBezTo>
                <a:cubicBezTo>
                  <a:pt x="3372794" y="435841"/>
                  <a:pt x="3377254" y="408664"/>
                  <a:pt x="3377254" y="372990"/>
                </a:cubicBezTo>
                <a:cubicBezTo>
                  <a:pt x="3377254" y="336979"/>
                  <a:pt x="3372794" y="309634"/>
                  <a:pt x="3363876" y="290956"/>
                </a:cubicBezTo>
                <a:cubicBezTo>
                  <a:pt x="3354958" y="272277"/>
                  <a:pt x="3341916" y="262938"/>
                  <a:pt x="3324752" y="262938"/>
                </a:cubicBezTo>
                <a:cubicBezTo>
                  <a:pt x="3307924" y="262938"/>
                  <a:pt x="3294968" y="272277"/>
                  <a:pt x="3285880" y="290956"/>
                </a:cubicBezTo>
                <a:cubicBezTo>
                  <a:pt x="3276794" y="309634"/>
                  <a:pt x="3272250" y="336979"/>
                  <a:pt x="3272250" y="372990"/>
                </a:cubicBezTo>
                <a:cubicBezTo>
                  <a:pt x="3272250" y="408664"/>
                  <a:pt x="3276794" y="435841"/>
                  <a:pt x="3285880" y="454519"/>
                </a:cubicBezTo>
                <a:cubicBezTo>
                  <a:pt x="3294968" y="473198"/>
                  <a:pt x="3307924" y="482537"/>
                  <a:pt x="3324752" y="482537"/>
                </a:cubicBezTo>
                <a:close/>
                <a:moveTo>
                  <a:pt x="1323054" y="522923"/>
                </a:moveTo>
                <a:lnTo>
                  <a:pt x="1260961" y="512826"/>
                </a:lnTo>
                <a:lnTo>
                  <a:pt x="1260961" y="453257"/>
                </a:lnTo>
                <a:lnTo>
                  <a:pt x="1206945" y="453257"/>
                </a:lnTo>
                <a:lnTo>
                  <a:pt x="1206945" y="401765"/>
                </a:lnTo>
                <a:lnTo>
                  <a:pt x="1260961" y="401765"/>
                </a:lnTo>
                <a:lnTo>
                  <a:pt x="1260961" y="304334"/>
                </a:lnTo>
                <a:cubicBezTo>
                  <a:pt x="1260961" y="284477"/>
                  <a:pt x="1262980" y="268407"/>
                  <a:pt x="1267019" y="256123"/>
                </a:cubicBezTo>
                <a:cubicBezTo>
                  <a:pt x="1271057" y="243839"/>
                  <a:pt x="1276947" y="234331"/>
                  <a:pt x="1284688" y="227600"/>
                </a:cubicBezTo>
                <a:cubicBezTo>
                  <a:pt x="1292428" y="220869"/>
                  <a:pt x="1301852" y="216326"/>
                  <a:pt x="1312958" y="213970"/>
                </a:cubicBezTo>
                <a:cubicBezTo>
                  <a:pt x="1324064" y="211614"/>
                  <a:pt x="1336853" y="210436"/>
                  <a:pt x="1351325" y="210436"/>
                </a:cubicBezTo>
                <a:cubicBezTo>
                  <a:pt x="1363777" y="210436"/>
                  <a:pt x="1376650" y="211446"/>
                  <a:pt x="1389944" y="213465"/>
                </a:cubicBezTo>
                <a:cubicBezTo>
                  <a:pt x="1403238" y="215484"/>
                  <a:pt x="1415606" y="218850"/>
                  <a:pt x="1427048" y="223562"/>
                </a:cubicBezTo>
                <a:lnTo>
                  <a:pt x="1418466" y="277073"/>
                </a:lnTo>
                <a:cubicBezTo>
                  <a:pt x="1412745" y="274381"/>
                  <a:pt x="1407444" y="272193"/>
                  <a:pt x="1402564" y="270510"/>
                </a:cubicBezTo>
                <a:cubicBezTo>
                  <a:pt x="1397684" y="268828"/>
                  <a:pt x="1392973" y="267566"/>
                  <a:pt x="1388429" y="266724"/>
                </a:cubicBezTo>
                <a:cubicBezTo>
                  <a:pt x="1383886" y="265883"/>
                  <a:pt x="1379174" y="265294"/>
                  <a:pt x="1374294" y="264957"/>
                </a:cubicBezTo>
                <a:cubicBezTo>
                  <a:pt x="1369414" y="264621"/>
                  <a:pt x="1364114" y="264452"/>
                  <a:pt x="1358392" y="264452"/>
                </a:cubicBezTo>
                <a:cubicBezTo>
                  <a:pt x="1353007" y="264452"/>
                  <a:pt x="1348127" y="264957"/>
                  <a:pt x="1343752" y="265967"/>
                </a:cubicBezTo>
                <a:cubicBezTo>
                  <a:pt x="1339377" y="266977"/>
                  <a:pt x="1335675" y="268996"/>
                  <a:pt x="1332646" y="272025"/>
                </a:cubicBezTo>
                <a:cubicBezTo>
                  <a:pt x="1329617" y="275054"/>
                  <a:pt x="1327261" y="279261"/>
                  <a:pt x="1325579" y="284645"/>
                </a:cubicBezTo>
                <a:cubicBezTo>
                  <a:pt x="1323896" y="290030"/>
                  <a:pt x="1323054" y="297098"/>
                  <a:pt x="1323054" y="305848"/>
                </a:cubicBezTo>
                <a:lnTo>
                  <a:pt x="1323054" y="401765"/>
                </a:lnTo>
                <a:lnTo>
                  <a:pt x="1422505" y="401765"/>
                </a:lnTo>
                <a:lnTo>
                  <a:pt x="1422505" y="453257"/>
                </a:lnTo>
                <a:lnTo>
                  <a:pt x="1323054" y="453257"/>
                </a:lnTo>
                <a:close/>
                <a:moveTo>
                  <a:pt x="539852" y="532010"/>
                </a:moveTo>
                <a:cubicBezTo>
                  <a:pt x="534131" y="532010"/>
                  <a:pt x="527568" y="531841"/>
                  <a:pt x="520164" y="531505"/>
                </a:cubicBezTo>
                <a:cubicBezTo>
                  <a:pt x="512760" y="531168"/>
                  <a:pt x="505187" y="530748"/>
                  <a:pt x="497447" y="530243"/>
                </a:cubicBezTo>
                <a:cubicBezTo>
                  <a:pt x="489706" y="529738"/>
                  <a:pt x="482049" y="528981"/>
                  <a:pt x="474477" y="527971"/>
                </a:cubicBezTo>
                <a:cubicBezTo>
                  <a:pt x="466905" y="526961"/>
                  <a:pt x="460090" y="525784"/>
                  <a:pt x="454032" y="524437"/>
                </a:cubicBezTo>
                <a:lnTo>
                  <a:pt x="454032" y="215989"/>
                </a:lnTo>
                <a:lnTo>
                  <a:pt x="516125" y="215989"/>
                </a:lnTo>
                <a:lnTo>
                  <a:pt x="516125" y="321498"/>
                </a:lnTo>
                <a:lnTo>
                  <a:pt x="538337" y="321498"/>
                </a:lnTo>
                <a:cubicBezTo>
                  <a:pt x="578723" y="321498"/>
                  <a:pt x="609938" y="329827"/>
                  <a:pt x="631982" y="346486"/>
                </a:cubicBezTo>
                <a:cubicBezTo>
                  <a:pt x="654026" y="363146"/>
                  <a:pt x="665048" y="390154"/>
                  <a:pt x="665048" y="427511"/>
                </a:cubicBezTo>
                <a:cubicBezTo>
                  <a:pt x="665048" y="464531"/>
                  <a:pt x="654111" y="491203"/>
                  <a:pt x="632235" y="507526"/>
                </a:cubicBezTo>
                <a:cubicBezTo>
                  <a:pt x="610359" y="523848"/>
                  <a:pt x="579565" y="532010"/>
                  <a:pt x="539852" y="532010"/>
                </a:cubicBezTo>
                <a:close/>
                <a:moveTo>
                  <a:pt x="3816452" y="535544"/>
                </a:moveTo>
                <a:cubicBezTo>
                  <a:pt x="3797604" y="535544"/>
                  <a:pt x="3780694" y="532430"/>
                  <a:pt x="3765716" y="526204"/>
                </a:cubicBezTo>
                <a:cubicBezTo>
                  <a:pt x="3750740" y="519978"/>
                  <a:pt x="3738708" y="513836"/>
                  <a:pt x="3729622" y="507778"/>
                </a:cubicBezTo>
                <a:lnTo>
                  <a:pt x="3751834" y="462344"/>
                </a:lnTo>
                <a:cubicBezTo>
                  <a:pt x="3760248" y="468065"/>
                  <a:pt x="3770260" y="472861"/>
                  <a:pt x="3781872" y="476731"/>
                </a:cubicBezTo>
                <a:cubicBezTo>
                  <a:pt x="3793482" y="480602"/>
                  <a:pt x="3805178" y="482537"/>
                  <a:pt x="3816956" y="482537"/>
                </a:cubicBezTo>
                <a:cubicBezTo>
                  <a:pt x="3829072" y="482537"/>
                  <a:pt x="3838580" y="479255"/>
                  <a:pt x="3845480" y="472693"/>
                </a:cubicBezTo>
                <a:cubicBezTo>
                  <a:pt x="3852378" y="466130"/>
                  <a:pt x="3855828" y="457127"/>
                  <a:pt x="3855828" y="445685"/>
                </a:cubicBezTo>
                <a:cubicBezTo>
                  <a:pt x="3855828" y="437944"/>
                  <a:pt x="3854230" y="431550"/>
                  <a:pt x="3851032" y="426501"/>
                </a:cubicBezTo>
                <a:cubicBezTo>
                  <a:pt x="3847836" y="421453"/>
                  <a:pt x="3843712" y="417414"/>
                  <a:pt x="3838664" y="414385"/>
                </a:cubicBezTo>
                <a:cubicBezTo>
                  <a:pt x="3833616" y="411357"/>
                  <a:pt x="3827894" y="409169"/>
                  <a:pt x="3821500" y="407823"/>
                </a:cubicBezTo>
                <a:cubicBezTo>
                  <a:pt x="3815106" y="406477"/>
                  <a:pt x="3808712" y="405803"/>
                  <a:pt x="3802316" y="405803"/>
                </a:cubicBezTo>
                <a:lnTo>
                  <a:pt x="3779094" y="405803"/>
                </a:lnTo>
                <a:lnTo>
                  <a:pt x="3779094" y="354311"/>
                </a:lnTo>
                <a:lnTo>
                  <a:pt x="3798278" y="354311"/>
                </a:lnTo>
                <a:cubicBezTo>
                  <a:pt x="3818470" y="354311"/>
                  <a:pt x="3835130" y="351030"/>
                  <a:pt x="3848256" y="344467"/>
                </a:cubicBezTo>
                <a:cubicBezTo>
                  <a:pt x="3861380" y="337904"/>
                  <a:pt x="3867944" y="326378"/>
                  <a:pt x="3867944" y="309887"/>
                </a:cubicBezTo>
                <a:cubicBezTo>
                  <a:pt x="3867944" y="296425"/>
                  <a:pt x="3863652" y="285150"/>
                  <a:pt x="3855072" y="276063"/>
                </a:cubicBezTo>
                <a:cubicBezTo>
                  <a:pt x="3846488" y="266977"/>
                  <a:pt x="3831596" y="262433"/>
                  <a:pt x="3810394" y="262433"/>
                </a:cubicBezTo>
                <a:cubicBezTo>
                  <a:pt x="3793230" y="262433"/>
                  <a:pt x="3778506" y="264284"/>
                  <a:pt x="3766222" y="267986"/>
                </a:cubicBezTo>
                <a:cubicBezTo>
                  <a:pt x="3753938" y="271688"/>
                  <a:pt x="3743924" y="275222"/>
                  <a:pt x="3736184" y="278588"/>
                </a:cubicBezTo>
                <a:lnTo>
                  <a:pt x="3724068" y="226591"/>
                </a:lnTo>
                <a:cubicBezTo>
                  <a:pt x="3727770" y="224908"/>
                  <a:pt x="3732988" y="223057"/>
                  <a:pt x="3739718" y="221037"/>
                </a:cubicBezTo>
                <a:cubicBezTo>
                  <a:pt x="3746450" y="219018"/>
                  <a:pt x="3753770" y="217167"/>
                  <a:pt x="3761678" y="215484"/>
                </a:cubicBezTo>
                <a:cubicBezTo>
                  <a:pt x="3769588" y="213802"/>
                  <a:pt x="3777832" y="212371"/>
                  <a:pt x="3786414" y="211193"/>
                </a:cubicBezTo>
                <a:cubicBezTo>
                  <a:pt x="3794996" y="210015"/>
                  <a:pt x="3803158" y="209427"/>
                  <a:pt x="3810898" y="209427"/>
                </a:cubicBezTo>
                <a:cubicBezTo>
                  <a:pt x="3831764" y="209427"/>
                  <a:pt x="3849770" y="211867"/>
                  <a:pt x="3864916" y="216746"/>
                </a:cubicBezTo>
                <a:cubicBezTo>
                  <a:pt x="3880060" y="221626"/>
                  <a:pt x="3892512" y="228526"/>
                  <a:pt x="3902272" y="237444"/>
                </a:cubicBezTo>
                <a:cubicBezTo>
                  <a:pt x="3912032" y="246363"/>
                  <a:pt x="3919268" y="256880"/>
                  <a:pt x="3923980" y="268996"/>
                </a:cubicBezTo>
                <a:cubicBezTo>
                  <a:pt x="3928692" y="281112"/>
                  <a:pt x="3931048" y="294405"/>
                  <a:pt x="3931048" y="308877"/>
                </a:cubicBezTo>
                <a:cubicBezTo>
                  <a:pt x="3931048" y="327051"/>
                  <a:pt x="3926588" y="342700"/>
                  <a:pt x="3917668" y="355826"/>
                </a:cubicBezTo>
                <a:cubicBezTo>
                  <a:pt x="3908750" y="368951"/>
                  <a:pt x="3896214" y="378879"/>
                  <a:pt x="3880060" y="385610"/>
                </a:cubicBezTo>
                <a:cubicBezTo>
                  <a:pt x="3891840" y="391668"/>
                  <a:pt x="3901262" y="400419"/>
                  <a:pt x="3908330" y="411861"/>
                </a:cubicBezTo>
                <a:cubicBezTo>
                  <a:pt x="3915398" y="423304"/>
                  <a:pt x="3918932" y="435252"/>
                  <a:pt x="3918932" y="447704"/>
                </a:cubicBezTo>
                <a:cubicBezTo>
                  <a:pt x="3918932" y="460156"/>
                  <a:pt x="3916912" y="471767"/>
                  <a:pt x="3912874" y="482537"/>
                </a:cubicBezTo>
                <a:cubicBezTo>
                  <a:pt x="3908834" y="493306"/>
                  <a:pt x="3902608" y="502646"/>
                  <a:pt x="3894196" y="510555"/>
                </a:cubicBezTo>
                <a:cubicBezTo>
                  <a:pt x="3885780" y="518464"/>
                  <a:pt x="3875096" y="524606"/>
                  <a:pt x="3862138" y="528981"/>
                </a:cubicBezTo>
                <a:cubicBezTo>
                  <a:pt x="3849180" y="533356"/>
                  <a:pt x="3833952" y="535544"/>
                  <a:pt x="3816452" y="535544"/>
                </a:cubicBezTo>
                <a:close/>
                <a:moveTo>
                  <a:pt x="3567354" y="535544"/>
                </a:moveTo>
                <a:cubicBezTo>
                  <a:pt x="3549854" y="535544"/>
                  <a:pt x="3532268" y="532178"/>
                  <a:pt x="3514600" y="525447"/>
                </a:cubicBezTo>
                <a:cubicBezTo>
                  <a:pt x="3496930" y="518716"/>
                  <a:pt x="3481366" y="508283"/>
                  <a:pt x="3467904" y="494148"/>
                </a:cubicBezTo>
                <a:lnTo>
                  <a:pt x="3498698" y="450733"/>
                </a:lnTo>
                <a:cubicBezTo>
                  <a:pt x="3509130" y="461839"/>
                  <a:pt x="3519732" y="469748"/>
                  <a:pt x="3530502" y="474460"/>
                </a:cubicBezTo>
                <a:cubicBezTo>
                  <a:pt x="3541272" y="479171"/>
                  <a:pt x="3551536" y="481527"/>
                  <a:pt x="3561296" y="481527"/>
                </a:cubicBezTo>
                <a:cubicBezTo>
                  <a:pt x="3573076" y="481527"/>
                  <a:pt x="3582836" y="478078"/>
                  <a:pt x="3590576" y="471178"/>
                </a:cubicBezTo>
                <a:cubicBezTo>
                  <a:pt x="3598316" y="464279"/>
                  <a:pt x="3602186" y="454435"/>
                  <a:pt x="3602188" y="441646"/>
                </a:cubicBezTo>
                <a:cubicBezTo>
                  <a:pt x="3602186" y="432559"/>
                  <a:pt x="3599074" y="423641"/>
                  <a:pt x="3592848" y="414890"/>
                </a:cubicBezTo>
                <a:cubicBezTo>
                  <a:pt x="3586622" y="406140"/>
                  <a:pt x="3578712" y="397053"/>
                  <a:pt x="3569120" y="387630"/>
                </a:cubicBezTo>
                <a:cubicBezTo>
                  <a:pt x="3559528" y="378206"/>
                  <a:pt x="3549264" y="368362"/>
                  <a:pt x="3538326" y="358097"/>
                </a:cubicBezTo>
                <a:cubicBezTo>
                  <a:pt x="3527388" y="347833"/>
                  <a:pt x="3517124" y="336727"/>
                  <a:pt x="3507532" y="324779"/>
                </a:cubicBezTo>
                <a:cubicBezTo>
                  <a:pt x="3497940" y="312831"/>
                  <a:pt x="3490032" y="299790"/>
                  <a:pt x="3483806" y="285655"/>
                </a:cubicBezTo>
                <a:cubicBezTo>
                  <a:pt x="3477580" y="271520"/>
                  <a:pt x="3474466" y="256039"/>
                  <a:pt x="3474466" y="239211"/>
                </a:cubicBezTo>
                <a:cubicBezTo>
                  <a:pt x="3474466" y="237192"/>
                  <a:pt x="3474382" y="233658"/>
                  <a:pt x="3474214" y="228610"/>
                </a:cubicBezTo>
                <a:cubicBezTo>
                  <a:pt x="3474046" y="223562"/>
                  <a:pt x="3474466" y="219355"/>
                  <a:pt x="3475476" y="215989"/>
                </a:cubicBezTo>
                <a:lnTo>
                  <a:pt x="3679426" y="215989"/>
                </a:lnTo>
                <a:lnTo>
                  <a:pt x="3679426" y="267481"/>
                </a:lnTo>
                <a:lnTo>
                  <a:pt x="3545142" y="267481"/>
                </a:lnTo>
                <a:cubicBezTo>
                  <a:pt x="3545142" y="272530"/>
                  <a:pt x="3546908" y="278083"/>
                  <a:pt x="3550442" y="284141"/>
                </a:cubicBezTo>
                <a:cubicBezTo>
                  <a:pt x="3553976" y="290198"/>
                  <a:pt x="3558268" y="296172"/>
                  <a:pt x="3563316" y="302062"/>
                </a:cubicBezTo>
                <a:cubicBezTo>
                  <a:pt x="3568364" y="307952"/>
                  <a:pt x="3573748" y="313673"/>
                  <a:pt x="3579470" y="319226"/>
                </a:cubicBezTo>
                <a:cubicBezTo>
                  <a:pt x="3585190" y="324779"/>
                  <a:pt x="3590240" y="329575"/>
                  <a:pt x="3594614" y="333613"/>
                </a:cubicBezTo>
                <a:cubicBezTo>
                  <a:pt x="3603364" y="341691"/>
                  <a:pt x="3611946" y="350104"/>
                  <a:pt x="3620360" y="358855"/>
                </a:cubicBezTo>
                <a:cubicBezTo>
                  <a:pt x="3628774" y="367605"/>
                  <a:pt x="3636346" y="376692"/>
                  <a:pt x="3643078" y="386115"/>
                </a:cubicBezTo>
                <a:cubicBezTo>
                  <a:pt x="3649808" y="395539"/>
                  <a:pt x="3655194" y="405214"/>
                  <a:pt x="3659232" y="415143"/>
                </a:cubicBezTo>
                <a:cubicBezTo>
                  <a:pt x="3663270" y="425071"/>
                  <a:pt x="3665290" y="435420"/>
                  <a:pt x="3665290" y="446189"/>
                </a:cubicBezTo>
                <a:cubicBezTo>
                  <a:pt x="3665290" y="460998"/>
                  <a:pt x="3662598" y="474039"/>
                  <a:pt x="3657212" y="485313"/>
                </a:cubicBezTo>
                <a:cubicBezTo>
                  <a:pt x="3651828" y="496588"/>
                  <a:pt x="3644592" y="505927"/>
                  <a:pt x="3635506" y="513331"/>
                </a:cubicBezTo>
                <a:cubicBezTo>
                  <a:pt x="3626418" y="520735"/>
                  <a:pt x="3615986" y="526288"/>
                  <a:pt x="3604206" y="529990"/>
                </a:cubicBezTo>
                <a:cubicBezTo>
                  <a:pt x="3592426" y="533692"/>
                  <a:pt x="3580142" y="535544"/>
                  <a:pt x="3567354" y="535544"/>
                </a:cubicBezTo>
                <a:close/>
                <a:moveTo>
                  <a:pt x="3324752" y="535544"/>
                </a:moveTo>
                <a:cubicBezTo>
                  <a:pt x="3290088" y="535544"/>
                  <a:pt x="3263332" y="522081"/>
                  <a:pt x="3244486" y="495157"/>
                </a:cubicBezTo>
                <a:cubicBezTo>
                  <a:pt x="3225638" y="468233"/>
                  <a:pt x="3216214" y="427511"/>
                  <a:pt x="3216214" y="372990"/>
                </a:cubicBezTo>
                <a:cubicBezTo>
                  <a:pt x="3216214" y="317796"/>
                  <a:pt x="3225470" y="276737"/>
                  <a:pt x="3243980" y="249813"/>
                </a:cubicBezTo>
                <a:cubicBezTo>
                  <a:pt x="3262490" y="222889"/>
                  <a:pt x="3289414" y="209427"/>
                  <a:pt x="3324752" y="209427"/>
                </a:cubicBezTo>
                <a:cubicBezTo>
                  <a:pt x="3360090" y="209427"/>
                  <a:pt x="3387014" y="222889"/>
                  <a:pt x="3405524" y="249813"/>
                </a:cubicBezTo>
                <a:cubicBezTo>
                  <a:pt x="3424034" y="276737"/>
                  <a:pt x="3433290" y="317796"/>
                  <a:pt x="3433290" y="372990"/>
                </a:cubicBezTo>
                <a:cubicBezTo>
                  <a:pt x="3433290" y="427847"/>
                  <a:pt x="3424034" y="468654"/>
                  <a:pt x="3405524" y="495410"/>
                </a:cubicBezTo>
                <a:cubicBezTo>
                  <a:pt x="3387014" y="522166"/>
                  <a:pt x="3360090" y="535544"/>
                  <a:pt x="3324752" y="535544"/>
                </a:cubicBezTo>
                <a:close/>
                <a:moveTo>
                  <a:pt x="3062528" y="535544"/>
                </a:moveTo>
                <a:cubicBezTo>
                  <a:pt x="3045028" y="535544"/>
                  <a:pt x="3027444" y="532178"/>
                  <a:pt x="3009774" y="525447"/>
                </a:cubicBezTo>
                <a:cubicBezTo>
                  <a:pt x="2992106" y="518716"/>
                  <a:pt x="2976540" y="508283"/>
                  <a:pt x="2963078" y="494148"/>
                </a:cubicBezTo>
                <a:lnTo>
                  <a:pt x="2993872" y="450733"/>
                </a:lnTo>
                <a:cubicBezTo>
                  <a:pt x="3004306" y="461839"/>
                  <a:pt x="3014908" y="469748"/>
                  <a:pt x="3025676" y="474460"/>
                </a:cubicBezTo>
                <a:cubicBezTo>
                  <a:pt x="3036446" y="479171"/>
                  <a:pt x="3046712" y="481527"/>
                  <a:pt x="3056472" y="481527"/>
                </a:cubicBezTo>
                <a:cubicBezTo>
                  <a:pt x="3068250" y="481527"/>
                  <a:pt x="3078010" y="478078"/>
                  <a:pt x="3085752" y="471178"/>
                </a:cubicBezTo>
                <a:cubicBezTo>
                  <a:pt x="3093492" y="464279"/>
                  <a:pt x="3097362" y="454435"/>
                  <a:pt x="3097362" y="441646"/>
                </a:cubicBezTo>
                <a:cubicBezTo>
                  <a:pt x="3097362" y="432559"/>
                  <a:pt x="3094248" y="423641"/>
                  <a:pt x="3088022" y="414890"/>
                </a:cubicBezTo>
                <a:cubicBezTo>
                  <a:pt x="3081796" y="406140"/>
                  <a:pt x="3073888" y="397053"/>
                  <a:pt x="3064296" y="387630"/>
                </a:cubicBezTo>
                <a:cubicBezTo>
                  <a:pt x="3054704" y="378206"/>
                  <a:pt x="3044440" y="368362"/>
                  <a:pt x="3033502" y="358097"/>
                </a:cubicBezTo>
                <a:cubicBezTo>
                  <a:pt x="3022564" y="347833"/>
                  <a:pt x="3012298" y="336727"/>
                  <a:pt x="3002708" y="324779"/>
                </a:cubicBezTo>
                <a:cubicBezTo>
                  <a:pt x="2993116" y="312831"/>
                  <a:pt x="2985206" y="299790"/>
                  <a:pt x="2978980" y="285655"/>
                </a:cubicBezTo>
                <a:cubicBezTo>
                  <a:pt x="2972754" y="271520"/>
                  <a:pt x="2969642" y="256039"/>
                  <a:pt x="2969642" y="239211"/>
                </a:cubicBezTo>
                <a:cubicBezTo>
                  <a:pt x="2969642" y="237192"/>
                  <a:pt x="2969558" y="233658"/>
                  <a:pt x="2969388" y="228610"/>
                </a:cubicBezTo>
                <a:cubicBezTo>
                  <a:pt x="2969220" y="223562"/>
                  <a:pt x="2969640" y="219355"/>
                  <a:pt x="2970650" y="215989"/>
                </a:cubicBezTo>
                <a:lnTo>
                  <a:pt x="3174600" y="215989"/>
                </a:lnTo>
                <a:lnTo>
                  <a:pt x="3174600" y="267481"/>
                </a:lnTo>
                <a:lnTo>
                  <a:pt x="3040316" y="267481"/>
                </a:lnTo>
                <a:cubicBezTo>
                  <a:pt x="3040316" y="272530"/>
                  <a:pt x="3042084" y="278083"/>
                  <a:pt x="3045618" y="284141"/>
                </a:cubicBezTo>
                <a:cubicBezTo>
                  <a:pt x="3049152" y="290198"/>
                  <a:pt x="3053442" y="296172"/>
                  <a:pt x="3058490" y="302062"/>
                </a:cubicBezTo>
                <a:cubicBezTo>
                  <a:pt x="3063538" y="307952"/>
                  <a:pt x="3068924" y="313673"/>
                  <a:pt x="3074644" y="319226"/>
                </a:cubicBezTo>
                <a:cubicBezTo>
                  <a:pt x="3080366" y="324779"/>
                  <a:pt x="3085414" y="329575"/>
                  <a:pt x="3089790" y="333613"/>
                </a:cubicBezTo>
                <a:cubicBezTo>
                  <a:pt x="3098540" y="341691"/>
                  <a:pt x="3107122" y="350104"/>
                  <a:pt x="3115536" y="358855"/>
                </a:cubicBezTo>
                <a:cubicBezTo>
                  <a:pt x="3123950" y="367605"/>
                  <a:pt x="3131522" y="376692"/>
                  <a:pt x="3138252" y="386115"/>
                </a:cubicBezTo>
                <a:cubicBezTo>
                  <a:pt x="3144984" y="395539"/>
                  <a:pt x="3150368" y="405214"/>
                  <a:pt x="3154408" y="415143"/>
                </a:cubicBezTo>
                <a:cubicBezTo>
                  <a:pt x="3158446" y="425071"/>
                  <a:pt x="3160464" y="435420"/>
                  <a:pt x="3160464" y="446189"/>
                </a:cubicBezTo>
                <a:cubicBezTo>
                  <a:pt x="3160464" y="460998"/>
                  <a:pt x="3157772" y="474039"/>
                  <a:pt x="3152388" y="485313"/>
                </a:cubicBezTo>
                <a:cubicBezTo>
                  <a:pt x="3147002" y="496588"/>
                  <a:pt x="3139766" y="505927"/>
                  <a:pt x="3130680" y="513331"/>
                </a:cubicBezTo>
                <a:cubicBezTo>
                  <a:pt x="3121594" y="520735"/>
                  <a:pt x="3111160" y="526288"/>
                  <a:pt x="3099382" y="529990"/>
                </a:cubicBezTo>
                <a:cubicBezTo>
                  <a:pt x="3087602" y="533692"/>
                  <a:pt x="3075318" y="535544"/>
                  <a:pt x="3062528" y="535544"/>
                </a:cubicBezTo>
                <a:close/>
                <a:moveTo>
                  <a:pt x="2292890" y="561290"/>
                </a:moveTo>
                <a:cubicBezTo>
                  <a:pt x="2282120" y="561290"/>
                  <a:pt x="2272949" y="557756"/>
                  <a:pt x="2265377" y="550688"/>
                </a:cubicBezTo>
                <a:cubicBezTo>
                  <a:pt x="2257805" y="543621"/>
                  <a:pt x="2254018" y="533861"/>
                  <a:pt x="2254018" y="521408"/>
                </a:cubicBezTo>
                <a:cubicBezTo>
                  <a:pt x="2254018" y="509293"/>
                  <a:pt x="2257805" y="499701"/>
                  <a:pt x="2265377" y="492633"/>
                </a:cubicBezTo>
                <a:cubicBezTo>
                  <a:pt x="2272949" y="485566"/>
                  <a:pt x="2282120" y="482032"/>
                  <a:pt x="2292890" y="482032"/>
                </a:cubicBezTo>
                <a:cubicBezTo>
                  <a:pt x="2303660" y="482032"/>
                  <a:pt x="2312914" y="485566"/>
                  <a:pt x="2320655" y="492633"/>
                </a:cubicBezTo>
                <a:cubicBezTo>
                  <a:pt x="2328396" y="499701"/>
                  <a:pt x="2332266" y="509293"/>
                  <a:pt x="2332266" y="521408"/>
                </a:cubicBezTo>
                <a:cubicBezTo>
                  <a:pt x="2332266" y="533861"/>
                  <a:pt x="2328396" y="543621"/>
                  <a:pt x="2320655" y="550688"/>
                </a:cubicBezTo>
                <a:cubicBezTo>
                  <a:pt x="2312914" y="557756"/>
                  <a:pt x="2303660" y="561290"/>
                  <a:pt x="2292890" y="561290"/>
                </a:cubicBezTo>
                <a:close/>
                <a:moveTo>
                  <a:pt x="1959420" y="563309"/>
                </a:moveTo>
                <a:lnTo>
                  <a:pt x="1959420" y="511817"/>
                </a:lnTo>
                <a:lnTo>
                  <a:pt x="2025047" y="511817"/>
                </a:lnTo>
                <a:lnTo>
                  <a:pt x="2025047" y="310392"/>
                </a:lnTo>
                <a:cubicBezTo>
                  <a:pt x="2025047" y="277746"/>
                  <a:pt x="2031610" y="252926"/>
                  <a:pt x="2044735" y="235930"/>
                </a:cubicBezTo>
                <a:cubicBezTo>
                  <a:pt x="2057860" y="218934"/>
                  <a:pt x="2078727" y="210436"/>
                  <a:pt x="2107333" y="210436"/>
                </a:cubicBezTo>
                <a:cubicBezTo>
                  <a:pt x="2117767" y="210436"/>
                  <a:pt x="2127106" y="211109"/>
                  <a:pt x="2135351" y="212455"/>
                </a:cubicBezTo>
                <a:cubicBezTo>
                  <a:pt x="2143597" y="213802"/>
                  <a:pt x="2150580" y="215400"/>
                  <a:pt x="2156302" y="217251"/>
                </a:cubicBezTo>
                <a:cubicBezTo>
                  <a:pt x="2162023" y="219102"/>
                  <a:pt x="2166650" y="220869"/>
                  <a:pt x="2170184" y="222552"/>
                </a:cubicBezTo>
                <a:cubicBezTo>
                  <a:pt x="2173718" y="224235"/>
                  <a:pt x="2175990" y="225413"/>
                  <a:pt x="2176999" y="226086"/>
                </a:cubicBezTo>
                <a:lnTo>
                  <a:pt x="2168922" y="276063"/>
                </a:lnTo>
                <a:cubicBezTo>
                  <a:pt x="2166230" y="275054"/>
                  <a:pt x="2160677" y="272866"/>
                  <a:pt x="2152263" y="269501"/>
                </a:cubicBezTo>
                <a:cubicBezTo>
                  <a:pt x="2143849" y="266135"/>
                  <a:pt x="2133416" y="264452"/>
                  <a:pt x="2120964" y="264452"/>
                </a:cubicBezTo>
                <a:cubicBezTo>
                  <a:pt x="2111204" y="264452"/>
                  <a:pt x="2103126" y="267313"/>
                  <a:pt x="2096732" y="273034"/>
                </a:cubicBezTo>
                <a:cubicBezTo>
                  <a:pt x="2090338" y="278756"/>
                  <a:pt x="2087140" y="289694"/>
                  <a:pt x="2087140" y="305848"/>
                </a:cubicBezTo>
                <a:lnTo>
                  <a:pt x="2087140" y="563309"/>
                </a:lnTo>
                <a:close/>
                <a:moveTo>
                  <a:pt x="1607052" y="565833"/>
                </a:moveTo>
                <a:cubicBezTo>
                  <a:pt x="1594263" y="565833"/>
                  <a:pt x="1581811" y="564234"/>
                  <a:pt x="1569695" y="561037"/>
                </a:cubicBezTo>
                <a:cubicBezTo>
                  <a:pt x="1557579" y="557840"/>
                  <a:pt x="1546810" y="552455"/>
                  <a:pt x="1537386" y="544883"/>
                </a:cubicBezTo>
                <a:cubicBezTo>
                  <a:pt x="1527963" y="537310"/>
                  <a:pt x="1520474" y="527214"/>
                  <a:pt x="1514921" y="514593"/>
                </a:cubicBezTo>
                <a:cubicBezTo>
                  <a:pt x="1509368" y="501973"/>
                  <a:pt x="1506592" y="486071"/>
                  <a:pt x="1506592" y="466887"/>
                </a:cubicBezTo>
                <a:lnTo>
                  <a:pt x="1506592" y="453257"/>
                </a:lnTo>
                <a:lnTo>
                  <a:pt x="1454595" y="453257"/>
                </a:lnTo>
                <a:lnTo>
                  <a:pt x="1454595" y="401765"/>
                </a:lnTo>
                <a:lnTo>
                  <a:pt x="1506592" y="401765"/>
                </a:lnTo>
                <a:lnTo>
                  <a:pt x="1506592" y="215989"/>
                </a:lnTo>
                <a:lnTo>
                  <a:pt x="1569190" y="215989"/>
                </a:lnTo>
                <a:lnTo>
                  <a:pt x="1569190" y="401765"/>
                </a:lnTo>
                <a:lnTo>
                  <a:pt x="1666621" y="401765"/>
                </a:lnTo>
                <a:lnTo>
                  <a:pt x="1666621" y="453257"/>
                </a:lnTo>
                <a:lnTo>
                  <a:pt x="1569190" y="453257"/>
                </a:lnTo>
                <a:lnTo>
                  <a:pt x="1569190" y="465878"/>
                </a:lnTo>
                <a:cubicBezTo>
                  <a:pt x="1569190" y="475974"/>
                  <a:pt x="1570368" y="484135"/>
                  <a:pt x="1572724" y="490362"/>
                </a:cubicBezTo>
                <a:cubicBezTo>
                  <a:pt x="1575080" y="496588"/>
                  <a:pt x="1578193" y="501384"/>
                  <a:pt x="1582063" y="504749"/>
                </a:cubicBezTo>
                <a:cubicBezTo>
                  <a:pt x="1585933" y="508115"/>
                  <a:pt x="1590477" y="510302"/>
                  <a:pt x="1595693" y="511312"/>
                </a:cubicBezTo>
                <a:cubicBezTo>
                  <a:pt x="1600910" y="512322"/>
                  <a:pt x="1606379" y="512826"/>
                  <a:pt x="1612100" y="512826"/>
                </a:cubicBezTo>
                <a:cubicBezTo>
                  <a:pt x="1622533" y="512826"/>
                  <a:pt x="1633555" y="511396"/>
                  <a:pt x="1645166" y="508535"/>
                </a:cubicBezTo>
                <a:cubicBezTo>
                  <a:pt x="1656777" y="505675"/>
                  <a:pt x="1666453" y="502898"/>
                  <a:pt x="1674194" y="500206"/>
                </a:cubicBezTo>
                <a:lnTo>
                  <a:pt x="1684795" y="550688"/>
                </a:lnTo>
                <a:cubicBezTo>
                  <a:pt x="1673689" y="556073"/>
                  <a:pt x="1661236" y="559943"/>
                  <a:pt x="1647438" y="562299"/>
                </a:cubicBezTo>
                <a:cubicBezTo>
                  <a:pt x="1633639" y="564655"/>
                  <a:pt x="1620178" y="565833"/>
                  <a:pt x="1607052" y="565833"/>
                </a:cubicBezTo>
                <a:close/>
                <a:moveTo>
                  <a:pt x="0" y="796029"/>
                </a:moveTo>
                <a:lnTo>
                  <a:pt x="4876802" y="796029"/>
                </a:lnTo>
                <a:lnTo>
                  <a:pt x="4824822" y="344498"/>
                </a:lnTo>
                <a:cubicBezTo>
                  <a:pt x="4801968" y="145891"/>
                  <a:pt x="4682292" y="207"/>
                  <a:pt x="4541980" y="155"/>
                </a:cubicBezTo>
                <a:lnTo>
                  <a:pt x="0" y="0"/>
                </a:lnTo>
                <a:close/>
              </a:path>
            </a:pathLst>
          </a:custGeom>
          <a:solidFill>
            <a:srgbClr val="7030A0"/>
          </a:solidFill>
          <a:ln w="2834" cap="flat">
            <a:noFill/>
            <a:prstDash val="solid"/>
            <a:miter/>
          </a:ln>
        </p:spPr>
        <p:txBody>
          <a:bodyPr wrap="square" rtlCol="0" anchor="ctr">
            <a:noAutofit/>
          </a:bodyPr>
          <a:lstStyle/>
          <a:p>
            <a:endParaRPr lang="en-US" dirty="0"/>
          </a:p>
        </p:txBody>
      </p:sp>
    </p:spTree>
    <p:extLst>
      <p:ext uri="{BB962C8B-B14F-4D97-AF65-F5344CB8AC3E}">
        <p14:creationId xmlns:p14="http://schemas.microsoft.com/office/powerpoint/2010/main" val="259857768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3_Title and Content">
    <p:spTree>
      <p:nvGrpSpPr>
        <p:cNvPr id="1" name=""/>
        <p:cNvGrpSpPr/>
        <p:nvPr/>
      </p:nvGrpSpPr>
      <p:grpSpPr>
        <a:xfrm>
          <a:off x="0" y="0"/>
          <a:ext cx="0" cy="0"/>
          <a:chOff x="0" y="0"/>
          <a:chExt cx="0" cy="0"/>
        </a:xfrm>
      </p:grpSpPr>
      <p:sp>
        <p:nvSpPr>
          <p:cNvPr id="6" name="object 4">
            <a:extLst>
              <a:ext uri="{FF2B5EF4-FFF2-40B4-BE49-F238E27FC236}">
                <a16:creationId xmlns:a16="http://schemas.microsoft.com/office/drawing/2014/main" id="{ED016D23-5721-500E-F5FD-4532489937C3}"/>
              </a:ext>
            </a:extLst>
          </p:cNvPr>
          <p:cNvSpPr/>
          <p:nvPr userDrawn="1"/>
        </p:nvSpPr>
        <p:spPr>
          <a:xfrm>
            <a:off x="2974038" y="0"/>
            <a:ext cx="1750695" cy="467995"/>
          </a:xfrm>
          <a:custGeom>
            <a:avLst/>
            <a:gdLst/>
            <a:ahLst/>
            <a:cxnLst/>
            <a:rect l="l" t="t" r="r" b="b"/>
            <a:pathLst>
              <a:path w="1750695" h="467995">
                <a:moveTo>
                  <a:pt x="1750463" y="0"/>
                </a:moveTo>
                <a:lnTo>
                  <a:pt x="0" y="0"/>
                </a:lnTo>
                <a:lnTo>
                  <a:pt x="752433" y="438676"/>
                </a:lnTo>
                <a:lnTo>
                  <a:pt x="797088" y="457866"/>
                </a:lnTo>
                <a:lnTo>
                  <a:pt x="844132" y="467461"/>
                </a:lnTo>
                <a:lnTo>
                  <a:pt x="891973" y="467461"/>
                </a:lnTo>
                <a:lnTo>
                  <a:pt x="939018" y="457866"/>
                </a:lnTo>
                <a:lnTo>
                  <a:pt x="983672" y="438676"/>
                </a:lnTo>
                <a:lnTo>
                  <a:pt x="1750463" y="0"/>
                </a:lnTo>
                <a:close/>
              </a:path>
            </a:pathLst>
          </a:custGeom>
          <a:solidFill>
            <a:srgbClr val="FFFFFF"/>
          </a:solidFill>
        </p:spPr>
        <p:txBody>
          <a:bodyPr wrap="square" lIns="0" tIns="0" rIns="0" bIns="0" rtlCol="0"/>
          <a:lstStyle/>
          <a:p>
            <a:endParaRPr/>
          </a:p>
        </p:txBody>
      </p:sp>
      <p:sp>
        <p:nvSpPr>
          <p:cNvPr id="9" name="object 7">
            <a:extLst>
              <a:ext uri="{FF2B5EF4-FFF2-40B4-BE49-F238E27FC236}">
                <a16:creationId xmlns:a16="http://schemas.microsoft.com/office/drawing/2014/main" id="{7B442BB3-EFD2-D68C-F66D-411FCE471DC2}"/>
              </a:ext>
            </a:extLst>
          </p:cNvPr>
          <p:cNvSpPr/>
          <p:nvPr/>
        </p:nvSpPr>
        <p:spPr>
          <a:xfrm>
            <a:off x="0" y="0"/>
            <a:ext cx="3819525" cy="3227705"/>
          </a:xfrm>
          <a:custGeom>
            <a:avLst/>
            <a:gdLst/>
            <a:ahLst/>
            <a:cxnLst/>
            <a:rect l="l" t="t" r="r" b="b"/>
            <a:pathLst>
              <a:path w="3819525" h="3227705">
                <a:moveTo>
                  <a:pt x="1789430" y="0"/>
                </a:moveTo>
                <a:lnTo>
                  <a:pt x="0" y="0"/>
                </a:lnTo>
                <a:lnTo>
                  <a:pt x="0" y="3098000"/>
                </a:lnTo>
                <a:lnTo>
                  <a:pt x="97427" y="3154801"/>
                </a:lnTo>
                <a:lnTo>
                  <a:pt x="141387" y="3176910"/>
                </a:lnTo>
                <a:lnTo>
                  <a:pt x="186738" y="3195000"/>
                </a:lnTo>
                <a:lnTo>
                  <a:pt x="233202" y="3209070"/>
                </a:lnTo>
                <a:lnTo>
                  <a:pt x="280502" y="3219120"/>
                </a:lnTo>
                <a:lnTo>
                  <a:pt x="328357" y="3225150"/>
                </a:lnTo>
                <a:lnTo>
                  <a:pt x="376491" y="3227160"/>
                </a:lnTo>
                <a:lnTo>
                  <a:pt x="424626" y="3225150"/>
                </a:lnTo>
                <a:lnTo>
                  <a:pt x="472481" y="3219120"/>
                </a:lnTo>
                <a:lnTo>
                  <a:pt x="519781" y="3209070"/>
                </a:lnTo>
                <a:lnTo>
                  <a:pt x="566245" y="3195000"/>
                </a:lnTo>
                <a:lnTo>
                  <a:pt x="611596" y="3176910"/>
                </a:lnTo>
                <a:lnTo>
                  <a:pt x="655556" y="3154801"/>
                </a:lnTo>
                <a:lnTo>
                  <a:pt x="3727107" y="1397577"/>
                </a:lnTo>
                <a:lnTo>
                  <a:pt x="3763856" y="1370914"/>
                </a:lnTo>
                <a:lnTo>
                  <a:pt x="3791417" y="1338263"/>
                </a:lnTo>
                <a:lnTo>
                  <a:pt x="3809792" y="1301335"/>
                </a:lnTo>
                <a:lnTo>
                  <a:pt x="3818979" y="1261841"/>
                </a:lnTo>
                <a:lnTo>
                  <a:pt x="3818979" y="1221492"/>
                </a:lnTo>
                <a:lnTo>
                  <a:pt x="3809792" y="1181999"/>
                </a:lnTo>
                <a:lnTo>
                  <a:pt x="3791417" y="1145073"/>
                </a:lnTo>
                <a:lnTo>
                  <a:pt x="3763856" y="1112424"/>
                </a:lnTo>
                <a:lnTo>
                  <a:pt x="3727107" y="1085764"/>
                </a:lnTo>
                <a:lnTo>
                  <a:pt x="1789430" y="0"/>
                </a:lnTo>
                <a:close/>
              </a:path>
            </a:pathLst>
          </a:custGeom>
          <a:solidFill>
            <a:srgbClr val="FFFFFF"/>
          </a:solidFill>
        </p:spPr>
        <p:txBody>
          <a:bodyPr wrap="square" lIns="0" tIns="0" rIns="0" bIns="0" rtlCol="0"/>
          <a:lstStyle/>
          <a:p>
            <a:endParaRPr/>
          </a:p>
        </p:txBody>
      </p:sp>
      <p:sp>
        <p:nvSpPr>
          <p:cNvPr id="14" name="object 14">
            <a:extLst>
              <a:ext uri="{FF2B5EF4-FFF2-40B4-BE49-F238E27FC236}">
                <a16:creationId xmlns:a16="http://schemas.microsoft.com/office/drawing/2014/main" id="{BCD1E6CE-2BD0-F1C2-1BE9-AEA812073E1C}"/>
              </a:ext>
            </a:extLst>
          </p:cNvPr>
          <p:cNvSpPr txBox="1"/>
          <p:nvPr userDrawn="1"/>
        </p:nvSpPr>
        <p:spPr>
          <a:xfrm>
            <a:off x="772681" y="728582"/>
            <a:ext cx="5164569" cy="367408"/>
          </a:xfrm>
          <a:prstGeom prst="rect">
            <a:avLst/>
          </a:prstGeom>
        </p:spPr>
        <p:txBody>
          <a:bodyPr vert="horz" wrap="square" lIns="0" tIns="13335" rIns="0" bIns="0" rtlCol="0">
            <a:spAutoFit/>
          </a:bodyPr>
          <a:lstStyle/>
          <a:p>
            <a:pPr marL="12700">
              <a:lnSpc>
                <a:spcPct val="100000"/>
              </a:lnSpc>
              <a:spcBef>
                <a:spcPts val="105"/>
              </a:spcBef>
            </a:pPr>
            <a:r>
              <a:rPr sz="2300" b="0" dirty="0">
                <a:solidFill>
                  <a:srgbClr val="2B0A3D"/>
                </a:solidFill>
                <a:latin typeface="Ubuntu Light"/>
                <a:cs typeface="Ubuntu Light"/>
              </a:rPr>
              <a:t>Sogeti </a:t>
            </a:r>
            <a:r>
              <a:rPr lang="es-ES" sz="2300" b="0" dirty="0">
                <a:solidFill>
                  <a:srgbClr val="2B0A3D"/>
                </a:solidFill>
                <a:latin typeface="Ubuntu Light"/>
                <a:cs typeface="Ubuntu Light"/>
              </a:rPr>
              <a:t>Spain · Solution passports</a:t>
            </a:r>
            <a:endParaRPr sz="2300" dirty="0">
              <a:latin typeface="Ubuntu Light"/>
              <a:cs typeface="Ubuntu Light"/>
            </a:endParaRPr>
          </a:p>
        </p:txBody>
      </p:sp>
      <p:sp>
        <p:nvSpPr>
          <p:cNvPr id="2" name="Título 1">
            <a:extLst>
              <a:ext uri="{FF2B5EF4-FFF2-40B4-BE49-F238E27FC236}">
                <a16:creationId xmlns:a16="http://schemas.microsoft.com/office/drawing/2014/main" id="{518F16F0-9ED1-0B32-5D24-A6B73E97A157}"/>
              </a:ext>
            </a:extLst>
          </p:cNvPr>
          <p:cNvSpPr>
            <a:spLocks noGrp="1"/>
          </p:cNvSpPr>
          <p:nvPr>
            <p:ph type="title" hasCustomPrompt="1"/>
          </p:nvPr>
        </p:nvSpPr>
        <p:spPr>
          <a:xfrm>
            <a:off x="753974" y="1393005"/>
            <a:ext cx="5564276" cy="646331"/>
          </a:xfrm>
        </p:spPr>
        <p:txBody>
          <a:bodyPr/>
          <a:lstStyle>
            <a:lvl1pPr>
              <a:defRPr sz="4200" b="1" i="0">
                <a:solidFill>
                  <a:srgbClr val="0070AD"/>
                </a:solidFill>
                <a:latin typeface="Ubuntu" panose="020B0504030602030204" pitchFamily="34" charset="0"/>
              </a:defRPr>
            </a:lvl1pPr>
          </a:lstStyle>
          <a:p>
            <a:r>
              <a:rPr lang="es-ES" dirty="0" err="1"/>
              <a:t>Quality</a:t>
            </a:r>
            <a:r>
              <a:rPr lang="es-ES" dirty="0"/>
              <a:t> </a:t>
            </a:r>
            <a:r>
              <a:rPr lang="es-ES" dirty="0" err="1"/>
              <a:t>Blueprint</a:t>
            </a:r>
            <a:endParaRPr lang="es-ES" dirty="0"/>
          </a:p>
        </p:txBody>
      </p:sp>
    </p:spTree>
    <p:extLst>
      <p:ext uri="{BB962C8B-B14F-4D97-AF65-F5344CB8AC3E}">
        <p14:creationId xmlns:p14="http://schemas.microsoft.com/office/powerpoint/2010/main" val="19638919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5EAB4EC7-7929-BC2F-7729-EAA2B637E938}"/>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1625600"/>
            <a:ext cx="20104100" cy="8458200"/>
          </a:xfrm>
          <a:prstGeom prst="rect">
            <a:avLst/>
          </a:prstGeom>
        </p:spPr>
      </p:pic>
      <p:sp>
        <p:nvSpPr>
          <p:cNvPr id="4" name="Holder 4"/>
          <p:cNvSpPr>
            <a:spLocks noGrp="1"/>
          </p:cNvSpPr>
          <p:nvPr>
            <p:ph type="ftr" sz="quarter" idx="5"/>
          </p:nvPr>
        </p:nvSpPr>
        <p:spPr>
          <a:xfrm>
            <a:off x="16647741" y="10759212"/>
            <a:ext cx="2962677" cy="200055"/>
          </a:xfrm>
          <a:prstGeom prst="rect">
            <a:avLst/>
          </a:prstGeom>
        </p:spPr>
        <p:txBody>
          <a:bodyPr lIns="0" tIns="0" rIns="0" bIns="0"/>
          <a:lstStyle>
            <a:lvl1pPr>
              <a:defRPr sz="1300" b="0" i="0">
                <a:solidFill>
                  <a:srgbClr val="808080"/>
                </a:solidFill>
                <a:latin typeface="Ubuntu Light"/>
                <a:cs typeface="Ubuntu Light"/>
              </a:defRPr>
            </a:lvl1pPr>
          </a:lstStyle>
          <a:p>
            <a:pPr marL="26034">
              <a:lnSpc>
                <a:spcPct val="100000"/>
              </a:lnSpc>
              <a:spcBef>
                <a:spcPts val="30"/>
              </a:spcBef>
            </a:pPr>
            <a:r>
              <a:rPr dirty="0">
                <a:solidFill>
                  <a:srgbClr val="666666"/>
                </a:solidFill>
              </a:rPr>
              <a:t>Public</a:t>
            </a:r>
            <a:r>
              <a:rPr spc="-40" dirty="0">
                <a:solidFill>
                  <a:srgbClr val="666666"/>
                </a:solidFill>
              </a:rPr>
              <a:t> </a:t>
            </a:r>
            <a:r>
              <a:rPr dirty="0">
                <a:solidFill>
                  <a:srgbClr val="666666"/>
                </a:solidFill>
              </a:rPr>
              <a:t>©</a:t>
            </a:r>
            <a:r>
              <a:rPr spc="-40" dirty="0">
                <a:solidFill>
                  <a:srgbClr val="666666"/>
                </a:solidFill>
              </a:rPr>
              <a:t> </a:t>
            </a:r>
            <a:r>
              <a:rPr dirty="0">
                <a:solidFill>
                  <a:srgbClr val="666666"/>
                </a:solidFill>
              </a:rPr>
              <a:t>202</a:t>
            </a:r>
            <a:r>
              <a:rPr lang="es-ES" dirty="0">
                <a:solidFill>
                  <a:srgbClr val="666666"/>
                </a:solidFill>
              </a:rPr>
              <a:t>3</a:t>
            </a:r>
            <a:r>
              <a:rPr spc="-40" dirty="0">
                <a:solidFill>
                  <a:srgbClr val="666666"/>
                </a:solidFill>
              </a:rPr>
              <a:t> </a:t>
            </a:r>
            <a:r>
              <a:rPr spc="-10" dirty="0">
                <a:solidFill>
                  <a:srgbClr val="666666"/>
                </a:solidFill>
              </a:rPr>
              <a:t>Sogeti.</a:t>
            </a:r>
            <a:r>
              <a:rPr spc="-35" dirty="0">
                <a:solidFill>
                  <a:srgbClr val="666666"/>
                </a:solidFill>
              </a:rPr>
              <a:t> </a:t>
            </a:r>
            <a:r>
              <a:rPr dirty="0">
                <a:solidFill>
                  <a:srgbClr val="666666"/>
                </a:solidFill>
              </a:rPr>
              <a:t>All</a:t>
            </a:r>
            <a:r>
              <a:rPr spc="-40" dirty="0">
                <a:solidFill>
                  <a:srgbClr val="666666"/>
                </a:solidFill>
              </a:rPr>
              <a:t> </a:t>
            </a:r>
            <a:r>
              <a:rPr dirty="0">
                <a:solidFill>
                  <a:srgbClr val="666666"/>
                </a:solidFill>
              </a:rPr>
              <a:t>rights</a:t>
            </a:r>
            <a:r>
              <a:rPr spc="-40" dirty="0">
                <a:solidFill>
                  <a:srgbClr val="666666"/>
                </a:solidFill>
              </a:rPr>
              <a:t> </a:t>
            </a:r>
            <a:r>
              <a:rPr spc="-10" dirty="0">
                <a:solidFill>
                  <a:srgbClr val="666666"/>
                </a:solidFill>
              </a:rPr>
              <a:t>reserved</a:t>
            </a:r>
          </a:p>
        </p:txBody>
      </p:sp>
    </p:spTree>
    <p:extLst>
      <p:ext uri="{BB962C8B-B14F-4D97-AF65-F5344CB8AC3E}">
        <p14:creationId xmlns:p14="http://schemas.microsoft.com/office/powerpoint/2010/main" val="7437515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3_Title and Content">
    <p:spTree>
      <p:nvGrpSpPr>
        <p:cNvPr id="1" name=""/>
        <p:cNvGrpSpPr/>
        <p:nvPr/>
      </p:nvGrpSpPr>
      <p:grpSpPr>
        <a:xfrm>
          <a:off x="0" y="0"/>
          <a:ext cx="0" cy="0"/>
          <a:chOff x="0" y="0"/>
          <a:chExt cx="0" cy="0"/>
        </a:xfrm>
      </p:grpSpPr>
      <p:sp>
        <p:nvSpPr>
          <p:cNvPr id="6" name="object 4">
            <a:extLst>
              <a:ext uri="{FF2B5EF4-FFF2-40B4-BE49-F238E27FC236}">
                <a16:creationId xmlns:a16="http://schemas.microsoft.com/office/drawing/2014/main" id="{ED016D23-5721-500E-F5FD-4532489937C3}"/>
              </a:ext>
            </a:extLst>
          </p:cNvPr>
          <p:cNvSpPr/>
          <p:nvPr userDrawn="1"/>
        </p:nvSpPr>
        <p:spPr>
          <a:xfrm>
            <a:off x="2974038" y="0"/>
            <a:ext cx="1750695" cy="467995"/>
          </a:xfrm>
          <a:custGeom>
            <a:avLst/>
            <a:gdLst/>
            <a:ahLst/>
            <a:cxnLst/>
            <a:rect l="l" t="t" r="r" b="b"/>
            <a:pathLst>
              <a:path w="1750695" h="467995">
                <a:moveTo>
                  <a:pt x="1750463" y="0"/>
                </a:moveTo>
                <a:lnTo>
                  <a:pt x="0" y="0"/>
                </a:lnTo>
                <a:lnTo>
                  <a:pt x="752433" y="438676"/>
                </a:lnTo>
                <a:lnTo>
                  <a:pt x="797088" y="457866"/>
                </a:lnTo>
                <a:lnTo>
                  <a:pt x="844132" y="467461"/>
                </a:lnTo>
                <a:lnTo>
                  <a:pt x="891973" y="467461"/>
                </a:lnTo>
                <a:lnTo>
                  <a:pt x="939018" y="457866"/>
                </a:lnTo>
                <a:lnTo>
                  <a:pt x="983672" y="438676"/>
                </a:lnTo>
                <a:lnTo>
                  <a:pt x="1750463" y="0"/>
                </a:lnTo>
                <a:close/>
              </a:path>
            </a:pathLst>
          </a:custGeom>
          <a:solidFill>
            <a:srgbClr val="FFFFFF"/>
          </a:solidFill>
        </p:spPr>
        <p:txBody>
          <a:bodyPr wrap="square" lIns="0" tIns="0" rIns="0" bIns="0" rtlCol="0"/>
          <a:lstStyle/>
          <a:p>
            <a:endParaRPr/>
          </a:p>
        </p:txBody>
      </p:sp>
      <p:sp>
        <p:nvSpPr>
          <p:cNvPr id="9" name="object 7">
            <a:extLst>
              <a:ext uri="{FF2B5EF4-FFF2-40B4-BE49-F238E27FC236}">
                <a16:creationId xmlns:a16="http://schemas.microsoft.com/office/drawing/2014/main" id="{7B442BB3-EFD2-D68C-F66D-411FCE471DC2}"/>
              </a:ext>
            </a:extLst>
          </p:cNvPr>
          <p:cNvSpPr/>
          <p:nvPr/>
        </p:nvSpPr>
        <p:spPr>
          <a:xfrm>
            <a:off x="0" y="0"/>
            <a:ext cx="3819525" cy="3227705"/>
          </a:xfrm>
          <a:custGeom>
            <a:avLst/>
            <a:gdLst/>
            <a:ahLst/>
            <a:cxnLst/>
            <a:rect l="l" t="t" r="r" b="b"/>
            <a:pathLst>
              <a:path w="3819525" h="3227705">
                <a:moveTo>
                  <a:pt x="1789430" y="0"/>
                </a:moveTo>
                <a:lnTo>
                  <a:pt x="0" y="0"/>
                </a:lnTo>
                <a:lnTo>
                  <a:pt x="0" y="3098000"/>
                </a:lnTo>
                <a:lnTo>
                  <a:pt x="97427" y="3154801"/>
                </a:lnTo>
                <a:lnTo>
                  <a:pt x="141387" y="3176910"/>
                </a:lnTo>
                <a:lnTo>
                  <a:pt x="186738" y="3195000"/>
                </a:lnTo>
                <a:lnTo>
                  <a:pt x="233202" y="3209070"/>
                </a:lnTo>
                <a:lnTo>
                  <a:pt x="280502" y="3219120"/>
                </a:lnTo>
                <a:lnTo>
                  <a:pt x="328357" y="3225150"/>
                </a:lnTo>
                <a:lnTo>
                  <a:pt x="376491" y="3227160"/>
                </a:lnTo>
                <a:lnTo>
                  <a:pt x="424626" y="3225150"/>
                </a:lnTo>
                <a:lnTo>
                  <a:pt x="472481" y="3219120"/>
                </a:lnTo>
                <a:lnTo>
                  <a:pt x="519781" y="3209070"/>
                </a:lnTo>
                <a:lnTo>
                  <a:pt x="566245" y="3195000"/>
                </a:lnTo>
                <a:lnTo>
                  <a:pt x="611596" y="3176910"/>
                </a:lnTo>
                <a:lnTo>
                  <a:pt x="655556" y="3154801"/>
                </a:lnTo>
                <a:lnTo>
                  <a:pt x="3727107" y="1397577"/>
                </a:lnTo>
                <a:lnTo>
                  <a:pt x="3763856" y="1370914"/>
                </a:lnTo>
                <a:lnTo>
                  <a:pt x="3791417" y="1338263"/>
                </a:lnTo>
                <a:lnTo>
                  <a:pt x="3809792" y="1301335"/>
                </a:lnTo>
                <a:lnTo>
                  <a:pt x="3818979" y="1261841"/>
                </a:lnTo>
                <a:lnTo>
                  <a:pt x="3818979" y="1221492"/>
                </a:lnTo>
                <a:lnTo>
                  <a:pt x="3809792" y="1181999"/>
                </a:lnTo>
                <a:lnTo>
                  <a:pt x="3791417" y="1145073"/>
                </a:lnTo>
                <a:lnTo>
                  <a:pt x="3763856" y="1112424"/>
                </a:lnTo>
                <a:lnTo>
                  <a:pt x="3727107" y="1085764"/>
                </a:lnTo>
                <a:lnTo>
                  <a:pt x="1789430" y="0"/>
                </a:lnTo>
                <a:close/>
              </a:path>
            </a:pathLst>
          </a:custGeom>
          <a:solidFill>
            <a:srgbClr val="FFFFFF"/>
          </a:solidFill>
        </p:spPr>
        <p:txBody>
          <a:bodyPr wrap="square" lIns="0" tIns="0" rIns="0" bIns="0" rtlCol="0"/>
          <a:lstStyle/>
          <a:p>
            <a:endParaRPr/>
          </a:p>
        </p:txBody>
      </p:sp>
      <p:sp>
        <p:nvSpPr>
          <p:cNvPr id="14" name="object 14">
            <a:extLst>
              <a:ext uri="{FF2B5EF4-FFF2-40B4-BE49-F238E27FC236}">
                <a16:creationId xmlns:a16="http://schemas.microsoft.com/office/drawing/2014/main" id="{BCD1E6CE-2BD0-F1C2-1BE9-AEA812073E1C}"/>
              </a:ext>
            </a:extLst>
          </p:cNvPr>
          <p:cNvSpPr txBox="1"/>
          <p:nvPr userDrawn="1"/>
        </p:nvSpPr>
        <p:spPr>
          <a:xfrm>
            <a:off x="772681" y="728582"/>
            <a:ext cx="5164569" cy="367408"/>
          </a:xfrm>
          <a:prstGeom prst="rect">
            <a:avLst/>
          </a:prstGeom>
        </p:spPr>
        <p:txBody>
          <a:bodyPr vert="horz" wrap="square" lIns="0" tIns="13335" rIns="0" bIns="0" rtlCol="0">
            <a:spAutoFit/>
          </a:bodyPr>
          <a:lstStyle/>
          <a:p>
            <a:pPr marL="12700">
              <a:lnSpc>
                <a:spcPct val="100000"/>
              </a:lnSpc>
              <a:spcBef>
                <a:spcPts val="105"/>
              </a:spcBef>
            </a:pPr>
            <a:r>
              <a:rPr sz="2300" b="0">
                <a:solidFill>
                  <a:srgbClr val="2B0A3D"/>
                </a:solidFill>
                <a:latin typeface="Ubuntu Light"/>
                <a:cs typeface="Ubuntu Light"/>
              </a:rPr>
              <a:t>Sogeti </a:t>
            </a:r>
            <a:r>
              <a:rPr lang="es-ES" sz="2300" b="0">
                <a:solidFill>
                  <a:srgbClr val="2B0A3D"/>
                </a:solidFill>
                <a:latin typeface="Ubuntu Light"/>
                <a:cs typeface="Ubuntu Light"/>
              </a:rPr>
              <a:t>Spain · Solution passports</a:t>
            </a:r>
            <a:endParaRPr sz="2300">
              <a:latin typeface="Ubuntu Light"/>
              <a:cs typeface="Ubuntu Light"/>
            </a:endParaRPr>
          </a:p>
        </p:txBody>
      </p:sp>
      <p:sp>
        <p:nvSpPr>
          <p:cNvPr id="2" name="Título 1">
            <a:extLst>
              <a:ext uri="{FF2B5EF4-FFF2-40B4-BE49-F238E27FC236}">
                <a16:creationId xmlns:a16="http://schemas.microsoft.com/office/drawing/2014/main" id="{518F16F0-9ED1-0B32-5D24-A6B73E97A157}"/>
              </a:ext>
            </a:extLst>
          </p:cNvPr>
          <p:cNvSpPr>
            <a:spLocks noGrp="1"/>
          </p:cNvSpPr>
          <p:nvPr>
            <p:ph type="title" hasCustomPrompt="1"/>
          </p:nvPr>
        </p:nvSpPr>
        <p:spPr>
          <a:xfrm>
            <a:off x="753974" y="1393005"/>
            <a:ext cx="5564276" cy="646331"/>
          </a:xfrm>
        </p:spPr>
        <p:txBody>
          <a:bodyPr/>
          <a:lstStyle>
            <a:lvl1pPr>
              <a:defRPr sz="4200" b="1" i="0">
                <a:solidFill>
                  <a:srgbClr val="0070AD"/>
                </a:solidFill>
                <a:latin typeface="Ubuntu" panose="020B0504030602030204" pitchFamily="34" charset="0"/>
              </a:defRPr>
            </a:lvl1pPr>
          </a:lstStyle>
          <a:p>
            <a:r>
              <a:rPr lang="es-ES" err="1"/>
              <a:t>Quality</a:t>
            </a:r>
            <a:r>
              <a:rPr lang="es-ES"/>
              <a:t> </a:t>
            </a:r>
            <a:r>
              <a:rPr lang="es-ES" err="1"/>
              <a:t>Blueprint</a:t>
            </a:r>
            <a:endParaRPr lang="es-ES"/>
          </a:p>
        </p:txBody>
      </p:sp>
    </p:spTree>
    <p:extLst>
      <p:ext uri="{BB962C8B-B14F-4D97-AF65-F5344CB8AC3E}">
        <p14:creationId xmlns:p14="http://schemas.microsoft.com/office/powerpoint/2010/main" val="404359714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4_Title and Content">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5EAB4EC7-7929-BC2F-7729-EAA2B637E938}"/>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2006600"/>
            <a:ext cx="20104100" cy="7924800"/>
          </a:xfrm>
          <a:prstGeom prst="rect">
            <a:avLst/>
          </a:prstGeom>
        </p:spPr>
      </p:pic>
      <p:sp>
        <p:nvSpPr>
          <p:cNvPr id="4" name="Holder 4"/>
          <p:cNvSpPr>
            <a:spLocks noGrp="1"/>
          </p:cNvSpPr>
          <p:nvPr>
            <p:ph type="ftr" sz="quarter" idx="5"/>
          </p:nvPr>
        </p:nvSpPr>
        <p:spPr>
          <a:xfrm>
            <a:off x="16647741" y="10759212"/>
            <a:ext cx="2962677" cy="200055"/>
          </a:xfrm>
          <a:prstGeom prst="rect">
            <a:avLst/>
          </a:prstGeom>
        </p:spPr>
        <p:txBody>
          <a:bodyPr lIns="0" tIns="0" rIns="0" bIns="0"/>
          <a:lstStyle>
            <a:lvl1pPr>
              <a:defRPr sz="1300" b="0" i="0">
                <a:solidFill>
                  <a:srgbClr val="808080"/>
                </a:solidFill>
                <a:latin typeface="Ubuntu Light"/>
                <a:cs typeface="Ubuntu Light"/>
              </a:defRPr>
            </a:lvl1pPr>
          </a:lstStyle>
          <a:p>
            <a:pPr marL="26034">
              <a:lnSpc>
                <a:spcPct val="100000"/>
              </a:lnSpc>
              <a:spcBef>
                <a:spcPts val="30"/>
              </a:spcBef>
            </a:pPr>
            <a:r>
              <a:rPr dirty="0">
                <a:solidFill>
                  <a:srgbClr val="666666"/>
                </a:solidFill>
              </a:rPr>
              <a:t>Public</a:t>
            </a:r>
            <a:r>
              <a:rPr spc="-40" dirty="0">
                <a:solidFill>
                  <a:srgbClr val="666666"/>
                </a:solidFill>
              </a:rPr>
              <a:t> </a:t>
            </a:r>
            <a:r>
              <a:rPr dirty="0">
                <a:solidFill>
                  <a:srgbClr val="666666"/>
                </a:solidFill>
              </a:rPr>
              <a:t>©</a:t>
            </a:r>
            <a:r>
              <a:rPr spc="-40" dirty="0">
                <a:solidFill>
                  <a:srgbClr val="666666"/>
                </a:solidFill>
              </a:rPr>
              <a:t> </a:t>
            </a:r>
            <a:r>
              <a:rPr dirty="0">
                <a:solidFill>
                  <a:srgbClr val="666666"/>
                </a:solidFill>
              </a:rPr>
              <a:t>202</a:t>
            </a:r>
            <a:r>
              <a:rPr lang="es-ES" dirty="0">
                <a:solidFill>
                  <a:srgbClr val="666666"/>
                </a:solidFill>
              </a:rPr>
              <a:t>3</a:t>
            </a:r>
            <a:r>
              <a:rPr spc="-40" dirty="0">
                <a:solidFill>
                  <a:srgbClr val="666666"/>
                </a:solidFill>
              </a:rPr>
              <a:t> </a:t>
            </a:r>
            <a:r>
              <a:rPr spc="-10" dirty="0">
                <a:solidFill>
                  <a:srgbClr val="666666"/>
                </a:solidFill>
              </a:rPr>
              <a:t>Sogeti.</a:t>
            </a:r>
            <a:r>
              <a:rPr spc="-35" dirty="0">
                <a:solidFill>
                  <a:srgbClr val="666666"/>
                </a:solidFill>
              </a:rPr>
              <a:t> </a:t>
            </a:r>
            <a:r>
              <a:rPr dirty="0">
                <a:solidFill>
                  <a:srgbClr val="666666"/>
                </a:solidFill>
              </a:rPr>
              <a:t>All</a:t>
            </a:r>
            <a:r>
              <a:rPr spc="-40" dirty="0">
                <a:solidFill>
                  <a:srgbClr val="666666"/>
                </a:solidFill>
              </a:rPr>
              <a:t> </a:t>
            </a:r>
            <a:r>
              <a:rPr dirty="0">
                <a:solidFill>
                  <a:srgbClr val="666666"/>
                </a:solidFill>
              </a:rPr>
              <a:t>rights</a:t>
            </a:r>
            <a:r>
              <a:rPr spc="-40" dirty="0">
                <a:solidFill>
                  <a:srgbClr val="666666"/>
                </a:solidFill>
              </a:rPr>
              <a:t> </a:t>
            </a:r>
            <a:r>
              <a:rPr spc="-10" dirty="0">
                <a:solidFill>
                  <a:srgbClr val="666666"/>
                </a:solidFill>
              </a:rPr>
              <a:t>reserved</a:t>
            </a:r>
          </a:p>
        </p:txBody>
      </p:sp>
    </p:spTree>
    <p:extLst>
      <p:ext uri="{BB962C8B-B14F-4D97-AF65-F5344CB8AC3E}">
        <p14:creationId xmlns:p14="http://schemas.microsoft.com/office/powerpoint/2010/main" val="357477391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A62DA153-754E-1401-E6C1-386FD5388CF6}"/>
              </a:ext>
            </a:extLst>
          </p:cNvPr>
          <p:cNvPicPr>
            <a:picLocks noChangeAspect="1"/>
          </p:cNvPicPr>
          <p:nvPr userDrawn="1"/>
        </p:nvPicPr>
        <p:blipFill>
          <a:blip r:embed="rId2"/>
          <a:stretch>
            <a:fillRect/>
          </a:stretch>
        </p:blipFill>
        <p:spPr>
          <a:xfrm>
            <a:off x="0" y="-25400"/>
            <a:ext cx="20104100" cy="11353800"/>
          </a:xfrm>
          <a:prstGeom prst="rect">
            <a:avLst/>
          </a:prstGeom>
        </p:spPr>
      </p:pic>
      <p:sp>
        <p:nvSpPr>
          <p:cNvPr id="9" name="Rectángulo 8">
            <a:extLst>
              <a:ext uri="{FF2B5EF4-FFF2-40B4-BE49-F238E27FC236}">
                <a16:creationId xmlns:a16="http://schemas.microsoft.com/office/drawing/2014/main" id="{3F90CFEE-F33C-2F9D-40DF-8EA853D9E733}"/>
              </a:ext>
            </a:extLst>
          </p:cNvPr>
          <p:cNvSpPr/>
          <p:nvPr userDrawn="1"/>
        </p:nvSpPr>
        <p:spPr>
          <a:xfrm>
            <a:off x="4870450" y="0"/>
            <a:ext cx="15233650" cy="11328400"/>
          </a:xfrm>
          <a:prstGeom prst="rect">
            <a:avLst/>
          </a:prstGeom>
          <a:gradFill flip="none" rotWithShape="1">
            <a:gsLst>
              <a:gs pos="0">
                <a:schemeClr val="tx1">
                  <a:alpha val="0"/>
                </a:schemeClr>
              </a:gs>
              <a:gs pos="91000">
                <a:schemeClr val="tx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4" name="Holder 4"/>
          <p:cNvSpPr>
            <a:spLocks noGrp="1"/>
          </p:cNvSpPr>
          <p:nvPr>
            <p:ph type="ftr" sz="quarter" idx="5"/>
          </p:nvPr>
        </p:nvSpPr>
        <p:spPr>
          <a:xfrm>
            <a:off x="16647741" y="10759212"/>
            <a:ext cx="2962677" cy="200055"/>
          </a:xfrm>
          <a:prstGeom prst="rect">
            <a:avLst/>
          </a:prstGeom>
        </p:spPr>
        <p:txBody>
          <a:bodyPr lIns="0" tIns="0" rIns="0" bIns="0"/>
          <a:lstStyle>
            <a:lvl1pPr>
              <a:defRPr sz="1300" b="0" i="0">
                <a:solidFill>
                  <a:schemeClr val="bg1"/>
                </a:solidFill>
                <a:latin typeface="Ubuntu Light"/>
                <a:cs typeface="Ubuntu Light"/>
              </a:defRPr>
            </a:lvl1pPr>
          </a:lstStyle>
          <a:p>
            <a:pPr marL="26034">
              <a:spcBef>
                <a:spcPts val="30"/>
              </a:spcBef>
            </a:pPr>
            <a:r>
              <a:rPr lang="es-ES" dirty="0"/>
              <a:t>Public</a:t>
            </a:r>
            <a:r>
              <a:rPr lang="es-ES" spc="-40" dirty="0"/>
              <a:t> </a:t>
            </a:r>
            <a:r>
              <a:rPr lang="es-ES" dirty="0"/>
              <a:t>©</a:t>
            </a:r>
            <a:r>
              <a:rPr lang="es-ES" spc="-40" dirty="0"/>
              <a:t> </a:t>
            </a:r>
            <a:r>
              <a:rPr lang="es-ES" dirty="0"/>
              <a:t>2023</a:t>
            </a:r>
            <a:r>
              <a:rPr lang="es-ES" spc="-40" dirty="0"/>
              <a:t> </a:t>
            </a:r>
            <a:r>
              <a:rPr lang="es-ES" spc="-10" dirty="0"/>
              <a:t>Sogeti.</a:t>
            </a:r>
            <a:r>
              <a:rPr lang="es-ES" spc="-35" dirty="0"/>
              <a:t> </a:t>
            </a:r>
            <a:r>
              <a:rPr lang="es-ES" dirty="0" err="1"/>
              <a:t>All</a:t>
            </a:r>
            <a:r>
              <a:rPr lang="es-ES" spc="-40" dirty="0"/>
              <a:t> </a:t>
            </a:r>
            <a:r>
              <a:rPr lang="es-ES" dirty="0"/>
              <a:t>rights</a:t>
            </a:r>
            <a:r>
              <a:rPr lang="es-ES" spc="-40" dirty="0"/>
              <a:t> </a:t>
            </a:r>
            <a:r>
              <a:rPr lang="es-ES" spc="-10" dirty="0" err="1"/>
              <a:t>reserved</a:t>
            </a:r>
            <a:endParaRPr lang="es-ES" spc="-10" dirty="0"/>
          </a:p>
        </p:txBody>
      </p:sp>
      <p:sp>
        <p:nvSpPr>
          <p:cNvPr id="2" name="CuadroTexto 1">
            <a:extLst>
              <a:ext uri="{FF2B5EF4-FFF2-40B4-BE49-F238E27FC236}">
                <a16:creationId xmlns:a16="http://schemas.microsoft.com/office/drawing/2014/main" id="{72E5CF79-7DA3-E21E-3060-87CB44907F25}"/>
              </a:ext>
            </a:extLst>
          </p:cNvPr>
          <p:cNvSpPr txBox="1"/>
          <p:nvPr userDrawn="1"/>
        </p:nvSpPr>
        <p:spPr>
          <a:xfrm>
            <a:off x="755650" y="10845800"/>
            <a:ext cx="7772400" cy="292388"/>
          </a:xfrm>
          <a:prstGeom prst="rect">
            <a:avLst/>
          </a:prstGeom>
          <a:noFill/>
        </p:spPr>
        <p:txBody>
          <a:bodyPr wrap="square" rtlCol="0">
            <a:spAutoFit/>
          </a:bodyPr>
          <a:lstStyle/>
          <a:p>
            <a:r>
              <a:rPr lang="es-ES" sz="1300" b="0" i="0" dirty="0">
                <a:solidFill>
                  <a:schemeClr val="bg1"/>
                </a:solidFill>
                <a:latin typeface="Ubuntu Medium" panose="020B0504030602030204" pitchFamily="34" charset="0"/>
              </a:rPr>
              <a:t>#FlourishingDigitalBusinessWithQuality </a:t>
            </a:r>
            <a:r>
              <a:rPr lang="es-ES" sz="1300" b="1" i="0" dirty="0">
                <a:solidFill>
                  <a:schemeClr val="bg1"/>
                </a:solidFill>
                <a:latin typeface="Ubuntu" panose="020B0504030602030204" pitchFamily="34" charset="0"/>
              </a:rPr>
              <a:t> </a:t>
            </a:r>
            <a:r>
              <a:rPr lang="es-ES" sz="1300" b="1" i="0" dirty="0">
                <a:solidFill>
                  <a:srgbClr val="290E3B"/>
                </a:solidFill>
                <a:latin typeface="Ubuntu" panose="020B0504030602030204" pitchFamily="34" charset="0"/>
              </a:rPr>
              <a:t>·</a:t>
            </a:r>
            <a:r>
              <a:rPr lang="es-ES" sz="1300" b="0" i="0" dirty="0">
                <a:solidFill>
                  <a:schemeClr val="tx2"/>
                </a:solidFill>
                <a:latin typeface="Ubuntu Medium" panose="020B0504030602030204" pitchFamily="34" charset="0"/>
              </a:rPr>
              <a:t>   </a:t>
            </a:r>
            <a:r>
              <a:rPr lang="es-ES" sz="1300" b="1" i="0" dirty="0">
                <a:solidFill>
                  <a:srgbClr val="12A9D8"/>
                </a:solidFill>
                <a:latin typeface="Ubuntu" panose="020B0504030602030204" pitchFamily="34" charset="0"/>
              </a:rPr>
              <a:t>Sogeti España</a:t>
            </a:r>
          </a:p>
        </p:txBody>
      </p:sp>
      <p:sp>
        <p:nvSpPr>
          <p:cNvPr id="5" name="Forma libre 4">
            <a:extLst>
              <a:ext uri="{FF2B5EF4-FFF2-40B4-BE49-F238E27FC236}">
                <a16:creationId xmlns:a16="http://schemas.microsoft.com/office/drawing/2014/main" id="{FBAABD7F-C513-9B40-6AE2-E43DB3944CCE}"/>
              </a:ext>
            </a:extLst>
          </p:cNvPr>
          <p:cNvSpPr/>
          <p:nvPr userDrawn="1"/>
        </p:nvSpPr>
        <p:spPr>
          <a:xfrm flipV="1">
            <a:off x="755650" y="10384024"/>
            <a:ext cx="2362200" cy="385576"/>
          </a:xfrm>
          <a:custGeom>
            <a:avLst/>
            <a:gdLst/>
            <a:ahLst/>
            <a:cxnLst/>
            <a:rect l="l" t="t" r="r" b="b"/>
            <a:pathLst>
              <a:path w="4876802" h="796029">
                <a:moveTo>
                  <a:pt x="2572782" y="405299"/>
                </a:moveTo>
                <a:cubicBezTo>
                  <a:pt x="2589609" y="405299"/>
                  <a:pt x="2601809" y="398820"/>
                  <a:pt x="2609382" y="385863"/>
                </a:cubicBezTo>
                <a:cubicBezTo>
                  <a:pt x="2616954" y="372906"/>
                  <a:pt x="2620740" y="355826"/>
                  <a:pt x="2620740" y="334623"/>
                </a:cubicBezTo>
                <a:cubicBezTo>
                  <a:pt x="2620740" y="313420"/>
                  <a:pt x="2616618" y="296256"/>
                  <a:pt x="2608372" y="283131"/>
                </a:cubicBezTo>
                <a:cubicBezTo>
                  <a:pt x="2600126" y="270006"/>
                  <a:pt x="2587927" y="263443"/>
                  <a:pt x="2571772" y="263443"/>
                </a:cubicBezTo>
                <a:cubicBezTo>
                  <a:pt x="2554945" y="263443"/>
                  <a:pt x="2542744" y="270006"/>
                  <a:pt x="2535172" y="283131"/>
                </a:cubicBezTo>
                <a:cubicBezTo>
                  <a:pt x="2527600" y="296256"/>
                  <a:pt x="2523814" y="313420"/>
                  <a:pt x="2523814" y="334623"/>
                </a:cubicBezTo>
                <a:cubicBezTo>
                  <a:pt x="2523814" y="355826"/>
                  <a:pt x="2527937" y="372906"/>
                  <a:pt x="2536182" y="385863"/>
                </a:cubicBezTo>
                <a:cubicBezTo>
                  <a:pt x="2544428" y="398820"/>
                  <a:pt x="2556628" y="405299"/>
                  <a:pt x="2572782" y="405299"/>
                </a:cubicBezTo>
                <a:close/>
                <a:moveTo>
                  <a:pt x="1810782" y="405299"/>
                </a:moveTo>
                <a:cubicBezTo>
                  <a:pt x="1827610" y="405299"/>
                  <a:pt x="1839810" y="398820"/>
                  <a:pt x="1847382" y="385863"/>
                </a:cubicBezTo>
                <a:cubicBezTo>
                  <a:pt x="1854954" y="372906"/>
                  <a:pt x="1858740" y="355826"/>
                  <a:pt x="1858740" y="334623"/>
                </a:cubicBezTo>
                <a:cubicBezTo>
                  <a:pt x="1858740" y="313420"/>
                  <a:pt x="1854618" y="296256"/>
                  <a:pt x="1846372" y="283131"/>
                </a:cubicBezTo>
                <a:cubicBezTo>
                  <a:pt x="1838127" y="270006"/>
                  <a:pt x="1825927" y="263443"/>
                  <a:pt x="1809772" y="263443"/>
                </a:cubicBezTo>
                <a:cubicBezTo>
                  <a:pt x="1792945" y="263443"/>
                  <a:pt x="1780745" y="270006"/>
                  <a:pt x="1773173" y="283131"/>
                </a:cubicBezTo>
                <a:cubicBezTo>
                  <a:pt x="1765600" y="296256"/>
                  <a:pt x="1761814" y="313420"/>
                  <a:pt x="1761814" y="334623"/>
                </a:cubicBezTo>
                <a:cubicBezTo>
                  <a:pt x="1761814" y="355826"/>
                  <a:pt x="1765937" y="372906"/>
                  <a:pt x="1774182" y="385863"/>
                </a:cubicBezTo>
                <a:cubicBezTo>
                  <a:pt x="1782428" y="398820"/>
                  <a:pt x="1794628" y="405299"/>
                  <a:pt x="1810782" y="405299"/>
                </a:cubicBezTo>
                <a:close/>
                <a:moveTo>
                  <a:pt x="810657" y="405299"/>
                </a:moveTo>
                <a:cubicBezTo>
                  <a:pt x="827485" y="405299"/>
                  <a:pt x="839684" y="398820"/>
                  <a:pt x="847257" y="385863"/>
                </a:cubicBezTo>
                <a:cubicBezTo>
                  <a:pt x="854829" y="372906"/>
                  <a:pt x="858615" y="355826"/>
                  <a:pt x="858616" y="334623"/>
                </a:cubicBezTo>
                <a:cubicBezTo>
                  <a:pt x="858615" y="313420"/>
                  <a:pt x="854493" y="296256"/>
                  <a:pt x="846247" y="283131"/>
                </a:cubicBezTo>
                <a:cubicBezTo>
                  <a:pt x="838002" y="270006"/>
                  <a:pt x="825802" y="263443"/>
                  <a:pt x="809647" y="263443"/>
                </a:cubicBezTo>
                <a:cubicBezTo>
                  <a:pt x="792820" y="263443"/>
                  <a:pt x="780620" y="270006"/>
                  <a:pt x="773048" y="283131"/>
                </a:cubicBezTo>
                <a:cubicBezTo>
                  <a:pt x="765475" y="296256"/>
                  <a:pt x="761689" y="313420"/>
                  <a:pt x="761689" y="334623"/>
                </a:cubicBezTo>
                <a:cubicBezTo>
                  <a:pt x="761689" y="355826"/>
                  <a:pt x="765812" y="372906"/>
                  <a:pt x="774057" y="385863"/>
                </a:cubicBezTo>
                <a:cubicBezTo>
                  <a:pt x="782303" y="398820"/>
                  <a:pt x="794503" y="405299"/>
                  <a:pt x="810657" y="405299"/>
                </a:cubicBezTo>
                <a:close/>
                <a:moveTo>
                  <a:pt x="3325256" y="411861"/>
                </a:moveTo>
                <a:cubicBezTo>
                  <a:pt x="3316506" y="411861"/>
                  <a:pt x="3309608" y="408496"/>
                  <a:pt x="3304560" y="401765"/>
                </a:cubicBezTo>
                <a:cubicBezTo>
                  <a:pt x="3299512" y="395034"/>
                  <a:pt x="3296988" y="387125"/>
                  <a:pt x="3296988" y="378038"/>
                </a:cubicBezTo>
                <a:cubicBezTo>
                  <a:pt x="3296988" y="368951"/>
                  <a:pt x="3299512" y="361126"/>
                  <a:pt x="3304560" y="354564"/>
                </a:cubicBezTo>
                <a:cubicBezTo>
                  <a:pt x="3309608" y="348001"/>
                  <a:pt x="3316506" y="344720"/>
                  <a:pt x="3325256" y="344720"/>
                </a:cubicBezTo>
                <a:cubicBezTo>
                  <a:pt x="3333334" y="344720"/>
                  <a:pt x="3339980" y="348001"/>
                  <a:pt x="3345198" y="354564"/>
                </a:cubicBezTo>
                <a:cubicBezTo>
                  <a:pt x="3350414" y="361126"/>
                  <a:pt x="3353022" y="368951"/>
                  <a:pt x="3353022" y="378038"/>
                </a:cubicBezTo>
                <a:cubicBezTo>
                  <a:pt x="3353022" y="387125"/>
                  <a:pt x="3350414" y="395034"/>
                  <a:pt x="3345198" y="401765"/>
                </a:cubicBezTo>
                <a:cubicBezTo>
                  <a:pt x="3339980" y="408496"/>
                  <a:pt x="3333334" y="411861"/>
                  <a:pt x="3325256" y="411861"/>
                </a:cubicBezTo>
                <a:close/>
                <a:moveTo>
                  <a:pt x="2207070" y="453257"/>
                </a:moveTo>
                <a:lnTo>
                  <a:pt x="2207070" y="401765"/>
                </a:lnTo>
                <a:lnTo>
                  <a:pt x="2272697" y="401765"/>
                </a:lnTo>
                <a:lnTo>
                  <a:pt x="2272697" y="314430"/>
                </a:lnTo>
                <a:cubicBezTo>
                  <a:pt x="2272697" y="297939"/>
                  <a:pt x="2274043" y="283299"/>
                  <a:pt x="2276735" y="270510"/>
                </a:cubicBezTo>
                <a:cubicBezTo>
                  <a:pt x="2279428" y="257721"/>
                  <a:pt x="2284055" y="246868"/>
                  <a:pt x="2290618" y="237949"/>
                </a:cubicBezTo>
                <a:cubicBezTo>
                  <a:pt x="2297181" y="229031"/>
                  <a:pt x="2305931" y="222215"/>
                  <a:pt x="2316869" y="217504"/>
                </a:cubicBezTo>
                <a:cubicBezTo>
                  <a:pt x="2327807" y="212792"/>
                  <a:pt x="2341353" y="210436"/>
                  <a:pt x="2357508" y="210436"/>
                </a:cubicBezTo>
                <a:cubicBezTo>
                  <a:pt x="2366931" y="210436"/>
                  <a:pt x="2377280" y="211530"/>
                  <a:pt x="2388554" y="213718"/>
                </a:cubicBezTo>
                <a:cubicBezTo>
                  <a:pt x="2399829" y="215905"/>
                  <a:pt x="2411860" y="220028"/>
                  <a:pt x="2424649" y="226086"/>
                </a:cubicBezTo>
                <a:lnTo>
                  <a:pt x="2416572" y="276063"/>
                </a:lnTo>
                <a:cubicBezTo>
                  <a:pt x="2406475" y="271352"/>
                  <a:pt x="2397388" y="268239"/>
                  <a:pt x="2389312" y="266724"/>
                </a:cubicBezTo>
                <a:cubicBezTo>
                  <a:pt x="2381234" y="265210"/>
                  <a:pt x="2374335" y="264452"/>
                  <a:pt x="2368614" y="264452"/>
                </a:cubicBezTo>
                <a:cubicBezTo>
                  <a:pt x="2356498" y="264452"/>
                  <a:pt x="2347832" y="267902"/>
                  <a:pt x="2342615" y="274801"/>
                </a:cubicBezTo>
                <a:cubicBezTo>
                  <a:pt x="2337398" y="281701"/>
                  <a:pt x="2334790" y="292218"/>
                  <a:pt x="2334790" y="306353"/>
                </a:cubicBezTo>
                <a:lnTo>
                  <a:pt x="2334790" y="453257"/>
                </a:lnTo>
                <a:close/>
                <a:moveTo>
                  <a:pt x="1088092" y="457800"/>
                </a:moveTo>
                <a:cubicBezTo>
                  <a:pt x="1064870" y="457800"/>
                  <a:pt x="1044593" y="455949"/>
                  <a:pt x="1027260" y="452247"/>
                </a:cubicBezTo>
                <a:cubicBezTo>
                  <a:pt x="1009928" y="448545"/>
                  <a:pt x="993016" y="443665"/>
                  <a:pt x="976526" y="437607"/>
                </a:cubicBezTo>
                <a:lnTo>
                  <a:pt x="976526" y="215989"/>
                </a:lnTo>
                <a:lnTo>
                  <a:pt x="1039124" y="215989"/>
                </a:lnTo>
                <a:lnTo>
                  <a:pt x="1039124" y="392173"/>
                </a:lnTo>
                <a:cubicBezTo>
                  <a:pt x="1047874" y="394529"/>
                  <a:pt x="1056456" y="396128"/>
                  <a:pt x="1064870" y="396969"/>
                </a:cubicBezTo>
                <a:cubicBezTo>
                  <a:pt x="1073284" y="397810"/>
                  <a:pt x="1081866" y="398231"/>
                  <a:pt x="1090616" y="398231"/>
                </a:cubicBezTo>
                <a:cubicBezTo>
                  <a:pt x="1094318" y="398231"/>
                  <a:pt x="1098861" y="398063"/>
                  <a:pt x="1104246" y="397726"/>
                </a:cubicBezTo>
                <a:cubicBezTo>
                  <a:pt x="1109631" y="397390"/>
                  <a:pt x="1115184" y="396801"/>
                  <a:pt x="1120905" y="395959"/>
                </a:cubicBezTo>
                <a:cubicBezTo>
                  <a:pt x="1126627" y="395118"/>
                  <a:pt x="1132264" y="394192"/>
                  <a:pt x="1137817" y="393183"/>
                </a:cubicBezTo>
                <a:cubicBezTo>
                  <a:pt x="1143370" y="392173"/>
                  <a:pt x="1148166" y="391164"/>
                  <a:pt x="1152205" y="390154"/>
                </a:cubicBezTo>
                <a:lnTo>
                  <a:pt x="1163311" y="447704"/>
                </a:lnTo>
                <a:cubicBezTo>
                  <a:pt x="1157589" y="449723"/>
                  <a:pt x="1151111" y="451322"/>
                  <a:pt x="1143875" y="452500"/>
                </a:cubicBezTo>
                <a:cubicBezTo>
                  <a:pt x="1136639" y="453678"/>
                  <a:pt x="1129487" y="454687"/>
                  <a:pt x="1122420" y="455529"/>
                </a:cubicBezTo>
                <a:cubicBezTo>
                  <a:pt x="1115352" y="456370"/>
                  <a:pt x="1108706" y="456959"/>
                  <a:pt x="1102479" y="457296"/>
                </a:cubicBezTo>
                <a:cubicBezTo>
                  <a:pt x="1096253" y="457632"/>
                  <a:pt x="1091457" y="457800"/>
                  <a:pt x="1088092" y="457800"/>
                </a:cubicBezTo>
                <a:close/>
                <a:moveTo>
                  <a:pt x="2572782" y="459315"/>
                </a:moveTo>
                <a:cubicBezTo>
                  <a:pt x="2556628" y="459315"/>
                  <a:pt x="2541651" y="456370"/>
                  <a:pt x="2527852" y="450480"/>
                </a:cubicBezTo>
                <a:cubicBezTo>
                  <a:pt x="2514054" y="444591"/>
                  <a:pt x="2502190" y="436177"/>
                  <a:pt x="2492262" y="425239"/>
                </a:cubicBezTo>
                <a:cubicBezTo>
                  <a:pt x="2482334" y="414301"/>
                  <a:pt x="2474594" y="401176"/>
                  <a:pt x="2469040" y="385863"/>
                </a:cubicBezTo>
                <a:cubicBezTo>
                  <a:pt x="2463487" y="370550"/>
                  <a:pt x="2460711" y="353638"/>
                  <a:pt x="2460711" y="335128"/>
                </a:cubicBezTo>
                <a:cubicBezTo>
                  <a:pt x="2460711" y="316281"/>
                  <a:pt x="2463403" y="299201"/>
                  <a:pt x="2468788" y="283888"/>
                </a:cubicBezTo>
                <a:cubicBezTo>
                  <a:pt x="2474173" y="268575"/>
                  <a:pt x="2481829" y="255366"/>
                  <a:pt x="2491758" y="244259"/>
                </a:cubicBezTo>
                <a:cubicBezTo>
                  <a:pt x="2501686" y="233153"/>
                  <a:pt x="2513465" y="224571"/>
                  <a:pt x="2527095" y="218513"/>
                </a:cubicBezTo>
                <a:cubicBezTo>
                  <a:pt x="2540726" y="212455"/>
                  <a:pt x="2555954" y="209427"/>
                  <a:pt x="2572782" y="209427"/>
                </a:cubicBezTo>
                <a:cubicBezTo>
                  <a:pt x="2589609" y="209427"/>
                  <a:pt x="2604838" y="212455"/>
                  <a:pt x="2618468" y="218513"/>
                </a:cubicBezTo>
                <a:cubicBezTo>
                  <a:pt x="2632098" y="224571"/>
                  <a:pt x="2643794" y="233153"/>
                  <a:pt x="2653554" y="244259"/>
                </a:cubicBezTo>
                <a:cubicBezTo>
                  <a:pt x="2663314" y="255366"/>
                  <a:pt x="2670886" y="268575"/>
                  <a:pt x="2676271" y="283888"/>
                </a:cubicBezTo>
                <a:cubicBezTo>
                  <a:pt x="2681656" y="299201"/>
                  <a:pt x="2684348" y="316281"/>
                  <a:pt x="2684348" y="335128"/>
                </a:cubicBezTo>
                <a:cubicBezTo>
                  <a:pt x="2684348" y="353638"/>
                  <a:pt x="2681656" y="370550"/>
                  <a:pt x="2676271" y="385863"/>
                </a:cubicBezTo>
                <a:cubicBezTo>
                  <a:pt x="2670886" y="401176"/>
                  <a:pt x="2663230" y="414301"/>
                  <a:pt x="2653302" y="425239"/>
                </a:cubicBezTo>
                <a:cubicBezTo>
                  <a:pt x="2643373" y="436177"/>
                  <a:pt x="2631594" y="444591"/>
                  <a:pt x="2617964" y="450480"/>
                </a:cubicBezTo>
                <a:cubicBezTo>
                  <a:pt x="2604334" y="456370"/>
                  <a:pt x="2589273" y="459315"/>
                  <a:pt x="2572782" y="459315"/>
                </a:cubicBezTo>
                <a:close/>
                <a:moveTo>
                  <a:pt x="1810782" y="459315"/>
                </a:moveTo>
                <a:cubicBezTo>
                  <a:pt x="1794628" y="459315"/>
                  <a:pt x="1779651" y="456370"/>
                  <a:pt x="1765853" y="450480"/>
                </a:cubicBezTo>
                <a:cubicBezTo>
                  <a:pt x="1752054" y="444591"/>
                  <a:pt x="1740191" y="436177"/>
                  <a:pt x="1730262" y="425239"/>
                </a:cubicBezTo>
                <a:cubicBezTo>
                  <a:pt x="1720334" y="414301"/>
                  <a:pt x="1712594" y="401176"/>
                  <a:pt x="1707040" y="385863"/>
                </a:cubicBezTo>
                <a:cubicBezTo>
                  <a:pt x="1701488" y="370550"/>
                  <a:pt x="1698711" y="353638"/>
                  <a:pt x="1698711" y="335128"/>
                </a:cubicBezTo>
                <a:cubicBezTo>
                  <a:pt x="1698711" y="316281"/>
                  <a:pt x="1701403" y="299201"/>
                  <a:pt x="1706788" y="283888"/>
                </a:cubicBezTo>
                <a:cubicBezTo>
                  <a:pt x="1712173" y="268575"/>
                  <a:pt x="1719829" y="255366"/>
                  <a:pt x="1729758" y="244259"/>
                </a:cubicBezTo>
                <a:cubicBezTo>
                  <a:pt x="1739686" y="233153"/>
                  <a:pt x="1751465" y="224571"/>
                  <a:pt x="1765095" y="218513"/>
                </a:cubicBezTo>
                <a:cubicBezTo>
                  <a:pt x="1778726" y="212455"/>
                  <a:pt x="1793954" y="209427"/>
                  <a:pt x="1810782" y="209427"/>
                </a:cubicBezTo>
                <a:cubicBezTo>
                  <a:pt x="1827610" y="209427"/>
                  <a:pt x="1842838" y="212455"/>
                  <a:pt x="1856469" y="218513"/>
                </a:cubicBezTo>
                <a:cubicBezTo>
                  <a:pt x="1870099" y="224571"/>
                  <a:pt x="1881794" y="233153"/>
                  <a:pt x="1891554" y="244259"/>
                </a:cubicBezTo>
                <a:cubicBezTo>
                  <a:pt x="1901314" y="255366"/>
                  <a:pt x="1908886" y="268575"/>
                  <a:pt x="1914271" y="283888"/>
                </a:cubicBezTo>
                <a:cubicBezTo>
                  <a:pt x="1919656" y="299201"/>
                  <a:pt x="1922348" y="316281"/>
                  <a:pt x="1922348" y="335128"/>
                </a:cubicBezTo>
                <a:cubicBezTo>
                  <a:pt x="1922348" y="353638"/>
                  <a:pt x="1919656" y="370550"/>
                  <a:pt x="1914271" y="385863"/>
                </a:cubicBezTo>
                <a:cubicBezTo>
                  <a:pt x="1908886" y="401176"/>
                  <a:pt x="1901230" y="414301"/>
                  <a:pt x="1891302" y="425239"/>
                </a:cubicBezTo>
                <a:cubicBezTo>
                  <a:pt x="1881374" y="436177"/>
                  <a:pt x="1869594" y="444591"/>
                  <a:pt x="1855964" y="450480"/>
                </a:cubicBezTo>
                <a:cubicBezTo>
                  <a:pt x="1842334" y="456370"/>
                  <a:pt x="1827273" y="459315"/>
                  <a:pt x="1810782" y="459315"/>
                </a:cubicBezTo>
                <a:close/>
                <a:moveTo>
                  <a:pt x="810657" y="459315"/>
                </a:moveTo>
                <a:cubicBezTo>
                  <a:pt x="794503" y="459315"/>
                  <a:pt x="779526" y="456370"/>
                  <a:pt x="765728" y="450480"/>
                </a:cubicBezTo>
                <a:cubicBezTo>
                  <a:pt x="751929" y="444591"/>
                  <a:pt x="740066" y="436177"/>
                  <a:pt x="730138" y="425239"/>
                </a:cubicBezTo>
                <a:cubicBezTo>
                  <a:pt x="720209" y="414301"/>
                  <a:pt x="712469" y="401176"/>
                  <a:pt x="706916" y="385863"/>
                </a:cubicBezTo>
                <a:cubicBezTo>
                  <a:pt x="701362" y="370550"/>
                  <a:pt x="698586" y="353638"/>
                  <a:pt x="698586" y="335128"/>
                </a:cubicBezTo>
                <a:cubicBezTo>
                  <a:pt x="698586" y="316281"/>
                  <a:pt x="701278" y="299201"/>
                  <a:pt x="706663" y="283888"/>
                </a:cubicBezTo>
                <a:cubicBezTo>
                  <a:pt x="712048" y="268575"/>
                  <a:pt x="719704" y="255366"/>
                  <a:pt x="729633" y="244259"/>
                </a:cubicBezTo>
                <a:cubicBezTo>
                  <a:pt x="739561" y="233153"/>
                  <a:pt x="751340" y="224571"/>
                  <a:pt x="764970" y="218513"/>
                </a:cubicBezTo>
                <a:cubicBezTo>
                  <a:pt x="778601" y="212455"/>
                  <a:pt x="793830" y="209427"/>
                  <a:pt x="810657" y="209427"/>
                </a:cubicBezTo>
                <a:cubicBezTo>
                  <a:pt x="827485" y="209427"/>
                  <a:pt x="842713" y="212455"/>
                  <a:pt x="856344" y="218513"/>
                </a:cubicBezTo>
                <a:cubicBezTo>
                  <a:pt x="869974" y="224571"/>
                  <a:pt x="881669" y="233153"/>
                  <a:pt x="891429" y="244259"/>
                </a:cubicBezTo>
                <a:cubicBezTo>
                  <a:pt x="901189" y="255366"/>
                  <a:pt x="908761" y="268575"/>
                  <a:pt x="914146" y="283888"/>
                </a:cubicBezTo>
                <a:cubicBezTo>
                  <a:pt x="919531" y="299201"/>
                  <a:pt x="922223" y="316281"/>
                  <a:pt x="922223" y="335128"/>
                </a:cubicBezTo>
                <a:cubicBezTo>
                  <a:pt x="922223" y="353638"/>
                  <a:pt x="919531" y="370550"/>
                  <a:pt x="914146" y="385863"/>
                </a:cubicBezTo>
                <a:cubicBezTo>
                  <a:pt x="908761" y="401176"/>
                  <a:pt x="901105" y="414301"/>
                  <a:pt x="891177" y="425239"/>
                </a:cubicBezTo>
                <a:cubicBezTo>
                  <a:pt x="881248" y="436177"/>
                  <a:pt x="869469" y="444591"/>
                  <a:pt x="855839" y="450480"/>
                </a:cubicBezTo>
                <a:cubicBezTo>
                  <a:pt x="842209" y="456370"/>
                  <a:pt x="827148" y="459315"/>
                  <a:pt x="810657" y="459315"/>
                </a:cubicBezTo>
                <a:close/>
                <a:moveTo>
                  <a:pt x="546919" y="477993"/>
                </a:moveTo>
                <a:cubicBezTo>
                  <a:pt x="563410" y="477993"/>
                  <a:pt x="576620" y="474207"/>
                  <a:pt x="586548" y="466635"/>
                </a:cubicBezTo>
                <a:cubicBezTo>
                  <a:pt x="596476" y="459062"/>
                  <a:pt x="601441" y="446189"/>
                  <a:pt x="601441" y="428016"/>
                </a:cubicBezTo>
                <a:cubicBezTo>
                  <a:pt x="601441" y="408832"/>
                  <a:pt x="596392" y="395286"/>
                  <a:pt x="586296" y="387377"/>
                </a:cubicBezTo>
                <a:cubicBezTo>
                  <a:pt x="576199" y="379468"/>
                  <a:pt x="561223" y="375514"/>
                  <a:pt x="541366" y="375514"/>
                </a:cubicBezTo>
                <a:lnTo>
                  <a:pt x="516125" y="375514"/>
                </a:lnTo>
                <a:lnTo>
                  <a:pt x="516125" y="476479"/>
                </a:lnTo>
                <a:cubicBezTo>
                  <a:pt x="519827" y="477152"/>
                  <a:pt x="524960" y="477573"/>
                  <a:pt x="531522" y="477741"/>
                </a:cubicBezTo>
                <a:cubicBezTo>
                  <a:pt x="538085" y="477909"/>
                  <a:pt x="543217" y="477993"/>
                  <a:pt x="546919" y="477993"/>
                </a:cubicBezTo>
                <a:close/>
                <a:moveTo>
                  <a:pt x="3324752" y="482537"/>
                </a:moveTo>
                <a:cubicBezTo>
                  <a:pt x="3341916" y="482537"/>
                  <a:pt x="3354958" y="473198"/>
                  <a:pt x="3363876" y="454519"/>
                </a:cubicBezTo>
                <a:cubicBezTo>
                  <a:pt x="3372794" y="435841"/>
                  <a:pt x="3377254" y="408664"/>
                  <a:pt x="3377254" y="372990"/>
                </a:cubicBezTo>
                <a:cubicBezTo>
                  <a:pt x="3377254" y="336979"/>
                  <a:pt x="3372794" y="309634"/>
                  <a:pt x="3363876" y="290956"/>
                </a:cubicBezTo>
                <a:cubicBezTo>
                  <a:pt x="3354958" y="272277"/>
                  <a:pt x="3341916" y="262938"/>
                  <a:pt x="3324752" y="262938"/>
                </a:cubicBezTo>
                <a:cubicBezTo>
                  <a:pt x="3307924" y="262938"/>
                  <a:pt x="3294968" y="272277"/>
                  <a:pt x="3285880" y="290956"/>
                </a:cubicBezTo>
                <a:cubicBezTo>
                  <a:pt x="3276794" y="309634"/>
                  <a:pt x="3272250" y="336979"/>
                  <a:pt x="3272250" y="372990"/>
                </a:cubicBezTo>
                <a:cubicBezTo>
                  <a:pt x="3272250" y="408664"/>
                  <a:pt x="3276794" y="435841"/>
                  <a:pt x="3285880" y="454519"/>
                </a:cubicBezTo>
                <a:cubicBezTo>
                  <a:pt x="3294968" y="473198"/>
                  <a:pt x="3307924" y="482537"/>
                  <a:pt x="3324752" y="482537"/>
                </a:cubicBezTo>
                <a:close/>
                <a:moveTo>
                  <a:pt x="1323054" y="522923"/>
                </a:moveTo>
                <a:lnTo>
                  <a:pt x="1260961" y="512826"/>
                </a:lnTo>
                <a:lnTo>
                  <a:pt x="1260961" y="453257"/>
                </a:lnTo>
                <a:lnTo>
                  <a:pt x="1206945" y="453257"/>
                </a:lnTo>
                <a:lnTo>
                  <a:pt x="1206945" y="401765"/>
                </a:lnTo>
                <a:lnTo>
                  <a:pt x="1260961" y="401765"/>
                </a:lnTo>
                <a:lnTo>
                  <a:pt x="1260961" y="304334"/>
                </a:lnTo>
                <a:cubicBezTo>
                  <a:pt x="1260961" y="284477"/>
                  <a:pt x="1262980" y="268407"/>
                  <a:pt x="1267019" y="256123"/>
                </a:cubicBezTo>
                <a:cubicBezTo>
                  <a:pt x="1271057" y="243839"/>
                  <a:pt x="1276947" y="234331"/>
                  <a:pt x="1284688" y="227600"/>
                </a:cubicBezTo>
                <a:cubicBezTo>
                  <a:pt x="1292428" y="220869"/>
                  <a:pt x="1301852" y="216326"/>
                  <a:pt x="1312958" y="213970"/>
                </a:cubicBezTo>
                <a:cubicBezTo>
                  <a:pt x="1324064" y="211614"/>
                  <a:pt x="1336853" y="210436"/>
                  <a:pt x="1351325" y="210436"/>
                </a:cubicBezTo>
                <a:cubicBezTo>
                  <a:pt x="1363777" y="210436"/>
                  <a:pt x="1376650" y="211446"/>
                  <a:pt x="1389944" y="213465"/>
                </a:cubicBezTo>
                <a:cubicBezTo>
                  <a:pt x="1403238" y="215484"/>
                  <a:pt x="1415606" y="218850"/>
                  <a:pt x="1427048" y="223562"/>
                </a:cubicBezTo>
                <a:lnTo>
                  <a:pt x="1418466" y="277073"/>
                </a:lnTo>
                <a:cubicBezTo>
                  <a:pt x="1412745" y="274381"/>
                  <a:pt x="1407444" y="272193"/>
                  <a:pt x="1402564" y="270510"/>
                </a:cubicBezTo>
                <a:cubicBezTo>
                  <a:pt x="1397684" y="268828"/>
                  <a:pt x="1392973" y="267566"/>
                  <a:pt x="1388429" y="266724"/>
                </a:cubicBezTo>
                <a:cubicBezTo>
                  <a:pt x="1383886" y="265883"/>
                  <a:pt x="1379174" y="265294"/>
                  <a:pt x="1374294" y="264957"/>
                </a:cubicBezTo>
                <a:cubicBezTo>
                  <a:pt x="1369414" y="264621"/>
                  <a:pt x="1364114" y="264452"/>
                  <a:pt x="1358392" y="264452"/>
                </a:cubicBezTo>
                <a:cubicBezTo>
                  <a:pt x="1353007" y="264452"/>
                  <a:pt x="1348127" y="264957"/>
                  <a:pt x="1343752" y="265967"/>
                </a:cubicBezTo>
                <a:cubicBezTo>
                  <a:pt x="1339377" y="266977"/>
                  <a:pt x="1335675" y="268996"/>
                  <a:pt x="1332646" y="272025"/>
                </a:cubicBezTo>
                <a:cubicBezTo>
                  <a:pt x="1329617" y="275054"/>
                  <a:pt x="1327261" y="279261"/>
                  <a:pt x="1325579" y="284645"/>
                </a:cubicBezTo>
                <a:cubicBezTo>
                  <a:pt x="1323896" y="290030"/>
                  <a:pt x="1323054" y="297098"/>
                  <a:pt x="1323054" y="305848"/>
                </a:cubicBezTo>
                <a:lnTo>
                  <a:pt x="1323054" y="401765"/>
                </a:lnTo>
                <a:lnTo>
                  <a:pt x="1422505" y="401765"/>
                </a:lnTo>
                <a:lnTo>
                  <a:pt x="1422505" y="453257"/>
                </a:lnTo>
                <a:lnTo>
                  <a:pt x="1323054" y="453257"/>
                </a:lnTo>
                <a:close/>
                <a:moveTo>
                  <a:pt x="539852" y="532010"/>
                </a:moveTo>
                <a:cubicBezTo>
                  <a:pt x="534131" y="532010"/>
                  <a:pt x="527568" y="531841"/>
                  <a:pt x="520164" y="531505"/>
                </a:cubicBezTo>
                <a:cubicBezTo>
                  <a:pt x="512760" y="531168"/>
                  <a:pt x="505187" y="530748"/>
                  <a:pt x="497447" y="530243"/>
                </a:cubicBezTo>
                <a:cubicBezTo>
                  <a:pt x="489706" y="529738"/>
                  <a:pt x="482049" y="528981"/>
                  <a:pt x="474477" y="527971"/>
                </a:cubicBezTo>
                <a:cubicBezTo>
                  <a:pt x="466905" y="526961"/>
                  <a:pt x="460090" y="525784"/>
                  <a:pt x="454032" y="524437"/>
                </a:cubicBezTo>
                <a:lnTo>
                  <a:pt x="454032" y="215989"/>
                </a:lnTo>
                <a:lnTo>
                  <a:pt x="516125" y="215989"/>
                </a:lnTo>
                <a:lnTo>
                  <a:pt x="516125" y="321498"/>
                </a:lnTo>
                <a:lnTo>
                  <a:pt x="538337" y="321498"/>
                </a:lnTo>
                <a:cubicBezTo>
                  <a:pt x="578723" y="321498"/>
                  <a:pt x="609938" y="329827"/>
                  <a:pt x="631982" y="346486"/>
                </a:cubicBezTo>
                <a:cubicBezTo>
                  <a:pt x="654026" y="363146"/>
                  <a:pt x="665048" y="390154"/>
                  <a:pt x="665048" y="427511"/>
                </a:cubicBezTo>
                <a:cubicBezTo>
                  <a:pt x="665048" y="464531"/>
                  <a:pt x="654111" y="491203"/>
                  <a:pt x="632235" y="507526"/>
                </a:cubicBezTo>
                <a:cubicBezTo>
                  <a:pt x="610359" y="523848"/>
                  <a:pt x="579565" y="532010"/>
                  <a:pt x="539852" y="532010"/>
                </a:cubicBezTo>
                <a:close/>
                <a:moveTo>
                  <a:pt x="3816452" y="535544"/>
                </a:moveTo>
                <a:cubicBezTo>
                  <a:pt x="3797604" y="535544"/>
                  <a:pt x="3780694" y="532430"/>
                  <a:pt x="3765716" y="526204"/>
                </a:cubicBezTo>
                <a:cubicBezTo>
                  <a:pt x="3750740" y="519978"/>
                  <a:pt x="3738708" y="513836"/>
                  <a:pt x="3729622" y="507778"/>
                </a:cubicBezTo>
                <a:lnTo>
                  <a:pt x="3751834" y="462344"/>
                </a:lnTo>
                <a:cubicBezTo>
                  <a:pt x="3760248" y="468065"/>
                  <a:pt x="3770260" y="472861"/>
                  <a:pt x="3781872" y="476731"/>
                </a:cubicBezTo>
                <a:cubicBezTo>
                  <a:pt x="3793482" y="480602"/>
                  <a:pt x="3805178" y="482537"/>
                  <a:pt x="3816956" y="482537"/>
                </a:cubicBezTo>
                <a:cubicBezTo>
                  <a:pt x="3829072" y="482537"/>
                  <a:pt x="3838580" y="479255"/>
                  <a:pt x="3845480" y="472693"/>
                </a:cubicBezTo>
                <a:cubicBezTo>
                  <a:pt x="3852378" y="466130"/>
                  <a:pt x="3855828" y="457127"/>
                  <a:pt x="3855828" y="445685"/>
                </a:cubicBezTo>
                <a:cubicBezTo>
                  <a:pt x="3855828" y="437944"/>
                  <a:pt x="3854230" y="431550"/>
                  <a:pt x="3851032" y="426501"/>
                </a:cubicBezTo>
                <a:cubicBezTo>
                  <a:pt x="3847836" y="421453"/>
                  <a:pt x="3843712" y="417414"/>
                  <a:pt x="3838664" y="414385"/>
                </a:cubicBezTo>
                <a:cubicBezTo>
                  <a:pt x="3833616" y="411357"/>
                  <a:pt x="3827894" y="409169"/>
                  <a:pt x="3821500" y="407823"/>
                </a:cubicBezTo>
                <a:cubicBezTo>
                  <a:pt x="3815106" y="406477"/>
                  <a:pt x="3808712" y="405803"/>
                  <a:pt x="3802316" y="405803"/>
                </a:cubicBezTo>
                <a:lnTo>
                  <a:pt x="3779094" y="405803"/>
                </a:lnTo>
                <a:lnTo>
                  <a:pt x="3779094" y="354311"/>
                </a:lnTo>
                <a:lnTo>
                  <a:pt x="3798278" y="354311"/>
                </a:lnTo>
                <a:cubicBezTo>
                  <a:pt x="3818470" y="354311"/>
                  <a:pt x="3835130" y="351030"/>
                  <a:pt x="3848256" y="344467"/>
                </a:cubicBezTo>
                <a:cubicBezTo>
                  <a:pt x="3861380" y="337904"/>
                  <a:pt x="3867944" y="326378"/>
                  <a:pt x="3867944" y="309887"/>
                </a:cubicBezTo>
                <a:cubicBezTo>
                  <a:pt x="3867944" y="296425"/>
                  <a:pt x="3863652" y="285150"/>
                  <a:pt x="3855072" y="276063"/>
                </a:cubicBezTo>
                <a:cubicBezTo>
                  <a:pt x="3846488" y="266977"/>
                  <a:pt x="3831596" y="262433"/>
                  <a:pt x="3810394" y="262433"/>
                </a:cubicBezTo>
                <a:cubicBezTo>
                  <a:pt x="3793230" y="262433"/>
                  <a:pt x="3778506" y="264284"/>
                  <a:pt x="3766222" y="267986"/>
                </a:cubicBezTo>
                <a:cubicBezTo>
                  <a:pt x="3753938" y="271688"/>
                  <a:pt x="3743924" y="275222"/>
                  <a:pt x="3736184" y="278588"/>
                </a:cubicBezTo>
                <a:lnTo>
                  <a:pt x="3724068" y="226591"/>
                </a:lnTo>
                <a:cubicBezTo>
                  <a:pt x="3727770" y="224908"/>
                  <a:pt x="3732988" y="223057"/>
                  <a:pt x="3739718" y="221037"/>
                </a:cubicBezTo>
                <a:cubicBezTo>
                  <a:pt x="3746450" y="219018"/>
                  <a:pt x="3753770" y="217167"/>
                  <a:pt x="3761678" y="215484"/>
                </a:cubicBezTo>
                <a:cubicBezTo>
                  <a:pt x="3769588" y="213802"/>
                  <a:pt x="3777832" y="212371"/>
                  <a:pt x="3786414" y="211193"/>
                </a:cubicBezTo>
                <a:cubicBezTo>
                  <a:pt x="3794996" y="210015"/>
                  <a:pt x="3803158" y="209427"/>
                  <a:pt x="3810898" y="209427"/>
                </a:cubicBezTo>
                <a:cubicBezTo>
                  <a:pt x="3831764" y="209427"/>
                  <a:pt x="3849770" y="211867"/>
                  <a:pt x="3864916" y="216746"/>
                </a:cubicBezTo>
                <a:cubicBezTo>
                  <a:pt x="3880060" y="221626"/>
                  <a:pt x="3892512" y="228526"/>
                  <a:pt x="3902272" y="237444"/>
                </a:cubicBezTo>
                <a:cubicBezTo>
                  <a:pt x="3912032" y="246363"/>
                  <a:pt x="3919268" y="256880"/>
                  <a:pt x="3923980" y="268996"/>
                </a:cubicBezTo>
                <a:cubicBezTo>
                  <a:pt x="3928692" y="281112"/>
                  <a:pt x="3931048" y="294405"/>
                  <a:pt x="3931048" y="308877"/>
                </a:cubicBezTo>
                <a:cubicBezTo>
                  <a:pt x="3931048" y="327051"/>
                  <a:pt x="3926588" y="342700"/>
                  <a:pt x="3917668" y="355826"/>
                </a:cubicBezTo>
                <a:cubicBezTo>
                  <a:pt x="3908750" y="368951"/>
                  <a:pt x="3896214" y="378879"/>
                  <a:pt x="3880060" y="385610"/>
                </a:cubicBezTo>
                <a:cubicBezTo>
                  <a:pt x="3891840" y="391668"/>
                  <a:pt x="3901262" y="400419"/>
                  <a:pt x="3908330" y="411861"/>
                </a:cubicBezTo>
                <a:cubicBezTo>
                  <a:pt x="3915398" y="423304"/>
                  <a:pt x="3918932" y="435252"/>
                  <a:pt x="3918932" y="447704"/>
                </a:cubicBezTo>
                <a:cubicBezTo>
                  <a:pt x="3918932" y="460156"/>
                  <a:pt x="3916912" y="471767"/>
                  <a:pt x="3912874" y="482537"/>
                </a:cubicBezTo>
                <a:cubicBezTo>
                  <a:pt x="3908834" y="493306"/>
                  <a:pt x="3902608" y="502646"/>
                  <a:pt x="3894196" y="510555"/>
                </a:cubicBezTo>
                <a:cubicBezTo>
                  <a:pt x="3885780" y="518464"/>
                  <a:pt x="3875096" y="524606"/>
                  <a:pt x="3862138" y="528981"/>
                </a:cubicBezTo>
                <a:cubicBezTo>
                  <a:pt x="3849180" y="533356"/>
                  <a:pt x="3833952" y="535544"/>
                  <a:pt x="3816452" y="535544"/>
                </a:cubicBezTo>
                <a:close/>
                <a:moveTo>
                  <a:pt x="3567354" y="535544"/>
                </a:moveTo>
                <a:cubicBezTo>
                  <a:pt x="3549854" y="535544"/>
                  <a:pt x="3532268" y="532178"/>
                  <a:pt x="3514600" y="525447"/>
                </a:cubicBezTo>
                <a:cubicBezTo>
                  <a:pt x="3496930" y="518716"/>
                  <a:pt x="3481366" y="508283"/>
                  <a:pt x="3467904" y="494148"/>
                </a:cubicBezTo>
                <a:lnTo>
                  <a:pt x="3498698" y="450733"/>
                </a:lnTo>
                <a:cubicBezTo>
                  <a:pt x="3509130" y="461839"/>
                  <a:pt x="3519732" y="469748"/>
                  <a:pt x="3530502" y="474460"/>
                </a:cubicBezTo>
                <a:cubicBezTo>
                  <a:pt x="3541272" y="479171"/>
                  <a:pt x="3551536" y="481527"/>
                  <a:pt x="3561296" y="481527"/>
                </a:cubicBezTo>
                <a:cubicBezTo>
                  <a:pt x="3573076" y="481527"/>
                  <a:pt x="3582836" y="478078"/>
                  <a:pt x="3590576" y="471178"/>
                </a:cubicBezTo>
                <a:cubicBezTo>
                  <a:pt x="3598316" y="464279"/>
                  <a:pt x="3602186" y="454435"/>
                  <a:pt x="3602188" y="441646"/>
                </a:cubicBezTo>
                <a:cubicBezTo>
                  <a:pt x="3602186" y="432559"/>
                  <a:pt x="3599074" y="423641"/>
                  <a:pt x="3592848" y="414890"/>
                </a:cubicBezTo>
                <a:cubicBezTo>
                  <a:pt x="3586622" y="406140"/>
                  <a:pt x="3578712" y="397053"/>
                  <a:pt x="3569120" y="387630"/>
                </a:cubicBezTo>
                <a:cubicBezTo>
                  <a:pt x="3559528" y="378206"/>
                  <a:pt x="3549264" y="368362"/>
                  <a:pt x="3538326" y="358097"/>
                </a:cubicBezTo>
                <a:cubicBezTo>
                  <a:pt x="3527388" y="347833"/>
                  <a:pt x="3517124" y="336727"/>
                  <a:pt x="3507532" y="324779"/>
                </a:cubicBezTo>
                <a:cubicBezTo>
                  <a:pt x="3497940" y="312831"/>
                  <a:pt x="3490032" y="299790"/>
                  <a:pt x="3483806" y="285655"/>
                </a:cubicBezTo>
                <a:cubicBezTo>
                  <a:pt x="3477580" y="271520"/>
                  <a:pt x="3474466" y="256039"/>
                  <a:pt x="3474466" y="239211"/>
                </a:cubicBezTo>
                <a:cubicBezTo>
                  <a:pt x="3474466" y="237192"/>
                  <a:pt x="3474382" y="233658"/>
                  <a:pt x="3474214" y="228610"/>
                </a:cubicBezTo>
                <a:cubicBezTo>
                  <a:pt x="3474046" y="223562"/>
                  <a:pt x="3474466" y="219355"/>
                  <a:pt x="3475476" y="215989"/>
                </a:cubicBezTo>
                <a:lnTo>
                  <a:pt x="3679426" y="215989"/>
                </a:lnTo>
                <a:lnTo>
                  <a:pt x="3679426" y="267481"/>
                </a:lnTo>
                <a:lnTo>
                  <a:pt x="3545142" y="267481"/>
                </a:lnTo>
                <a:cubicBezTo>
                  <a:pt x="3545142" y="272530"/>
                  <a:pt x="3546908" y="278083"/>
                  <a:pt x="3550442" y="284141"/>
                </a:cubicBezTo>
                <a:cubicBezTo>
                  <a:pt x="3553976" y="290198"/>
                  <a:pt x="3558268" y="296172"/>
                  <a:pt x="3563316" y="302062"/>
                </a:cubicBezTo>
                <a:cubicBezTo>
                  <a:pt x="3568364" y="307952"/>
                  <a:pt x="3573748" y="313673"/>
                  <a:pt x="3579470" y="319226"/>
                </a:cubicBezTo>
                <a:cubicBezTo>
                  <a:pt x="3585190" y="324779"/>
                  <a:pt x="3590240" y="329575"/>
                  <a:pt x="3594614" y="333613"/>
                </a:cubicBezTo>
                <a:cubicBezTo>
                  <a:pt x="3603364" y="341691"/>
                  <a:pt x="3611946" y="350104"/>
                  <a:pt x="3620360" y="358855"/>
                </a:cubicBezTo>
                <a:cubicBezTo>
                  <a:pt x="3628774" y="367605"/>
                  <a:pt x="3636346" y="376692"/>
                  <a:pt x="3643078" y="386115"/>
                </a:cubicBezTo>
                <a:cubicBezTo>
                  <a:pt x="3649808" y="395539"/>
                  <a:pt x="3655194" y="405214"/>
                  <a:pt x="3659232" y="415143"/>
                </a:cubicBezTo>
                <a:cubicBezTo>
                  <a:pt x="3663270" y="425071"/>
                  <a:pt x="3665290" y="435420"/>
                  <a:pt x="3665290" y="446189"/>
                </a:cubicBezTo>
                <a:cubicBezTo>
                  <a:pt x="3665290" y="460998"/>
                  <a:pt x="3662598" y="474039"/>
                  <a:pt x="3657212" y="485313"/>
                </a:cubicBezTo>
                <a:cubicBezTo>
                  <a:pt x="3651828" y="496588"/>
                  <a:pt x="3644592" y="505927"/>
                  <a:pt x="3635506" y="513331"/>
                </a:cubicBezTo>
                <a:cubicBezTo>
                  <a:pt x="3626418" y="520735"/>
                  <a:pt x="3615986" y="526288"/>
                  <a:pt x="3604206" y="529990"/>
                </a:cubicBezTo>
                <a:cubicBezTo>
                  <a:pt x="3592426" y="533692"/>
                  <a:pt x="3580142" y="535544"/>
                  <a:pt x="3567354" y="535544"/>
                </a:cubicBezTo>
                <a:close/>
                <a:moveTo>
                  <a:pt x="3324752" y="535544"/>
                </a:moveTo>
                <a:cubicBezTo>
                  <a:pt x="3290088" y="535544"/>
                  <a:pt x="3263332" y="522081"/>
                  <a:pt x="3244486" y="495157"/>
                </a:cubicBezTo>
                <a:cubicBezTo>
                  <a:pt x="3225638" y="468233"/>
                  <a:pt x="3216214" y="427511"/>
                  <a:pt x="3216214" y="372990"/>
                </a:cubicBezTo>
                <a:cubicBezTo>
                  <a:pt x="3216214" y="317796"/>
                  <a:pt x="3225470" y="276737"/>
                  <a:pt x="3243980" y="249813"/>
                </a:cubicBezTo>
                <a:cubicBezTo>
                  <a:pt x="3262490" y="222889"/>
                  <a:pt x="3289414" y="209427"/>
                  <a:pt x="3324752" y="209427"/>
                </a:cubicBezTo>
                <a:cubicBezTo>
                  <a:pt x="3360090" y="209427"/>
                  <a:pt x="3387014" y="222889"/>
                  <a:pt x="3405524" y="249813"/>
                </a:cubicBezTo>
                <a:cubicBezTo>
                  <a:pt x="3424034" y="276737"/>
                  <a:pt x="3433290" y="317796"/>
                  <a:pt x="3433290" y="372990"/>
                </a:cubicBezTo>
                <a:cubicBezTo>
                  <a:pt x="3433290" y="427847"/>
                  <a:pt x="3424034" y="468654"/>
                  <a:pt x="3405524" y="495410"/>
                </a:cubicBezTo>
                <a:cubicBezTo>
                  <a:pt x="3387014" y="522166"/>
                  <a:pt x="3360090" y="535544"/>
                  <a:pt x="3324752" y="535544"/>
                </a:cubicBezTo>
                <a:close/>
                <a:moveTo>
                  <a:pt x="3062528" y="535544"/>
                </a:moveTo>
                <a:cubicBezTo>
                  <a:pt x="3045028" y="535544"/>
                  <a:pt x="3027444" y="532178"/>
                  <a:pt x="3009774" y="525447"/>
                </a:cubicBezTo>
                <a:cubicBezTo>
                  <a:pt x="2992106" y="518716"/>
                  <a:pt x="2976540" y="508283"/>
                  <a:pt x="2963078" y="494148"/>
                </a:cubicBezTo>
                <a:lnTo>
                  <a:pt x="2993872" y="450733"/>
                </a:lnTo>
                <a:cubicBezTo>
                  <a:pt x="3004306" y="461839"/>
                  <a:pt x="3014908" y="469748"/>
                  <a:pt x="3025676" y="474460"/>
                </a:cubicBezTo>
                <a:cubicBezTo>
                  <a:pt x="3036446" y="479171"/>
                  <a:pt x="3046712" y="481527"/>
                  <a:pt x="3056472" y="481527"/>
                </a:cubicBezTo>
                <a:cubicBezTo>
                  <a:pt x="3068250" y="481527"/>
                  <a:pt x="3078010" y="478078"/>
                  <a:pt x="3085752" y="471178"/>
                </a:cubicBezTo>
                <a:cubicBezTo>
                  <a:pt x="3093492" y="464279"/>
                  <a:pt x="3097362" y="454435"/>
                  <a:pt x="3097362" y="441646"/>
                </a:cubicBezTo>
                <a:cubicBezTo>
                  <a:pt x="3097362" y="432559"/>
                  <a:pt x="3094248" y="423641"/>
                  <a:pt x="3088022" y="414890"/>
                </a:cubicBezTo>
                <a:cubicBezTo>
                  <a:pt x="3081796" y="406140"/>
                  <a:pt x="3073888" y="397053"/>
                  <a:pt x="3064296" y="387630"/>
                </a:cubicBezTo>
                <a:cubicBezTo>
                  <a:pt x="3054704" y="378206"/>
                  <a:pt x="3044440" y="368362"/>
                  <a:pt x="3033502" y="358097"/>
                </a:cubicBezTo>
                <a:cubicBezTo>
                  <a:pt x="3022564" y="347833"/>
                  <a:pt x="3012298" y="336727"/>
                  <a:pt x="3002708" y="324779"/>
                </a:cubicBezTo>
                <a:cubicBezTo>
                  <a:pt x="2993116" y="312831"/>
                  <a:pt x="2985206" y="299790"/>
                  <a:pt x="2978980" y="285655"/>
                </a:cubicBezTo>
                <a:cubicBezTo>
                  <a:pt x="2972754" y="271520"/>
                  <a:pt x="2969642" y="256039"/>
                  <a:pt x="2969642" y="239211"/>
                </a:cubicBezTo>
                <a:cubicBezTo>
                  <a:pt x="2969642" y="237192"/>
                  <a:pt x="2969558" y="233658"/>
                  <a:pt x="2969388" y="228610"/>
                </a:cubicBezTo>
                <a:cubicBezTo>
                  <a:pt x="2969220" y="223562"/>
                  <a:pt x="2969640" y="219355"/>
                  <a:pt x="2970650" y="215989"/>
                </a:cubicBezTo>
                <a:lnTo>
                  <a:pt x="3174600" y="215989"/>
                </a:lnTo>
                <a:lnTo>
                  <a:pt x="3174600" y="267481"/>
                </a:lnTo>
                <a:lnTo>
                  <a:pt x="3040316" y="267481"/>
                </a:lnTo>
                <a:cubicBezTo>
                  <a:pt x="3040316" y="272530"/>
                  <a:pt x="3042084" y="278083"/>
                  <a:pt x="3045618" y="284141"/>
                </a:cubicBezTo>
                <a:cubicBezTo>
                  <a:pt x="3049152" y="290198"/>
                  <a:pt x="3053442" y="296172"/>
                  <a:pt x="3058490" y="302062"/>
                </a:cubicBezTo>
                <a:cubicBezTo>
                  <a:pt x="3063538" y="307952"/>
                  <a:pt x="3068924" y="313673"/>
                  <a:pt x="3074644" y="319226"/>
                </a:cubicBezTo>
                <a:cubicBezTo>
                  <a:pt x="3080366" y="324779"/>
                  <a:pt x="3085414" y="329575"/>
                  <a:pt x="3089790" y="333613"/>
                </a:cubicBezTo>
                <a:cubicBezTo>
                  <a:pt x="3098540" y="341691"/>
                  <a:pt x="3107122" y="350104"/>
                  <a:pt x="3115536" y="358855"/>
                </a:cubicBezTo>
                <a:cubicBezTo>
                  <a:pt x="3123950" y="367605"/>
                  <a:pt x="3131522" y="376692"/>
                  <a:pt x="3138252" y="386115"/>
                </a:cubicBezTo>
                <a:cubicBezTo>
                  <a:pt x="3144984" y="395539"/>
                  <a:pt x="3150368" y="405214"/>
                  <a:pt x="3154408" y="415143"/>
                </a:cubicBezTo>
                <a:cubicBezTo>
                  <a:pt x="3158446" y="425071"/>
                  <a:pt x="3160464" y="435420"/>
                  <a:pt x="3160464" y="446189"/>
                </a:cubicBezTo>
                <a:cubicBezTo>
                  <a:pt x="3160464" y="460998"/>
                  <a:pt x="3157772" y="474039"/>
                  <a:pt x="3152388" y="485313"/>
                </a:cubicBezTo>
                <a:cubicBezTo>
                  <a:pt x="3147002" y="496588"/>
                  <a:pt x="3139766" y="505927"/>
                  <a:pt x="3130680" y="513331"/>
                </a:cubicBezTo>
                <a:cubicBezTo>
                  <a:pt x="3121594" y="520735"/>
                  <a:pt x="3111160" y="526288"/>
                  <a:pt x="3099382" y="529990"/>
                </a:cubicBezTo>
                <a:cubicBezTo>
                  <a:pt x="3087602" y="533692"/>
                  <a:pt x="3075318" y="535544"/>
                  <a:pt x="3062528" y="535544"/>
                </a:cubicBezTo>
                <a:close/>
                <a:moveTo>
                  <a:pt x="2292890" y="561290"/>
                </a:moveTo>
                <a:cubicBezTo>
                  <a:pt x="2282120" y="561290"/>
                  <a:pt x="2272949" y="557756"/>
                  <a:pt x="2265377" y="550688"/>
                </a:cubicBezTo>
                <a:cubicBezTo>
                  <a:pt x="2257805" y="543621"/>
                  <a:pt x="2254018" y="533861"/>
                  <a:pt x="2254018" y="521408"/>
                </a:cubicBezTo>
                <a:cubicBezTo>
                  <a:pt x="2254018" y="509293"/>
                  <a:pt x="2257805" y="499701"/>
                  <a:pt x="2265377" y="492633"/>
                </a:cubicBezTo>
                <a:cubicBezTo>
                  <a:pt x="2272949" y="485566"/>
                  <a:pt x="2282120" y="482032"/>
                  <a:pt x="2292890" y="482032"/>
                </a:cubicBezTo>
                <a:cubicBezTo>
                  <a:pt x="2303660" y="482032"/>
                  <a:pt x="2312914" y="485566"/>
                  <a:pt x="2320655" y="492633"/>
                </a:cubicBezTo>
                <a:cubicBezTo>
                  <a:pt x="2328396" y="499701"/>
                  <a:pt x="2332266" y="509293"/>
                  <a:pt x="2332266" y="521408"/>
                </a:cubicBezTo>
                <a:cubicBezTo>
                  <a:pt x="2332266" y="533861"/>
                  <a:pt x="2328396" y="543621"/>
                  <a:pt x="2320655" y="550688"/>
                </a:cubicBezTo>
                <a:cubicBezTo>
                  <a:pt x="2312914" y="557756"/>
                  <a:pt x="2303660" y="561290"/>
                  <a:pt x="2292890" y="561290"/>
                </a:cubicBezTo>
                <a:close/>
                <a:moveTo>
                  <a:pt x="1959420" y="563309"/>
                </a:moveTo>
                <a:lnTo>
                  <a:pt x="1959420" y="511817"/>
                </a:lnTo>
                <a:lnTo>
                  <a:pt x="2025047" y="511817"/>
                </a:lnTo>
                <a:lnTo>
                  <a:pt x="2025047" y="310392"/>
                </a:lnTo>
                <a:cubicBezTo>
                  <a:pt x="2025047" y="277746"/>
                  <a:pt x="2031610" y="252926"/>
                  <a:pt x="2044735" y="235930"/>
                </a:cubicBezTo>
                <a:cubicBezTo>
                  <a:pt x="2057860" y="218934"/>
                  <a:pt x="2078727" y="210436"/>
                  <a:pt x="2107333" y="210436"/>
                </a:cubicBezTo>
                <a:cubicBezTo>
                  <a:pt x="2117767" y="210436"/>
                  <a:pt x="2127106" y="211109"/>
                  <a:pt x="2135351" y="212455"/>
                </a:cubicBezTo>
                <a:cubicBezTo>
                  <a:pt x="2143597" y="213802"/>
                  <a:pt x="2150580" y="215400"/>
                  <a:pt x="2156302" y="217251"/>
                </a:cubicBezTo>
                <a:cubicBezTo>
                  <a:pt x="2162023" y="219102"/>
                  <a:pt x="2166650" y="220869"/>
                  <a:pt x="2170184" y="222552"/>
                </a:cubicBezTo>
                <a:cubicBezTo>
                  <a:pt x="2173718" y="224235"/>
                  <a:pt x="2175990" y="225413"/>
                  <a:pt x="2176999" y="226086"/>
                </a:cubicBezTo>
                <a:lnTo>
                  <a:pt x="2168922" y="276063"/>
                </a:lnTo>
                <a:cubicBezTo>
                  <a:pt x="2166230" y="275054"/>
                  <a:pt x="2160677" y="272866"/>
                  <a:pt x="2152263" y="269501"/>
                </a:cubicBezTo>
                <a:cubicBezTo>
                  <a:pt x="2143849" y="266135"/>
                  <a:pt x="2133416" y="264452"/>
                  <a:pt x="2120964" y="264452"/>
                </a:cubicBezTo>
                <a:cubicBezTo>
                  <a:pt x="2111204" y="264452"/>
                  <a:pt x="2103126" y="267313"/>
                  <a:pt x="2096732" y="273034"/>
                </a:cubicBezTo>
                <a:cubicBezTo>
                  <a:pt x="2090338" y="278756"/>
                  <a:pt x="2087140" y="289694"/>
                  <a:pt x="2087140" y="305848"/>
                </a:cubicBezTo>
                <a:lnTo>
                  <a:pt x="2087140" y="563309"/>
                </a:lnTo>
                <a:close/>
                <a:moveTo>
                  <a:pt x="1607052" y="565833"/>
                </a:moveTo>
                <a:cubicBezTo>
                  <a:pt x="1594263" y="565833"/>
                  <a:pt x="1581811" y="564234"/>
                  <a:pt x="1569695" y="561037"/>
                </a:cubicBezTo>
                <a:cubicBezTo>
                  <a:pt x="1557579" y="557840"/>
                  <a:pt x="1546810" y="552455"/>
                  <a:pt x="1537386" y="544883"/>
                </a:cubicBezTo>
                <a:cubicBezTo>
                  <a:pt x="1527963" y="537310"/>
                  <a:pt x="1520474" y="527214"/>
                  <a:pt x="1514921" y="514593"/>
                </a:cubicBezTo>
                <a:cubicBezTo>
                  <a:pt x="1509368" y="501973"/>
                  <a:pt x="1506592" y="486071"/>
                  <a:pt x="1506592" y="466887"/>
                </a:cubicBezTo>
                <a:lnTo>
                  <a:pt x="1506592" y="453257"/>
                </a:lnTo>
                <a:lnTo>
                  <a:pt x="1454595" y="453257"/>
                </a:lnTo>
                <a:lnTo>
                  <a:pt x="1454595" y="401765"/>
                </a:lnTo>
                <a:lnTo>
                  <a:pt x="1506592" y="401765"/>
                </a:lnTo>
                <a:lnTo>
                  <a:pt x="1506592" y="215989"/>
                </a:lnTo>
                <a:lnTo>
                  <a:pt x="1569190" y="215989"/>
                </a:lnTo>
                <a:lnTo>
                  <a:pt x="1569190" y="401765"/>
                </a:lnTo>
                <a:lnTo>
                  <a:pt x="1666621" y="401765"/>
                </a:lnTo>
                <a:lnTo>
                  <a:pt x="1666621" y="453257"/>
                </a:lnTo>
                <a:lnTo>
                  <a:pt x="1569190" y="453257"/>
                </a:lnTo>
                <a:lnTo>
                  <a:pt x="1569190" y="465878"/>
                </a:lnTo>
                <a:cubicBezTo>
                  <a:pt x="1569190" y="475974"/>
                  <a:pt x="1570368" y="484135"/>
                  <a:pt x="1572724" y="490362"/>
                </a:cubicBezTo>
                <a:cubicBezTo>
                  <a:pt x="1575080" y="496588"/>
                  <a:pt x="1578193" y="501384"/>
                  <a:pt x="1582063" y="504749"/>
                </a:cubicBezTo>
                <a:cubicBezTo>
                  <a:pt x="1585933" y="508115"/>
                  <a:pt x="1590477" y="510302"/>
                  <a:pt x="1595693" y="511312"/>
                </a:cubicBezTo>
                <a:cubicBezTo>
                  <a:pt x="1600910" y="512322"/>
                  <a:pt x="1606379" y="512826"/>
                  <a:pt x="1612100" y="512826"/>
                </a:cubicBezTo>
                <a:cubicBezTo>
                  <a:pt x="1622533" y="512826"/>
                  <a:pt x="1633555" y="511396"/>
                  <a:pt x="1645166" y="508535"/>
                </a:cubicBezTo>
                <a:cubicBezTo>
                  <a:pt x="1656777" y="505675"/>
                  <a:pt x="1666453" y="502898"/>
                  <a:pt x="1674194" y="500206"/>
                </a:cubicBezTo>
                <a:lnTo>
                  <a:pt x="1684795" y="550688"/>
                </a:lnTo>
                <a:cubicBezTo>
                  <a:pt x="1673689" y="556073"/>
                  <a:pt x="1661236" y="559943"/>
                  <a:pt x="1647438" y="562299"/>
                </a:cubicBezTo>
                <a:cubicBezTo>
                  <a:pt x="1633639" y="564655"/>
                  <a:pt x="1620178" y="565833"/>
                  <a:pt x="1607052" y="565833"/>
                </a:cubicBezTo>
                <a:close/>
                <a:moveTo>
                  <a:pt x="0" y="796029"/>
                </a:moveTo>
                <a:lnTo>
                  <a:pt x="4876802" y="796029"/>
                </a:lnTo>
                <a:lnTo>
                  <a:pt x="4824822" y="344498"/>
                </a:lnTo>
                <a:cubicBezTo>
                  <a:pt x="4801968" y="145891"/>
                  <a:pt x="4682292" y="207"/>
                  <a:pt x="4541980" y="155"/>
                </a:cubicBezTo>
                <a:lnTo>
                  <a:pt x="0" y="0"/>
                </a:lnTo>
                <a:close/>
              </a:path>
            </a:pathLst>
          </a:custGeom>
          <a:solidFill>
            <a:schemeClr val="bg1"/>
          </a:solidFill>
          <a:ln w="2834" cap="flat">
            <a:noFill/>
            <a:prstDash val="solid"/>
            <a:miter/>
          </a:ln>
        </p:spPr>
        <p:txBody>
          <a:bodyPr wrap="square" rtlCol="0" anchor="ctr">
            <a:noAutofit/>
          </a:bodyPr>
          <a:lstStyle/>
          <a:p>
            <a:endParaRPr lang="en-US" dirty="0"/>
          </a:p>
        </p:txBody>
      </p:sp>
      <p:pic>
        <p:nvPicPr>
          <p:cNvPr id="8" name="Imagen 7" descr="Un dibujo de una cara feliz&#10;&#10;Descripción generada automáticamente con confianza baja">
            <a:extLst>
              <a:ext uri="{FF2B5EF4-FFF2-40B4-BE49-F238E27FC236}">
                <a16:creationId xmlns:a16="http://schemas.microsoft.com/office/drawing/2014/main" id="{A82FAAE7-F450-2EFB-B470-9CA2B285AACF}"/>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7824450" y="406400"/>
            <a:ext cx="1801936" cy="934010"/>
          </a:xfrm>
          <a:prstGeom prst="rect">
            <a:avLst/>
          </a:prstGeom>
        </p:spPr>
      </p:pic>
    </p:spTree>
    <p:extLst>
      <p:ext uri="{BB962C8B-B14F-4D97-AF65-F5344CB8AC3E}">
        <p14:creationId xmlns:p14="http://schemas.microsoft.com/office/powerpoint/2010/main" val="227270878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E8A70D50-92CC-C3E1-20DA-487D9328EEE3}"/>
              </a:ext>
            </a:extLst>
          </p:cNvPr>
          <p:cNvPicPr>
            <a:picLocks noChangeAspect="1"/>
          </p:cNvPicPr>
          <p:nvPr userDrawn="1"/>
        </p:nvPicPr>
        <p:blipFill>
          <a:blip r:embed="rId2"/>
          <a:stretch>
            <a:fillRect/>
          </a:stretch>
        </p:blipFill>
        <p:spPr>
          <a:xfrm>
            <a:off x="-31750" y="0"/>
            <a:ext cx="20135850" cy="11301012"/>
          </a:xfrm>
          <a:prstGeom prst="rect">
            <a:avLst/>
          </a:prstGeom>
        </p:spPr>
      </p:pic>
      <p:sp>
        <p:nvSpPr>
          <p:cNvPr id="9" name="Rectángulo 8">
            <a:extLst>
              <a:ext uri="{FF2B5EF4-FFF2-40B4-BE49-F238E27FC236}">
                <a16:creationId xmlns:a16="http://schemas.microsoft.com/office/drawing/2014/main" id="{3F90CFEE-F33C-2F9D-40DF-8EA853D9E733}"/>
              </a:ext>
            </a:extLst>
          </p:cNvPr>
          <p:cNvSpPr/>
          <p:nvPr userDrawn="1"/>
        </p:nvSpPr>
        <p:spPr>
          <a:xfrm>
            <a:off x="4870450" y="0"/>
            <a:ext cx="15233650" cy="11328400"/>
          </a:xfrm>
          <a:prstGeom prst="rect">
            <a:avLst/>
          </a:prstGeom>
          <a:gradFill flip="none" rotWithShape="1">
            <a:gsLst>
              <a:gs pos="0">
                <a:schemeClr val="tx1">
                  <a:alpha val="0"/>
                </a:schemeClr>
              </a:gs>
              <a:gs pos="91000">
                <a:schemeClr val="tx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4" name="Holder 4"/>
          <p:cNvSpPr>
            <a:spLocks noGrp="1"/>
          </p:cNvSpPr>
          <p:nvPr>
            <p:ph type="ftr" sz="quarter" idx="5"/>
          </p:nvPr>
        </p:nvSpPr>
        <p:spPr>
          <a:xfrm>
            <a:off x="16647741" y="10759212"/>
            <a:ext cx="2962677" cy="200055"/>
          </a:xfrm>
          <a:prstGeom prst="rect">
            <a:avLst/>
          </a:prstGeom>
        </p:spPr>
        <p:txBody>
          <a:bodyPr lIns="0" tIns="0" rIns="0" bIns="0"/>
          <a:lstStyle>
            <a:lvl1pPr>
              <a:defRPr sz="1300" b="0" i="0">
                <a:solidFill>
                  <a:schemeClr val="bg1"/>
                </a:solidFill>
                <a:latin typeface="Ubuntu Light"/>
                <a:cs typeface="Ubuntu Light"/>
              </a:defRPr>
            </a:lvl1pPr>
          </a:lstStyle>
          <a:p>
            <a:pPr marL="26034">
              <a:spcBef>
                <a:spcPts val="30"/>
              </a:spcBef>
            </a:pPr>
            <a:r>
              <a:rPr lang="es-ES" dirty="0"/>
              <a:t>Public</a:t>
            </a:r>
            <a:r>
              <a:rPr lang="es-ES" spc="-40" dirty="0"/>
              <a:t> </a:t>
            </a:r>
            <a:r>
              <a:rPr lang="es-ES" dirty="0"/>
              <a:t>©</a:t>
            </a:r>
            <a:r>
              <a:rPr lang="es-ES" spc="-40" dirty="0"/>
              <a:t> </a:t>
            </a:r>
            <a:r>
              <a:rPr lang="es-ES" dirty="0"/>
              <a:t>2023</a:t>
            </a:r>
            <a:r>
              <a:rPr lang="es-ES" spc="-40" dirty="0"/>
              <a:t> </a:t>
            </a:r>
            <a:r>
              <a:rPr lang="es-ES" spc="-10" dirty="0"/>
              <a:t>Sogeti.</a:t>
            </a:r>
            <a:r>
              <a:rPr lang="es-ES" spc="-35" dirty="0"/>
              <a:t> </a:t>
            </a:r>
            <a:r>
              <a:rPr lang="es-ES" dirty="0" err="1"/>
              <a:t>All</a:t>
            </a:r>
            <a:r>
              <a:rPr lang="es-ES" spc="-40" dirty="0"/>
              <a:t> </a:t>
            </a:r>
            <a:r>
              <a:rPr lang="es-ES" dirty="0"/>
              <a:t>rights</a:t>
            </a:r>
            <a:r>
              <a:rPr lang="es-ES" spc="-40" dirty="0"/>
              <a:t> </a:t>
            </a:r>
            <a:r>
              <a:rPr lang="es-ES" spc="-10" dirty="0" err="1"/>
              <a:t>reserved</a:t>
            </a:r>
            <a:endParaRPr lang="es-ES" spc="-10" dirty="0"/>
          </a:p>
        </p:txBody>
      </p:sp>
      <p:sp>
        <p:nvSpPr>
          <p:cNvPr id="2" name="CuadroTexto 1">
            <a:extLst>
              <a:ext uri="{FF2B5EF4-FFF2-40B4-BE49-F238E27FC236}">
                <a16:creationId xmlns:a16="http://schemas.microsoft.com/office/drawing/2014/main" id="{72E5CF79-7DA3-E21E-3060-87CB44907F25}"/>
              </a:ext>
            </a:extLst>
          </p:cNvPr>
          <p:cNvSpPr txBox="1"/>
          <p:nvPr userDrawn="1"/>
        </p:nvSpPr>
        <p:spPr>
          <a:xfrm>
            <a:off x="755650" y="10845800"/>
            <a:ext cx="7772400" cy="292388"/>
          </a:xfrm>
          <a:prstGeom prst="rect">
            <a:avLst/>
          </a:prstGeom>
          <a:noFill/>
        </p:spPr>
        <p:txBody>
          <a:bodyPr wrap="square" rtlCol="0">
            <a:spAutoFit/>
          </a:bodyPr>
          <a:lstStyle/>
          <a:p>
            <a:r>
              <a:rPr lang="es-ES" sz="1300" b="0" i="0" dirty="0">
                <a:solidFill>
                  <a:schemeClr val="bg1"/>
                </a:solidFill>
                <a:latin typeface="Ubuntu Medium" panose="020B0504030602030204" pitchFamily="34" charset="0"/>
              </a:rPr>
              <a:t>#FlourishingDigitalBusinessWithQuality </a:t>
            </a:r>
            <a:r>
              <a:rPr lang="es-ES" sz="1300" b="1" i="0" dirty="0">
                <a:solidFill>
                  <a:schemeClr val="bg1"/>
                </a:solidFill>
                <a:latin typeface="Ubuntu" panose="020B0504030602030204" pitchFamily="34" charset="0"/>
              </a:rPr>
              <a:t> </a:t>
            </a:r>
            <a:r>
              <a:rPr lang="es-ES" sz="1300" b="1" i="0" dirty="0">
                <a:solidFill>
                  <a:srgbClr val="290E3B"/>
                </a:solidFill>
                <a:latin typeface="Ubuntu" panose="020B0504030602030204" pitchFamily="34" charset="0"/>
              </a:rPr>
              <a:t>·</a:t>
            </a:r>
            <a:r>
              <a:rPr lang="es-ES" sz="1300" b="0" i="0" dirty="0">
                <a:solidFill>
                  <a:schemeClr val="tx2"/>
                </a:solidFill>
                <a:latin typeface="Ubuntu Medium" panose="020B0504030602030204" pitchFamily="34" charset="0"/>
              </a:rPr>
              <a:t>   </a:t>
            </a:r>
            <a:r>
              <a:rPr lang="es-ES" sz="1300" b="1" i="0" dirty="0">
                <a:solidFill>
                  <a:srgbClr val="12A9D8"/>
                </a:solidFill>
                <a:latin typeface="Ubuntu" panose="020B0504030602030204" pitchFamily="34" charset="0"/>
              </a:rPr>
              <a:t>Sogeti España</a:t>
            </a:r>
          </a:p>
        </p:txBody>
      </p:sp>
      <p:sp>
        <p:nvSpPr>
          <p:cNvPr id="5" name="Forma libre 4">
            <a:extLst>
              <a:ext uri="{FF2B5EF4-FFF2-40B4-BE49-F238E27FC236}">
                <a16:creationId xmlns:a16="http://schemas.microsoft.com/office/drawing/2014/main" id="{FBAABD7F-C513-9B40-6AE2-E43DB3944CCE}"/>
              </a:ext>
            </a:extLst>
          </p:cNvPr>
          <p:cNvSpPr/>
          <p:nvPr userDrawn="1"/>
        </p:nvSpPr>
        <p:spPr>
          <a:xfrm flipV="1">
            <a:off x="755650" y="10384024"/>
            <a:ext cx="2362200" cy="385576"/>
          </a:xfrm>
          <a:custGeom>
            <a:avLst/>
            <a:gdLst/>
            <a:ahLst/>
            <a:cxnLst/>
            <a:rect l="l" t="t" r="r" b="b"/>
            <a:pathLst>
              <a:path w="4876802" h="796029">
                <a:moveTo>
                  <a:pt x="2572782" y="405299"/>
                </a:moveTo>
                <a:cubicBezTo>
                  <a:pt x="2589609" y="405299"/>
                  <a:pt x="2601809" y="398820"/>
                  <a:pt x="2609382" y="385863"/>
                </a:cubicBezTo>
                <a:cubicBezTo>
                  <a:pt x="2616954" y="372906"/>
                  <a:pt x="2620740" y="355826"/>
                  <a:pt x="2620740" y="334623"/>
                </a:cubicBezTo>
                <a:cubicBezTo>
                  <a:pt x="2620740" y="313420"/>
                  <a:pt x="2616618" y="296256"/>
                  <a:pt x="2608372" y="283131"/>
                </a:cubicBezTo>
                <a:cubicBezTo>
                  <a:pt x="2600126" y="270006"/>
                  <a:pt x="2587927" y="263443"/>
                  <a:pt x="2571772" y="263443"/>
                </a:cubicBezTo>
                <a:cubicBezTo>
                  <a:pt x="2554945" y="263443"/>
                  <a:pt x="2542744" y="270006"/>
                  <a:pt x="2535172" y="283131"/>
                </a:cubicBezTo>
                <a:cubicBezTo>
                  <a:pt x="2527600" y="296256"/>
                  <a:pt x="2523814" y="313420"/>
                  <a:pt x="2523814" y="334623"/>
                </a:cubicBezTo>
                <a:cubicBezTo>
                  <a:pt x="2523814" y="355826"/>
                  <a:pt x="2527937" y="372906"/>
                  <a:pt x="2536182" y="385863"/>
                </a:cubicBezTo>
                <a:cubicBezTo>
                  <a:pt x="2544428" y="398820"/>
                  <a:pt x="2556628" y="405299"/>
                  <a:pt x="2572782" y="405299"/>
                </a:cubicBezTo>
                <a:close/>
                <a:moveTo>
                  <a:pt x="1810782" y="405299"/>
                </a:moveTo>
                <a:cubicBezTo>
                  <a:pt x="1827610" y="405299"/>
                  <a:pt x="1839810" y="398820"/>
                  <a:pt x="1847382" y="385863"/>
                </a:cubicBezTo>
                <a:cubicBezTo>
                  <a:pt x="1854954" y="372906"/>
                  <a:pt x="1858740" y="355826"/>
                  <a:pt x="1858740" y="334623"/>
                </a:cubicBezTo>
                <a:cubicBezTo>
                  <a:pt x="1858740" y="313420"/>
                  <a:pt x="1854618" y="296256"/>
                  <a:pt x="1846372" y="283131"/>
                </a:cubicBezTo>
                <a:cubicBezTo>
                  <a:pt x="1838127" y="270006"/>
                  <a:pt x="1825927" y="263443"/>
                  <a:pt x="1809772" y="263443"/>
                </a:cubicBezTo>
                <a:cubicBezTo>
                  <a:pt x="1792945" y="263443"/>
                  <a:pt x="1780745" y="270006"/>
                  <a:pt x="1773173" y="283131"/>
                </a:cubicBezTo>
                <a:cubicBezTo>
                  <a:pt x="1765600" y="296256"/>
                  <a:pt x="1761814" y="313420"/>
                  <a:pt x="1761814" y="334623"/>
                </a:cubicBezTo>
                <a:cubicBezTo>
                  <a:pt x="1761814" y="355826"/>
                  <a:pt x="1765937" y="372906"/>
                  <a:pt x="1774182" y="385863"/>
                </a:cubicBezTo>
                <a:cubicBezTo>
                  <a:pt x="1782428" y="398820"/>
                  <a:pt x="1794628" y="405299"/>
                  <a:pt x="1810782" y="405299"/>
                </a:cubicBezTo>
                <a:close/>
                <a:moveTo>
                  <a:pt x="810657" y="405299"/>
                </a:moveTo>
                <a:cubicBezTo>
                  <a:pt x="827485" y="405299"/>
                  <a:pt x="839684" y="398820"/>
                  <a:pt x="847257" y="385863"/>
                </a:cubicBezTo>
                <a:cubicBezTo>
                  <a:pt x="854829" y="372906"/>
                  <a:pt x="858615" y="355826"/>
                  <a:pt x="858616" y="334623"/>
                </a:cubicBezTo>
                <a:cubicBezTo>
                  <a:pt x="858615" y="313420"/>
                  <a:pt x="854493" y="296256"/>
                  <a:pt x="846247" y="283131"/>
                </a:cubicBezTo>
                <a:cubicBezTo>
                  <a:pt x="838002" y="270006"/>
                  <a:pt x="825802" y="263443"/>
                  <a:pt x="809647" y="263443"/>
                </a:cubicBezTo>
                <a:cubicBezTo>
                  <a:pt x="792820" y="263443"/>
                  <a:pt x="780620" y="270006"/>
                  <a:pt x="773048" y="283131"/>
                </a:cubicBezTo>
                <a:cubicBezTo>
                  <a:pt x="765475" y="296256"/>
                  <a:pt x="761689" y="313420"/>
                  <a:pt x="761689" y="334623"/>
                </a:cubicBezTo>
                <a:cubicBezTo>
                  <a:pt x="761689" y="355826"/>
                  <a:pt x="765812" y="372906"/>
                  <a:pt x="774057" y="385863"/>
                </a:cubicBezTo>
                <a:cubicBezTo>
                  <a:pt x="782303" y="398820"/>
                  <a:pt x="794503" y="405299"/>
                  <a:pt x="810657" y="405299"/>
                </a:cubicBezTo>
                <a:close/>
                <a:moveTo>
                  <a:pt x="3325256" y="411861"/>
                </a:moveTo>
                <a:cubicBezTo>
                  <a:pt x="3316506" y="411861"/>
                  <a:pt x="3309608" y="408496"/>
                  <a:pt x="3304560" y="401765"/>
                </a:cubicBezTo>
                <a:cubicBezTo>
                  <a:pt x="3299512" y="395034"/>
                  <a:pt x="3296988" y="387125"/>
                  <a:pt x="3296988" y="378038"/>
                </a:cubicBezTo>
                <a:cubicBezTo>
                  <a:pt x="3296988" y="368951"/>
                  <a:pt x="3299512" y="361126"/>
                  <a:pt x="3304560" y="354564"/>
                </a:cubicBezTo>
                <a:cubicBezTo>
                  <a:pt x="3309608" y="348001"/>
                  <a:pt x="3316506" y="344720"/>
                  <a:pt x="3325256" y="344720"/>
                </a:cubicBezTo>
                <a:cubicBezTo>
                  <a:pt x="3333334" y="344720"/>
                  <a:pt x="3339980" y="348001"/>
                  <a:pt x="3345198" y="354564"/>
                </a:cubicBezTo>
                <a:cubicBezTo>
                  <a:pt x="3350414" y="361126"/>
                  <a:pt x="3353022" y="368951"/>
                  <a:pt x="3353022" y="378038"/>
                </a:cubicBezTo>
                <a:cubicBezTo>
                  <a:pt x="3353022" y="387125"/>
                  <a:pt x="3350414" y="395034"/>
                  <a:pt x="3345198" y="401765"/>
                </a:cubicBezTo>
                <a:cubicBezTo>
                  <a:pt x="3339980" y="408496"/>
                  <a:pt x="3333334" y="411861"/>
                  <a:pt x="3325256" y="411861"/>
                </a:cubicBezTo>
                <a:close/>
                <a:moveTo>
                  <a:pt x="2207070" y="453257"/>
                </a:moveTo>
                <a:lnTo>
                  <a:pt x="2207070" y="401765"/>
                </a:lnTo>
                <a:lnTo>
                  <a:pt x="2272697" y="401765"/>
                </a:lnTo>
                <a:lnTo>
                  <a:pt x="2272697" y="314430"/>
                </a:lnTo>
                <a:cubicBezTo>
                  <a:pt x="2272697" y="297939"/>
                  <a:pt x="2274043" y="283299"/>
                  <a:pt x="2276735" y="270510"/>
                </a:cubicBezTo>
                <a:cubicBezTo>
                  <a:pt x="2279428" y="257721"/>
                  <a:pt x="2284055" y="246868"/>
                  <a:pt x="2290618" y="237949"/>
                </a:cubicBezTo>
                <a:cubicBezTo>
                  <a:pt x="2297181" y="229031"/>
                  <a:pt x="2305931" y="222215"/>
                  <a:pt x="2316869" y="217504"/>
                </a:cubicBezTo>
                <a:cubicBezTo>
                  <a:pt x="2327807" y="212792"/>
                  <a:pt x="2341353" y="210436"/>
                  <a:pt x="2357508" y="210436"/>
                </a:cubicBezTo>
                <a:cubicBezTo>
                  <a:pt x="2366931" y="210436"/>
                  <a:pt x="2377280" y="211530"/>
                  <a:pt x="2388554" y="213718"/>
                </a:cubicBezTo>
                <a:cubicBezTo>
                  <a:pt x="2399829" y="215905"/>
                  <a:pt x="2411860" y="220028"/>
                  <a:pt x="2424649" y="226086"/>
                </a:cubicBezTo>
                <a:lnTo>
                  <a:pt x="2416572" y="276063"/>
                </a:lnTo>
                <a:cubicBezTo>
                  <a:pt x="2406475" y="271352"/>
                  <a:pt x="2397388" y="268239"/>
                  <a:pt x="2389312" y="266724"/>
                </a:cubicBezTo>
                <a:cubicBezTo>
                  <a:pt x="2381234" y="265210"/>
                  <a:pt x="2374335" y="264452"/>
                  <a:pt x="2368614" y="264452"/>
                </a:cubicBezTo>
                <a:cubicBezTo>
                  <a:pt x="2356498" y="264452"/>
                  <a:pt x="2347832" y="267902"/>
                  <a:pt x="2342615" y="274801"/>
                </a:cubicBezTo>
                <a:cubicBezTo>
                  <a:pt x="2337398" y="281701"/>
                  <a:pt x="2334790" y="292218"/>
                  <a:pt x="2334790" y="306353"/>
                </a:cubicBezTo>
                <a:lnTo>
                  <a:pt x="2334790" y="453257"/>
                </a:lnTo>
                <a:close/>
                <a:moveTo>
                  <a:pt x="1088092" y="457800"/>
                </a:moveTo>
                <a:cubicBezTo>
                  <a:pt x="1064870" y="457800"/>
                  <a:pt x="1044593" y="455949"/>
                  <a:pt x="1027260" y="452247"/>
                </a:cubicBezTo>
                <a:cubicBezTo>
                  <a:pt x="1009928" y="448545"/>
                  <a:pt x="993016" y="443665"/>
                  <a:pt x="976526" y="437607"/>
                </a:cubicBezTo>
                <a:lnTo>
                  <a:pt x="976526" y="215989"/>
                </a:lnTo>
                <a:lnTo>
                  <a:pt x="1039124" y="215989"/>
                </a:lnTo>
                <a:lnTo>
                  <a:pt x="1039124" y="392173"/>
                </a:lnTo>
                <a:cubicBezTo>
                  <a:pt x="1047874" y="394529"/>
                  <a:pt x="1056456" y="396128"/>
                  <a:pt x="1064870" y="396969"/>
                </a:cubicBezTo>
                <a:cubicBezTo>
                  <a:pt x="1073284" y="397810"/>
                  <a:pt x="1081866" y="398231"/>
                  <a:pt x="1090616" y="398231"/>
                </a:cubicBezTo>
                <a:cubicBezTo>
                  <a:pt x="1094318" y="398231"/>
                  <a:pt x="1098861" y="398063"/>
                  <a:pt x="1104246" y="397726"/>
                </a:cubicBezTo>
                <a:cubicBezTo>
                  <a:pt x="1109631" y="397390"/>
                  <a:pt x="1115184" y="396801"/>
                  <a:pt x="1120905" y="395959"/>
                </a:cubicBezTo>
                <a:cubicBezTo>
                  <a:pt x="1126627" y="395118"/>
                  <a:pt x="1132264" y="394192"/>
                  <a:pt x="1137817" y="393183"/>
                </a:cubicBezTo>
                <a:cubicBezTo>
                  <a:pt x="1143370" y="392173"/>
                  <a:pt x="1148166" y="391164"/>
                  <a:pt x="1152205" y="390154"/>
                </a:cubicBezTo>
                <a:lnTo>
                  <a:pt x="1163311" y="447704"/>
                </a:lnTo>
                <a:cubicBezTo>
                  <a:pt x="1157589" y="449723"/>
                  <a:pt x="1151111" y="451322"/>
                  <a:pt x="1143875" y="452500"/>
                </a:cubicBezTo>
                <a:cubicBezTo>
                  <a:pt x="1136639" y="453678"/>
                  <a:pt x="1129487" y="454687"/>
                  <a:pt x="1122420" y="455529"/>
                </a:cubicBezTo>
                <a:cubicBezTo>
                  <a:pt x="1115352" y="456370"/>
                  <a:pt x="1108706" y="456959"/>
                  <a:pt x="1102479" y="457296"/>
                </a:cubicBezTo>
                <a:cubicBezTo>
                  <a:pt x="1096253" y="457632"/>
                  <a:pt x="1091457" y="457800"/>
                  <a:pt x="1088092" y="457800"/>
                </a:cubicBezTo>
                <a:close/>
                <a:moveTo>
                  <a:pt x="2572782" y="459315"/>
                </a:moveTo>
                <a:cubicBezTo>
                  <a:pt x="2556628" y="459315"/>
                  <a:pt x="2541651" y="456370"/>
                  <a:pt x="2527852" y="450480"/>
                </a:cubicBezTo>
                <a:cubicBezTo>
                  <a:pt x="2514054" y="444591"/>
                  <a:pt x="2502190" y="436177"/>
                  <a:pt x="2492262" y="425239"/>
                </a:cubicBezTo>
                <a:cubicBezTo>
                  <a:pt x="2482334" y="414301"/>
                  <a:pt x="2474594" y="401176"/>
                  <a:pt x="2469040" y="385863"/>
                </a:cubicBezTo>
                <a:cubicBezTo>
                  <a:pt x="2463487" y="370550"/>
                  <a:pt x="2460711" y="353638"/>
                  <a:pt x="2460711" y="335128"/>
                </a:cubicBezTo>
                <a:cubicBezTo>
                  <a:pt x="2460711" y="316281"/>
                  <a:pt x="2463403" y="299201"/>
                  <a:pt x="2468788" y="283888"/>
                </a:cubicBezTo>
                <a:cubicBezTo>
                  <a:pt x="2474173" y="268575"/>
                  <a:pt x="2481829" y="255366"/>
                  <a:pt x="2491758" y="244259"/>
                </a:cubicBezTo>
                <a:cubicBezTo>
                  <a:pt x="2501686" y="233153"/>
                  <a:pt x="2513465" y="224571"/>
                  <a:pt x="2527095" y="218513"/>
                </a:cubicBezTo>
                <a:cubicBezTo>
                  <a:pt x="2540726" y="212455"/>
                  <a:pt x="2555954" y="209427"/>
                  <a:pt x="2572782" y="209427"/>
                </a:cubicBezTo>
                <a:cubicBezTo>
                  <a:pt x="2589609" y="209427"/>
                  <a:pt x="2604838" y="212455"/>
                  <a:pt x="2618468" y="218513"/>
                </a:cubicBezTo>
                <a:cubicBezTo>
                  <a:pt x="2632098" y="224571"/>
                  <a:pt x="2643794" y="233153"/>
                  <a:pt x="2653554" y="244259"/>
                </a:cubicBezTo>
                <a:cubicBezTo>
                  <a:pt x="2663314" y="255366"/>
                  <a:pt x="2670886" y="268575"/>
                  <a:pt x="2676271" y="283888"/>
                </a:cubicBezTo>
                <a:cubicBezTo>
                  <a:pt x="2681656" y="299201"/>
                  <a:pt x="2684348" y="316281"/>
                  <a:pt x="2684348" y="335128"/>
                </a:cubicBezTo>
                <a:cubicBezTo>
                  <a:pt x="2684348" y="353638"/>
                  <a:pt x="2681656" y="370550"/>
                  <a:pt x="2676271" y="385863"/>
                </a:cubicBezTo>
                <a:cubicBezTo>
                  <a:pt x="2670886" y="401176"/>
                  <a:pt x="2663230" y="414301"/>
                  <a:pt x="2653302" y="425239"/>
                </a:cubicBezTo>
                <a:cubicBezTo>
                  <a:pt x="2643373" y="436177"/>
                  <a:pt x="2631594" y="444591"/>
                  <a:pt x="2617964" y="450480"/>
                </a:cubicBezTo>
                <a:cubicBezTo>
                  <a:pt x="2604334" y="456370"/>
                  <a:pt x="2589273" y="459315"/>
                  <a:pt x="2572782" y="459315"/>
                </a:cubicBezTo>
                <a:close/>
                <a:moveTo>
                  <a:pt x="1810782" y="459315"/>
                </a:moveTo>
                <a:cubicBezTo>
                  <a:pt x="1794628" y="459315"/>
                  <a:pt x="1779651" y="456370"/>
                  <a:pt x="1765853" y="450480"/>
                </a:cubicBezTo>
                <a:cubicBezTo>
                  <a:pt x="1752054" y="444591"/>
                  <a:pt x="1740191" y="436177"/>
                  <a:pt x="1730262" y="425239"/>
                </a:cubicBezTo>
                <a:cubicBezTo>
                  <a:pt x="1720334" y="414301"/>
                  <a:pt x="1712594" y="401176"/>
                  <a:pt x="1707040" y="385863"/>
                </a:cubicBezTo>
                <a:cubicBezTo>
                  <a:pt x="1701488" y="370550"/>
                  <a:pt x="1698711" y="353638"/>
                  <a:pt x="1698711" y="335128"/>
                </a:cubicBezTo>
                <a:cubicBezTo>
                  <a:pt x="1698711" y="316281"/>
                  <a:pt x="1701403" y="299201"/>
                  <a:pt x="1706788" y="283888"/>
                </a:cubicBezTo>
                <a:cubicBezTo>
                  <a:pt x="1712173" y="268575"/>
                  <a:pt x="1719829" y="255366"/>
                  <a:pt x="1729758" y="244259"/>
                </a:cubicBezTo>
                <a:cubicBezTo>
                  <a:pt x="1739686" y="233153"/>
                  <a:pt x="1751465" y="224571"/>
                  <a:pt x="1765095" y="218513"/>
                </a:cubicBezTo>
                <a:cubicBezTo>
                  <a:pt x="1778726" y="212455"/>
                  <a:pt x="1793954" y="209427"/>
                  <a:pt x="1810782" y="209427"/>
                </a:cubicBezTo>
                <a:cubicBezTo>
                  <a:pt x="1827610" y="209427"/>
                  <a:pt x="1842838" y="212455"/>
                  <a:pt x="1856469" y="218513"/>
                </a:cubicBezTo>
                <a:cubicBezTo>
                  <a:pt x="1870099" y="224571"/>
                  <a:pt x="1881794" y="233153"/>
                  <a:pt x="1891554" y="244259"/>
                </a:cubicBezTo>
                <a:cubicBezTo>
                  <a:pt x="1901314" y="255366"/>
                  <a:pt x="1908886" y="268575"/>
                  <a:pt x="1914271" y="283888"/>
                </a:cubicBezTo>
                <a:cubicBezTo>
                  <a:pt x="1919656" y="299201"/>
                  <a:pt x="1922348" y="316281"/>
                  <a:pt x="1922348" y="335128"/>
                </a:cubicBezTo>
                <a:cubicBezTo>
                  <a:pt x="1922348" y="353638"/>
                  <a:pt x="1919656" y="370550"/>
                  <a:pt x="1914271" y="385863"/>
                </a:cubicBezTo>
                <a:cubicBezTo>
                  <a:pt x="1908886" y="401176"/>
                  <a:pt x="1901230" y="414301"/>
                  <a:pt x="1891302" y="425239"/>
                </a:cubicBezTo>
                <a:cubicBezTo>
                  <a:pt x="1881374" y="436177"/>
                  <a:pt x="1869594" y="444591"/>
                  <a:pt x="1855964" y="450480"/>
                </a:cubicBezTo>
                <a:cubicBezTo>
                  <a:pt x="1842334" y="456370"/>
                  <a:pt x="1827273" y="459315"/>
                  <a:pt x="1810782" y="459315"/>
                </a:cubicBezTo>
                <a:close/>
                <a:moveTo>
                  <a:pt x="810657" y="459315"/>
                </a:moveTo>
                <a:cubicBezTo>
                  <a:pt x="794503" y="459315"/>
                  <a:pt x="779526" y="456370"/>
                  <a:pt x="765728" y="450480"/>
                </a:cubicBezTo>
                <a:cubicBezTo>
                  <a:pt x="751929" y="444591"/>
                  <a:pt x="740066" y="436177"/>
                  <a:pt x="730138" y="425239"/>
                </a:cubicBezTo>
                <a:cubicBezTo>
                  <a:pt x="720209" y="414301"/>
                  <a:pt x="712469" y="401176"/>
                  <a:pt x="706916" y="385863"/>
                </a:cubicBezTo>
                <a:cubicBezTo>
                  <a:pt x="701362" y="370550"/>
                  <a:pt x="698586" y="353638"/>
                  <a:pt x="698586" y="335128"/>
                </a:cubicBezTo>
                <a:cubicBezTo>
                  <a:pt x="698586" y="316281"/>
                  <a:pt x="701278" y="299201"/>
                  <a:pt x="706663" y="283888"/>
                </a:cubicBezTo>
                <a:cubicBezTo>
                  <a:pt x="712048" y="268575"/>
                  <a:pt x="719704" y="255366"/>
                  <a:pt x="729633" y="244259"/>
                </a:cubicBezTo>
                <a:cubicBezTo>
                  <a:pt x="739561" y="233153"/>
                  <a:pt x="751340" y="224571"/>
                  <a:pt x="764970" y="218513"/>
                </a:cubicBezTo>
                <a:cubicBezTo>
                  <a:pt x="778601" y="212455"/>
                  <a:pt x="793830" y="209427"/>
                  <a:pt x="810657" y="209427"/>
                </a:cubicBezTo>
                <a:cubicBezTo>
                  <a:pt x="827485" y="209427"/>
                  <a:pt x="842713" y="212455"/>
                  <a:pt x="856344" y="218513"/>
                </a:cubicBezTo>
                <a:cubicBezTo>
                  <a:pt x="869974" y="224571"/>
                  <a:pt x="881669" y="233153"/>
                  <a:pt x="891429" y="244259"/>
                </a:cubicBezTo>
                <a:cubicBezTo>
                  <a:pt x="901189" y="255366"/>
                  <a:pt x="908761" y="268575"/>
                  <a:pt x="914146" y="283888"/>
                </a:cubicBezTo>
                <a:cubicBezTo>
                  <a:pt x="919531" y="299201"/>
                  <a:pt x="922223" y="316281"/>
                  <a:pt x="922223" y="335128"/>
                </a:cubicBezTo>
                <a:cubicBezTo>
                  <a:pt x="922223" y="353638"/>
                  <a:pt x="919531" y="370550"/>
                  <a:pt x="914146" y="385863"/>
                </a:cubicBezTo>
                <a:cubicBezTo>
                  <a:pt x="908761" y="401176"/>
                  <a:pt x="901105" y="414301"/>
                  <a:pt x="891177" y="425239"/>
                </a:cubicBezTo>
                <a:cubicBezTo>
                  <a:pt x="881248" y="436177"/>
                  <a:pt x="869469" y="444591"/>
                  <a:pt x="855839" y="450480"/>
                </a:cubicBezTo>
                <a:cubicBezTo>
                  <a:pt x="842209" y="456370"/>
                  <a:pt x="827148" y="459315"/>
                  <a:pt x="810657" y="459315"/>
                </a:cubicBezTo>
                <a:close/>
                <a:moveTo>
                  <a:pt x="546919" y="477993"/>
                </a:moveTo>
                <a:cubicBezTo>
                  <a:pt x="563410" y="477993"/>
                  <a:pt x="576620" y="474207"/>
                  <a:pt x="586548" y="466635"/>
                </a:cubicBezTo>
                <a:cubicBezTo>
                  <a:pt x="596476" y="459062"/>
                  <a:pt x="601441" y="446189"/>
                  <a:pt x="601441" y="428016"/>
                </a:cubicBezTo>
                <a:cubicBezTo>
                  <a:pt x="601441" y="408832"/>
                  <a:pt x="596392" y="395286"/>
                  <a:pt x="586296" y="387377"/>
                </a:cubicBezTo>
                <a:cubicBezTo>
                  <a:pt x="576199" y="379468"/>
                  <a:pt x="561223" y="375514"/>
                  <a:pt x="541366" y="375514"/>
                </a:cubicBezTo>
                <a:lnTo>
                  <a:pt x="516125" y="375514"/>
                </a:lnTo>
                <a:lnTo>
                  <a:pt x="516125" y="476479"/>
                </a:lnTo>
                <a:cubicBezTo>
                  <a:pt x="519827" y="477152"/>
                  <a:pt x="524960" y="477573"/>
                  <a:pt x="531522" y="477741"/>
                </a:cubicBezTo>
                <a:cubicBezTo>
                  <a:pt x="538085" y="477909"/>
                  <a:pt x="543217" y="477993"/>
                  <a:pt x="546919" y="477993"/>
                </a:cubicBezTo>
                <a:close/>
                <a:moveTo>
                  <a:pt x="3324752" y="482537"/>
                </a:moveTo>
                <a:cubicBezTo>
                  <a:pt x="3341916" y="482537"/>
                  <a:pt x="3354958" y="473198"/>
                  <a:pt x="3363876" y="454519"/>
                </a:cubicBezTo>
                <a:cubicBezTo>
                  <a:pt x="3372794" y="435841"/>
                  <a:pt x="3377254" y="408664"/>
                  <a:pt x="3377254" y="372990"/>
                </a:cubicBezTo>
                <a:cubicBezTo>
                  <a:pt x="3377254" y="336979"/>
                  <a:pt x="3372794" y="309634"/>
                  <a:pt x="3363876" y="290956"/>
                </a:cubicBezTo>
                <a:cubicBezTo>
                  <a:pt x="3354958" y="272277"/>
                  <a:pt x="3341916" y="262938"/>
                  <a:pt x="3324752" y="262938"/>
                </a:cubicBezTo>
                <a:cubicBezTo>
                  <a:pt x="3307924" y="262938"/>
                  <a:pt x="3294968" y="272277"/>
                  <a:pt x="3285880" y="290956"/>
                </a:cubicBezTo>
                <a:cubicBezTo>
                  <a:pt x="3276794" y="309634"/>
                  <a:pt x="3272250" y="336979"/>
                  <a:pt x="3272250" y="372990"/>
                </a:cubicBezTo>
                <a:cubicBezTo>
                  <a:pt x="3272250" y="408664"/>
                  <a:pt x="3276794" y="435841"/>
                  <a:pt x="3285880" y="454519"/>
                </a:cubicBezTo>
                <a:cubicBezTo>
                  <a:pt x="3294968" y="473198"/>
                  <a:pt x="3307924" y="482537"/>
                  <a:pt x="3324752" y="482537"/>
                </a:cubicBezTo>
                <a:close/>
                <a:moveTo>
                  <a:pt x="1323054" y="522923"/>
                </a:moveTo>
                <a:lnTo>
                  <a:pt x="1260961" y="512826"/>
                </a:lnTo>
                <a:lnTo>
                  <a:pt x="1260961" y="453257"/>
                </a:lnTo>
                <a:lnTo>
                  <a:pt x="1206945" y="453257"/>
                </a:lnTo>
                <a:lnTo>
                  <a:pt x="1206945" y="401765"/>
                </a:lnTo>
                <a:lnTo>
                  <a:pt x="1260961" y="401765"/>
                </a:lnTo>
                <a:lnTo>
                  <a:pt x="1260961" y="304334"/>
                </a:lnTo>
                <a:cubicBezTo>
                  <a:pt x="1260961" y="284477"/>
                  <a:pt x="1262980" y="268407"/>
                  <a:pt x="1267019" y="256123"/>
                </a:cubicBezTo>
                <a:cubicBezTo>
                  <a:pt x="1271057" y="243839"/>
                  <a:pt x="1276947" y="234331"/>
                  <a:pt x="1284688" y="227600"/>
                </a:cubicBezTo>
                <a:cubicBezTo>
                  <a:pt x="1292428" y="220869"/>
                  <a:pt x="1301852" y="216326"/>
                  <a:pt x="1312958" y="213970"/>
                </a:cubicBezTo>
                <a:cubicBezTo>
                  <a:pt x="1324064" y="211614"/>
                  <a:pt x="1336853" y="210436"/>
                  <a:pt x="1351325" y="210436"/>
                </a:cubicBezTo>
                <a:cubicBezTo>
                  <a:pt x="1363777" y="210436"/>
                  <a:pt x="1376650" y="211446"/>
                  <a:pt x="1389944" y="213465"/>
                </a:cubicBezTo>
                <a:cubicBezTo>
                  <a:pt x="1403238" y="215484"/>
                  <a:pt x="1415606" y="218850"/>
                  <a:pt x="1427048" y="223562"/>
                </a:cubicBezTo>
                <a:lnTo>
                  <a:pt x="1418466" y="277073"/>
                </a:lnTo>
                <a:cubicBezTo>
                  <a:pt x="1412745" y="274381"/>
                  <a:pt x="1407444" y="272193"/>
                  <a:pt x="1402564" y="270510"/>
                </a:cubicBezTo>
                <a:cubicBezTo>
                  <a:pt x="1397684" y="268828"/>
                  <a:pt x="1392973" y="267566"/>
                  <a:pt x="1388429" y="266724"/>
                </a:cubicBezTo>
                <a:cubicBezTo>
                  <a:pt x="1383886" y="265883"/>
                  <a:pt x="1379174" y="265294"/>
                  <a:pt x="1374294" y="264957"/>
                </a:cubicBezTo>
                <a:cubicBezTo>
                  <a:pt x="1369414" y="264621"/>
                  <a:pt x="1364114" y="264452"/>
                  <a:pt x="1358392" y="264452"/>
                </a:cubicBezTo>
                <a:cubicBezTo>
                  <a:pt x="1353007" y="264452"/>
                  <a:pt x="1348127" y="264957"/>
                  <a:pt x="1343752" y="265967"/>
                </a:cubicBezTo>
                <a:cubicBezTo>
                  <a:pt x="1339377" y="266977"/>
                  <a:pt x="1335675" y="268996"/>
                  <a:pt x="1332646" y="272025"/>
                </a:cubicBezTo>
                <a:cubicBezTo>
                  <a:pt x="1329617" y="275054"/>
                  <a:pt x="1327261" y="279261"/>
                  <a:pt x="1325579" y="284645"/>
                </a:cubicBezTo>
                <a:cubicBezTo>
                  <a:pt x="1323896" y="290030"/>
                  <a:pt x="1323054" y="297098"/>
                  <a:pt x="1323054" y="305848"/>
                </a:cubicBezTo>
                <a:lnTo>
                  <a:pt x="1323054" y="401765"/>
                </a:lnTo>
                <a:lnTo>
                  <a:pt x="1422505" y="401765"/>
                </a:lnTo>
                <a:lnTo>
                  <a:pt x="1422505" y="453257"/>
                </a:lnTo>
                <a:lnTo>
                  <a:pt x="1323054" y="453257"/>
                </a:lnTo>
                <a:close/>
                <a:moveTo>
                  <a:pt x="539852" y="532010"/>
                </a:moveTo>
                <a:cubicBezTo>
                  <a:pt x="534131" y="532010"/>
                  <a:pt x="527568" y="531841"/>
                  <a:pt x="520164" y="531505"/>
                </a:cubicBezTo>
                <a:cubicBezTo>
                  <a:pt x="512760" y="531168"/>
                  <a:pt x="505187" y="530748"/>
                  <a:pt x="497447" y="530243"/>
                </a:cubicBezTo>
                <a:cubicBezTo>
                  <a:pt x="489706" y="529738"/>
                  <a:pt x="482049" y="528981"/>
                  <a:pt x="474477" y="527971"/>
                </a:cubicBezTo>
                <a:cubicBezTo>
                  <a:pt x="466905" y="526961"/>
                  <a:pt x="460090" y="525784"/>
                  <a:pt x="454032" y="524437"/>
                </a:cubicBezTo>
                <a:lnTo>
                  <a:pt x="454032" y="215989"/>
                </a:lnTo>
                <a:lnTo>
                  <a:pt x="516125" y="215989"/>
                </a:lnTo>
                <a:lnTo>
                  <a:pt x="516125" y="321498"/>
                </a:lnTo>
                <a:lnTo>
                  <a:pt x="538337" y="321498"/>
                </a:lnTo>
                <a:cubicBezTo>
                  <a:pt x="578723" y="321498"/>
                  <a:pt x="609938" y="329827"/>
                  <a:pt x="631982" y="346486"/>
                </a:cubicBezTo>
                <a:cubicBezTo>
                  <a:pt x="654026" y="363146"/>
                  <a:pt x="665048" y="390154"/>
                  <a:pt x="665048" y="427511"/>
                </a:cubicBezTo>
                <a:cubicBezTo>
                  <a:pt x="665048" y="464531"/>
                  <a:pt x="654111" y="491203"/>
                  <a:pt x="632235" y="507526"/>
                </a:cubicBezTo>
                <a:cubicBezTo>
                  <a:pt x="610359" y="523848"/>
                  <a:pt x="579565" y="532010"/>
                  <a:pt x="539852" y="532010"/>
                </a:cubicBezTo>
                <a:close/>
                <a:moveTo>
                  <a:pt x="3816452" y="535544"/>
                </a:moveTo>
                <a:cubicBezTo>
                  <a:pt x="3797604" y="535544"/>
                  <a:pt x="3780694" y="532430"/>
                  <a:pt x="3765716" y="526204"/>
                </a:cubicBezTo>
                <a:cubicBezTo>
                  <a:pt x="3750740" y="519978"/>
                  <a:pt x="3738708" y="513836"/>
                  <a:pt x="3729622" y="507778"/>
                </a:cubicBezTo>
                <a:lnTo>
                  <a:pt x="3751834" y="462344"/>
                </a:lnTo>
                <a:cubicBezTo>
                  <a:pt x="3760248" y="468065"/>
                  <a:pt x="3770260" y="472861"/>
                  <a:pt x="3781872" y="476731"/>
                </a:cubicBezTo>
                <a:cubicBezTo>
                  <a:pt x="3793482" y="480602"/>
                  <a:pt x="3805178" y="482537"/>
                  <a:pt x="3816956" y="482537"/>
                </a:cubicBezTo>
                <a:cubicBezTo>
                  <a:pt x="3829072" y="482537"/>
                  <a:pt x="3838580" y="479255"/>
                  <a:pt x="3845480" y="472693"/>
                </a:cubicBezTo>
                <a:cubicBezTo>
                  <a:pt x="3852378" y="466130"/>
                  <a:pt x="3855828" y="457127"/>
                  <a:pt x="3855828" y="445685"/>
                </a:cubicBezTo>
                <a:cubicBezTo>
                  <a:pt x="3855828" y="437944"/>
                  <a:pt x="3854230" y="431550"/>
                  <a:pt x="3851032" y="426501"/>
                </a:cubicBezTo>
                <a:cubicBezTo>
                  <a:pt x="3847836" y="421453"/>
                  <a:pt x="3843712" y="417414"/>
                  <a:pt x="3838664" y="414385"/>
                </a:cubicBezTo>
                <a:cubicBezTo>
                  <a:pt x="3833616" y="411357"/>
                  <a:pt x="3827894" y="409169"/>
                  <a:pt x="3821500" y="407823"/>
                </a:cubicBezTo>
                <a:cubicBezTo>
                  <a:pt x="3815106" y="406477"/>
                  <a:pt x="3808712" y="405803"/>
                  <a:pt x="3802316" y="405803"/>
                </a:cubicBezTo>
                <a:lnTo>
                  <a:pt x="3779094" y="405803"/>
                </a:lnTo>
                <a:lnTo>
                  <a:pt x="3779094" y="354311"/>
                </a:lnTo>
                <a:lnTo>
                  <a:pt x="3798278" y="354311"/>
                </a:lnTo>
                <a:cubicBezTo>
                  <a:pt x="3818470" y="354311"/>
                  <a:pt x="3835130" y="351030"/>
                  <a:pt x="3848256" y="344467"/>
                </a:cubicBezTo>
                <a:cubicBezTo>
                  <a:pt x="3861380" y="337904"/>
                  <a:pt x="3867944" y="326378"/>
                  <a:pt x="3867944" y="309887"/>
                </a:cubicBezTo>
                <a:cubicBezTo>
                  <a:pt x="3867944" y="296425"/>
                  <a:pt x="3863652" y="285150"/>
                  <a:pt x="3855072" y="276063"/>
                </a:cubicBezTo>
                <a:cubicBezTo>
                  <a:pt x="3846488" y="266977"/>
                  <a:pt x="3831596" y="262433"/>
                  <a:pt x="3810394" y="262433"/>
                </a:cubicBezTo>
                <a:cubicBezTo>
                  <a:pt x="3793230" y="262433"/>
                  <a:pt x="3778506" y="264284"/>
                  <a:pt x="3766222" y="267986"/>
                </a:cubicBezTo>
                <a:cubicBezTo>
                  <a:pt x="3753938" y="271688"/>
                  <a:pt x="3743924" y="275222"/>
                  <a:pt x="3736184" y="278588"/>
                </a:cubicBezTo>
                <a:lnTo>
                  <a:pt x="3724068" y="226591"/>
                </a:lnTo>
                <a:cubicBezTo>
                  <a:pt x="3727770" y="224908"/>
                  <a:pt x="3732988" y="223057"/>
                  <a:pt x="3739718" y="221037"/>
                </a:cubicBezTo>
                <a:cubicBezTo>
                  <a:pt x="3746450" y="219018"/>
                  <a:pt x="3753770" y="217167"/>
                  <a:pt x="3761678" y="215484"/>
                </a:cubicBezTo>
                <a:cubicBezTo>
                  <a:pt x="3769588" y="213802"/>
                  <a:pt x="3777832" y="212371"/>
                  <a:pt x="3786414" y="211193"/>
                </a:cubicBezTo>
                <a:cubicBezTo>
                  <a:pt x="3794996" y="210015"/>
                  <a:pt x="3803158" y="209427"/>
                  <a:pt x="3810898" y="209427"/>
                </a:cubicBezTo>
                <a:cubicBezTo>
                  <a:pt x="3831764" y="209427"/>
                  <a:pt x="3849770" y="211867"/>
                  <a:pt x="3864916" y="216746"/>
                </a:cubicBezTo>
                <a:cubicBezTo>
                  <a:pt x="3880060" y="221626"/>
                  <a:pt x="3892512" y="228526"/>
                  <a:pt x="3902272" y="237444"/>
                </a:cubicBezTo>
                <a:cubicBezTo>
                  <a:pt x="3912032" y="246363"/>
                  <a:pt x="3919268" y="256880"/>
                  <a:pt x="3923980" y="268996"/>
                </a:cubicBezTo>
                <a:cubicBezTo>
                  <a:pt x="3928692" y="281112"/>
                  <a:pt x="3931048" y="294405"/>
                  <a:pt x="3931048" y="308877"/>
                </a:cubicBezTo>
                <a:cubicBezTo>
                  <a:pt x="3931048" y="327051"/>
                  <a:pt x="3926588" y="342700"/>
                  <a:pt x="3917668" y="355826"/>
                </a:cubicBezTo>
                <a:cubicBezTo>
                  <a:pt x="3908750" y="368951"/>
                  <a:pt x="3896214" y="378879"/>
                  <a:pt x="3880060" y="385610"/>
                </a:cubicBezTo>
                <a:cubicBezTo>
                  <a:pt x="3891840" y="391668"/>
                  <a:pt x="3901262" y="400419"/>
                  <a:pt x="3908330" y="411861"/>
                </a:cubicBezTo>
                <a:cubicBezTo>
                  <a:pt x="3915398" y="423304"/>
                  <a:pt x="3918932" y="435252"/>
                  <a:pt x="3918932" y="447704"/>
                </a:cubicBezTo>
                <a:cubicBezTo>
                  <a:pt x="3918932" y="460156"/>
                  <a:pt x="3916912" y="471767"/>
                  <a:pt x="3912874" y="482537"/>
                </a:cubicBezTo>
                <a:cubicBezTo>
                  <a:pt x="3908834" y="493306"/>
                  <a:pt x="3902608" y="502646"/>
                  <a:pt x="3894196" y="510555"/>
                </a:cubicBezTo>
                <a:cubicBezTo>
                  <a:pt x="3885780" y="518464"/>
                  <a:pt x="3875096" y="524606"/>
                  <a:pt x="3862138" y="528981"/>
                </a:cubicBezTo>
                <a:cubicBezTo>
                  <a:pt x="3849180" y="533356"/>
                  <a:pt x="3833952" y="535544"/>
                  <a:pt x="3816452" y="535544"/>
                </a:cubicBezTo>
                <a:close/>
                <a:moveTo>
                  <a:pt x="3567354" y="535544"/>
                </a:moveTo>
                <a:cubicBezTo>
                  <a:pt x="3549854" y="535544"/>
                  <a:pt x="3532268" y="532178"/>
                  <a:pt x="3514600" y="525447"/>
                </a:cubicBezTo>
                <a:cubicBezTo>
                  <a:pt x="3496930" y="518716"/>
                  <a:pt x="3481366" y="508283"/>
                  <a:pt x="3467904" y="494148"/>
                </a:cubicBezTo>
                <a:lnTo>
                  <a:pt x="3498698" y="450733"/>
                </a:lnTo>
                <a:cubicBezTo>
                  <a:pt x="3509130" y="461839"/>
                  <a:pt x="3519732" y="469748"/>
                  <a:pt x="3530502" y="474460"/>
                </a:cubicBezTo>
                <a:cubicBezTo>
                  <a:pt x="3541272" y="479171"/>
                  <a:pt x="3551536" y="481527"/>
                  <a:pt x="3561296" y="481527"/>
                </a:cubicBezTo>
                <a:cubicBezTo>
                  <a:pt x="3573076" y="481527"/>
                  <a:pt x="3582836" y="478078"/>
                  <a:pt x="3590576" y="471178"/>
                </a:cubicBezTo>
                <a:cubicBezTo>
                  <a:pt x="3598316" y="464279"/>
                  <a:pt x="3602186" y="454435"/>
                  <a:pt x="3602188" y="441646"/>
                </a:cubicBezTo>
                <a:cubicBezTo>
                  <a:pt x="3602186" y="432559"/>
                  <a:pt x="3599074" y="423641"/>
                  <a:pt x="3592848" y="414890"/>
                </a:cubicBezTo>
                <a:cubicBezTo>
                  <a:pt x="3586622" y="406140"/>
                  <a:pt x="3578712" y="397053"/>
                  <a:pt x="3569120" y="387630"/>
                </a:cubicBezTo>
                <a:cubicBezTo>
                  <a:pt x="3559528" y="378206"/>
                  <a:pt x="3549264" y="368362"/>
                  <a:pt x="3538326" y="358097"/>
                </a:cubicBezTo>
                <a:cubicBezTo>
                  <a:pt x="3527388" y="347833"/>
                  <a:pt x="3517124" y="336727"/>
                  <a:pt x="3507532" y="324779"/>
                </a:cubicBezTo>
                <a:cubicBezTo>
                  <a:pt x="3497940" y="312831"/>
                  <a:pt x="3490032" y="299790"/>
                  <a:pt x="3483806" y="285655"/>
                </a:cubicBezTo>
                <a:cubicBezTo>
                  <a:pt x="3477580" y="271520"/>
                  <a:pt x="3474466" y="256039"/>
                  <a:pt x="3474466" y="239211"/>
                </a:cubicBezTo>
                <a:cubicBezTo>
                  <a:pt x="3474466" y="237192"/>
                  <a:pt x="3474382" y="233658"/>
                  <a:pt x="3474214" y="228610"/>
                </a:cubicBezTo>
                <a:cubicBezTo>
                  <a:pt x="3474046" y="223562"/>
                  <a:pt x="3474466" y="219355"/>
                  <a:pt x="3475476" y="215989"/>
                </a:cubicBezTo>
                <a:lnTo>
                  <a:pt x="3679426" y="215989"/>
                </a:lnTo>
                <a:lnTo>
                  <a:pt x="3679426" y="267481"/>
                </a:lnTo>
                <a:lnTo>
                  <a:pt x="3545142" y="267481"/>
                </a:lnTo>
                <a:cubicBezTo>
                  <a:pt x="3545142" y="272530"/>
                  <a:pt x="3546908" y="278083"/>
                  <a:pt x="3550442" y="284141"/>
                </a:cubicBezTo>
                <a:cubicBezTo>
                  <a:pt x="3553976" y="290198"/>
                  <a:pt x="3558268" y="296172"/>
                  <a:pt x="3563316" y="302062"/>
                </a:cubicBezTo>
                <a:cubicBezTo>
                  <a:pt x="3568364" y="307952"/>
                  <a:pt x="3573748" y="313673"/>
                  <a:pt x="3579470" y="319226"/>
                </a:cubicBezTo>
                <a:cubicBezTo>
                  <a:pt x="3585190" y="324779"/>
                  <a:pt x="3590240" y="329575"/>
                  <a:pt x="3594614" y="333613"/>
                </a:cubicBezTo>
                <a:cubicBezTo>
                  <a:pt x="3603364" y="341691"/>
                  <a:pt x="3611946" y="350104"/>
                  <a:pt x="3620360" y="358855"/>
                </a:cubicBezTo>
                <a:cubicBezTo>
                  <a:pt x="3628774" y="367605"/>
                  <a:pt x="3636346" y="376692"/>
                  <a:pt x="3643078" y="386115"/>
                </a:cubicBezTo>
                <a:cubicBezTo>
                  <a:pt x="3649808" y="395539"/>
                  <a:pt x="3655194" y="405214"/>
                  <a:pt x="3659232" y="415143"/>
                </a:cubicBezTo>
                <a:cubicBezTo>
                  <a:pt x="3663270" y="425071"/>
                  <a:pt x="3665290" y="435420"/>
                  <a:pt x="3665290" y="446189"/>
                </a:cubicBezTo>
                <a:cubicBezTo>
                  <a:pt x="3665290" y="460998"/>
                  <a:pt x="3662598" y="474039"/>
                  <a:pt x="3657212" y="485313"/>
                </a:cubicBezTo>
                <a:cubicBezTo>
                  <a:pt x="3651828" y="496588"/>
                  <a:pt x="3644592" y="505927"/>
                  <a:pt x="3635506" y="513331"/>
                </a:cubicBezTo>
                <a:cubicBezTo>
                  <a:pt x="3626418" y="520735"/>
                  <a:pt x="3615986" y="526288"/>
                  <a:pt x="3604206" y="529990"/>
                </a:cubicBezTo>
                <a:cubicBezTo>
                  <a:pt x="3592426" y="533692"/>
                  <a:pt x="3580142" y="535544"/>
                  <a:pt x="3567354" y="535544"/>
                </a:cubicBezTo>
                <a:close/>
                <a:moveTo>
                  <a:pt x="3324752" y="535544"/>
                </a:moveTo>
                <a:cubicBezTo>
                  <a:pt x="3290088" y="535544"/>
                  <a:pt x="3263332" y="522081"/>
                  <a:pt x="3244486" y="495157"/>
                </a:cubicBezTo>
                <a:cubicBezTo>
                  <a:pt x="3225638" y="468233"/>
                  <a:pt x="3216214" y="427511"/>
                  <a:pt x="3216214" y="372990"/>
                </a:cubicBezTo>
                <a:cubicBezTo>
                  <a:pt x="3216214" y="317796"/>
                  <a:pt x="3225470" y="276737"/>
                  <a:pt x="3243980" y="249813"/>
                </a:cubicBezTo>
                <a:cubicBezTo>
                  <a:pt x="3262490" y="222889"/>
                  <a:pt x="3289414" y="209427"/>
                  <a:pt x="3324752" y="209427"/>
                </a:cubicBezTo>
                <a:cubicBezTo>
                  <a:pt x="3360090" y="209427"/>
                  <a:pt x="3387014" y="222889"/>
                  <a:pt x="3405524" y="249813"/>
                </a:cubicBezTo>
                <a:cubicBezTo>
                  <a:pt x="3424034" y="276737"/>
                  <a:pt x="3433290" y="317796"/>
                  <a:pt x="3433290" y="372990"/>
                </a:cubicBezTo>
                <a:cubicBezTo>
                  <a:pt x="3433290" y="427847"/>
                  <a:pt x="3424034" y="468654"/>
                  <a:pt x="3405524" y="495410"/>
                </a:cubicBezTo>
                <a:cubicBezTo>
                  <a:pt x="3387014" y="522166"/>
                  <a:pt x="3360090" y="535544"/>
                  <a:pt x="3324752" y="535544"/>
                </a:cubicBezTo>
                <a:close/>
                <a:moveTo>
                  <a:pt x="3062528" y="535544"/>
                </a:moveTo>
                <a:cubicBezTo>
                  <a:pt x="3045028" y="535544"/>
                  <a:pt x="3027444" y="532178"/>
                  <a:pt x="3009774" y="525447"/>
                </a:cubicBezTo>
                <a:cubicBezTo>
                  <a:pt x="2992106" y="518716"/>
                  <a:pt x="2976540" y="508283"/>
                  <a:pt x="2963078" y="494148"/>
                </a:cubicBezTo>
                <a:lnTo>
                  <a:pt x="2993872" y="450733"/>
                </a:lnTo>
                <a:cubicBezTo>
                  <a:pt x="3004306" y="461839"/>
                  <a:pt x="3014908" y="469748"/>
                  <a:pt x="3025676" y="474460"/>
                </a:cubicBezTo>
                <a:cubicBezTo>
                  <a:pt x="3036446" y="479171"/>
                  <a:pt x="3046712" y="481527"/>
                  <a:pt x="3056472" y="481527"/>
                </a:cubicBezTo>
                <a:cubicBezTo>
                  <a:pt x="3068250" y="481527"/>
                  <a:pt x="3078010" y="478078"/>
                  <a:pt x="3085752" y="471178"/>
                </a:cubicBezTo>
                <a:cubicBezTo>
                  <a:pt x="3093492" y="464279"/>
                  <a:pt x="3097362" y="454435"/>
                  <a:pt x="3097362" y="441646"/>
                </a:cubicBezTo>
                <a:cubicBezTo>
                  <a:pt x="3097362" y="432559"/>
                  <a:pt x="3094248" y="423641"/>
                  <a:pt x="3088022" y="414890"/>
                </a:cubicBezTo>
                <a:cubicBezTo>
                  <a:pt x="3081796" y="406140"/>
                  <a:pt x="3073888" y="397053"/>
                  <a:pt x="3064296" y="387630"/>
                </a:cubicBezTo>
                <a:cubicBezTo>
                  <a:pt x="3054704" y="378206"/>
                  <a:pt x="3044440" y="368362"/>
                  <a:pt x="3033502" y="358097"/>
                </a:cubicBezTo>
                <a:cubicBezTo>
                  <a:pt x="3022564" y="347833"/>
                  <a:pt x="3012298" y="336727"/>
                  <a:pt x="3002708" y="324779"/>
                </a:cubicBezTo>
                <a:cubicBezTo>
                  <a:pt x="2993116" y="312831"/>
                  <a:pt x="2985206" y="299790"/>
                  <a:pt x="2978980" y="285655"/>
                </a:cubicBezTo>
                <a:cubicBezTo>
                  <a:pt x="2972754" y="271520"/>
                  <a:pt x="2969642" y="256039"/>
                  <a:pt x="2969642" y="239211"/>
                </a:cubicBezTo>
                <a:cubicBezTo>
                  <a:pt x="2969642" y="237192"/>
                  <a:pt x="2969558" y="233658"/>
                  <a:pt x="2969388" y="228610"/>
                </a:cubicBezTo>
                <a:cubicBezTo>
                  <a:pt x="2969220" y="223562"/>
                  <a:pt x="2969640" y="219355"/>
                  <a:pt x="2970650" y="215989"/>
                </a:cubicBezTo>
                <a:lnTo>
                  <a:pt x="3174600" y="215989"/>
                </a:lnTo>
                <a:lnTo>
                  <a:pt x="3174600" y="267481"/>
                </a:lnTo>
                <a:lnTo>
                  <a:pt x="3040316" y="267481"/>
                </a:lnTo>
                <a:cubicBezTo>
                  <a:pt x="3040316" y="272530"/>
                  <a:pt x="3042084" y="278083"/>
                  <a:pt x="3045618" y="284141"/>
                </a:cubicBezTo>
                <a:cubicBezTo>
                  <a:pt x="3049152" y="290198"/>
                  <a:pt x="3053442" y="296172"/>
                  <a:pt x="3058490" y="302062"/>
                </a:cubicBezTo>
                <a:cubicBezTo>
                  <a:pt x="3063538" y="307952"/>
                  <a:pt x="3068924" y="313673"/>
                  <a:pt x="3074644" y="319226"/>
                </a:cubicBezTo>
                <a:cubicBezTo>
                  <a:pt x="3080366" y="324779"/>
                  <a:pt x="3085414" y="329575"/>
                  <a:pt x="3089790" y="333613"/>
                </a:cubicBezTo>
                <a:cubicBezTo>
                  <a:pt x="3098540" y="341691"/>
                  <a:pt x="3107122" y="350104"/>
                  <a:pt x="3115536" y="358855"/>
                </a:cubicBezTo>
                <a:cubicBezTo>
                  <a:pt x="3123950" y="367605"/>
                  <a:pt x="3131522" y="376692"/>
                  <a:pt x="3138252" y="386115"/>
                </a:cubicBezTo>
                <a:cubicBezTo>
                  <a:pt x="3144984" y="395539"/>
                  <a:pt x="3150368" y="405214"/>
                  <a:pt x="3154408" y="415143"/>
                </a:cubicBezTo>
                <a:cubicBezTo>
                  <a:pt x="3158446" y="425071"/>
                  <a:pt x="3160464" y="435420"/>
                  <a:pt x="3160464" y="446189"/>
                </a:cubicBezTo>
                <a:cubicBezTo>
                  <a:pt x="3160464" y="460998"/>
                  <a:pt x="3157772" y="474039"/>
                  <a:pt x="3152388" y="485313"/>
                </a:cubicBezTo>
                <a:cubicBezTo>
                  <a:pt x="3147002" y="496588"/>
                  <a:pt x="3139766" y="505927"/>
                  <a:pt x="3130680" y="513331"/>
                </a:cubicBezTo>
                <a:cubicBezTo>
                  <a:pt x="3121594" y="520735"/>
                  <a:pt x="3111160" y="526288"/>
                  <a:pt x="3099382" y="529990"/>
                </a:cubicBezTo>
                <a:cubicBezTo>
                  <a:pt x="3087602" y="533692"/>
                  <a:pt x="3075318" y="535544"/>
                  <a:pt x="3062528" y="535544"/>
                </a:cubicBezTo>
                <a:close/>
                <a:moveTo>
                  <a:pt x="2292890" y="561290"/>
                </a:moveTo>
                <a:cubicBezTo>
                  <a:pt x="2282120" y="561290"/>
                  <a:pt x="2272949" y="557756"/>
                  <a:pt x="2265377" y="550688"/>
                </a:cubicBezTo>
                <a:cubicBezTo>
                  <a:pt x="2257805" y="543621"/>
                  <a:pt x="2254018" y="533861"/>
                  <a:pt x="2254018" y="521408"/>
                </a:cubicBezTo>
                <a:cubicBezTo>
                  <a:pt x="2254018" y="509293"/>
                  <a:pt x="2257805" y="499701"/>
                  <a:pt x="2265377" y="492633"/>
                </a:cubicBezTo>
                <a:cubicBezTo>
                  <a:pt x="2272949" y="485566"/>
                  <a:pt x="2282120" y="482032"/>
                  <a:pt x="2292890" y="482032"/>
                </a:cubicBezTo>
                <a:cubicBezTo>
                  <a:pt x="2303660" y="482032"/>
                  <a:pt x="2312914" y="485566"/>
                  <a:pt x="2320655" y="492633"/>
                </a:cubicBezTo>
                <a:cubicBezTo>
                  <a:pt x="2328396" y="499701"/>
                  <a:pt x="2332266" y="509293"/>
                  <a:pt x="2332266" y="521408"/>
                </a:cubicBezTo>
                <a:cubicBezTo>
                  <a:pt x="2332266" y="533861"/>
                  <a:pt x="2328396" y="543621"/>
                  <a:pt x="2320655" y="550688"/>
                </a:cubicBezTo>
                <a:cubicBezTo>
                  <a:pt x="2312914" y="557756"/>
                  <a:pt x="2303660" y="561290"/>
                  <a:pt x="2292890" y="561290"/>
                </a:cubicBezTo>
                <a:close/>
                <a:moveTo>
                  <a:pt x="1959420" y="563309"/>
                </a:moveTo>
                <a:lnTo>
                  <a:pt x="1959420" y="511817"/>
                </a:lnTo>
                <a:lnTo>
                  <a:pt x="2025047" y="511817"/>
                </a:lnTo>
                <a:lnTo>
                  <a:pt x="2025047" y="310392"/>
                </a:lnTo>
                <a:cubicBezTo>
                  <a:pt x="2025047" y="277746"/>
                  <a:pt x="2031610" y="252926"/>
                  <a:pt x="2044735" y="235930"/>
                </a:cubicBezTo>
                <a:cubicBezTo>
                  <a:pt x="2057860" y="218934"/>
                  <a:pt x="2078727" y="210436"/>
                  <a:pt x="2107333" y="210436"/>
                </a:cubicBezTo>
                <a:cubicBezTo>
                  <a:pt x="2117767" y="210436"/>
                  <a:pt x="2127106" y="211109"/>
                  <a:pt x="2135351" y="212455"/>
                </a:cubicBezTo>
                <a:cubicBezTo>
                  <a:pt x="2143597" y="213802"/>
                  <a:pt x="2150580" y="215400"/>
                  <a:pt x="2156302" y="217251"/>
                </a:cubicBezTo>
                <a:cubicBezTo>
                  <a:pt x="2162023" y="219102"/>
                  <a:pt x="2166650" y="220869"/>
                  <a:pt x="2170184" y="222552"/>
                </a:cubicBezTo>
                <a:cubicBezTo>
                  <a:pt x="2173718" y="224235"/>
                  <a:pt x="2175990" y="225413"/>
                  <a:pt x="2176999" y="226086"/>
                </a:cubicBezTo>
                <a:lnTo>
                  <a:pt x="2168922" y="276063"/>
                </a:lnTo>
                <a:cubicBezTo>
                  <a:pt x="2166230" y="275054"/>
                  <a:pt x="2160677" y="272866"/>
                  <a:pt x="2152263" y="269501"/>
                </a:cubicBezTo>
                <a:cubicBezTo>
                  <a:pt x="2143849" y="266135"/>
                  <a:pt x="2133416" y="264452"/>
                  <a:pt x="2120964" y="264452"/>
                </a:cubicBezTo>
                <a:cubicBezTo>
                  <a:pt x="2111204" y="264452"/>
                  <a:pt x="2103126" y="267313"/>
                  <a:pt x="2096732" y="273034"/>
                </a:cubicBezTo>
                <a:cubicBezTo>
                  <a:pt x="2090338" y="278756"/>
                  <a:pt x="2087140" y="289694"/>
                  <a:pt x="2087140" y="305848"/>
                </a:cubicBezTo>
                <a:lnTo>
                  <a:pt x="2087140" y="563309"/>
                </a:lnTo>
                <a:close/>
                <a:moveTo>
                  <a:pt x="1607052" y="565833"/>
                </a:moveTo>
                <a:cubicBezTo>
                  <a:pt x="1594263" y="565833"/>
                  <a:pt x="1581811" y="564234"/>
                  <a:pt x="1569695" y="561037"/>
                </a:cubicBezTo>
                <a:cubicBezTo>
                  <a:pt x="1557579" y="557840"/>
                  <a:pt x="1546810" y="552455"/>
                  <a:pt x="1537386" y="544883"/>
                </a:cubicBezTo>
                <a:cubicBezTo>
                  <a:pt x="1527963" y="537310"/>
                  <a:pt x="1520474" y="527214"/>
                  <a:pt x="1514921" y="514593"/>
                </a:cubicBezTo>
                <a:cubicBezTo>
                  <a:pt x="1509368" y="501973"/>
                  <a:pt x="1506592" y="486071"/>
                  <a:pt x="1506592" y="466887"/>
                </a:cubicBezTo>
                <a:lnTo>
                  <a:pt x="1506592" y="453257"/>
                </a:lnTo>
                <a:lnTo>
                  <a:pt x="1454595" y="453257"/>
                </a:lnTo>
                <a:lnTo>
                  <a:pt x="1454595" y="401765"/>
                </a:lnTo>
                <a:lnTo>
                  <a:pt x="1506592" y="401765"/>
                </a:lnTo>
                <a:lnTo>
                  <a:pt x="1506592" y="215989"/>
                </a:lnTo>
                <a:lnTo>
                  <a:pt x="1569190" y="215989"/>
                </a:lnTo>
                <a:lnTo>
                  <a:pt x="1569190" y="401765"/>
                </a:lnTo>
                <a:lnTo>
                  <a:pt x="1666621" y="401765"/>
                </a:lnTo>
                <a:lnTo>
                  <a:pt x="1666621" y="453257"/>
                </a:lnTo>
                <a:lnTo>
                  <a:pt x="1569190" y="453257"/>
                </a:lnTo>
                <a:lnTo>
                  <a:pt x="1569190" y="465878"/>
                </a:lnTo>
                <a:cubicBezTo>
                  <a:pt x="1569190" y="475974"/>
                  <a:pt x="1570368" y="484135"/>
                  <a:pt x="1572724" y="490362"/>
                </a:cubicBezTo>
                <a:cubicBezTo>
                  <a:pt x="1575080" y="496588"/>
                  <a:pt x="1578193" y="501384"/>
                  <a:pt x="1582063" y="504749"/>
                </a:cubicBezTo>
                <a:cubicBezTo>
                  <a:pt x="1585933" y="508115"/>
                  <a:pt x="1590477" y="510302"/>
                  <a:pt x="1595693" y="511312"/>
                </a:cubicBezTo>
                <a:cubicBezTo>
                  <a:pt x="1600910" y="512322"/>
                  <a:pt x="1606379" y="512826"/>
                  <a:pt x="1612100" y="512826"/>
                </a:cubicBezTo>
                <a:cubicBezTo>
                  <a:pt x="1622533" y="512826"/>
                  <a:pt x="1633555" y="511396"/>
                  <a:pt x="1645166" y="508535"/>
                </a:cubicBezTo>
                <a:cubicBezTo>
                  <a:pt x="1656777" y="505675"/>
                  <a:pt x="1666453" y="502898"/>
                  <a:pt x="1674194" y="500206"/>
                </a:cubicBezTo>
                <a:lnTo>
                  <a:pt x="1684795" y="550688"/>
                </a:lnTo>
                <a:cubicBezTo>
                  <a:pt x="1673689" y="556073"/>
                  <a:pt x="1661236" y="559943"/>
                  <a:pt x="1647438" y="562299"/>
                </a:cubicBezTo>
                <a:cubicBezTo>
                  <a:pt x="1633639" y="564655"/>
                  <a:pt x="1620178" y="565833"/>
                  <a:pt x="1607052" y="565833"/>
                </a:cubicBezTo>
                <a:close/>
                <a:moveTo>
                  <a:pt x="0" y="796029"/>
                </a:moveTo>
                <a:lnTo>
                  <a:pt x="4876802" y="796029"/>
                </a:lnTo>
                <a:lnTo>
                  <a:pt x="4824822" y="344498"/>
                </a:lnTo>
                <a:cubicBezTo>
                  <a:pt x="4801968" y="145891"/>
                  <a:pt x="4682292" y="207"/>
                  <a:pt x="4541980" y="155"/>
                </a:cubicBezTo>
                <a:lnTo>
                  <a:pt x="0" y="0"/>
                </a:lnTo>
                <a:close/>
              </a:path>
            </a:pathLst>
          </a:custGeom>
          <a:solidFill>
            <a:schemeClr val="bg1"/>
          </a:solidFill>
          <a:ln w="2834" cap="flat">
            <a:noFill/>
            <a:prstDash val="solid"/>
            <a:miter/>
          </a:ln>
        </p:spPr>
        <p:txBody>
          <a:bodyPr wrap="square" rtlCol="0" anchor="ctr">
            <a:noAutofit/>
          </a:bodyPr>
          <a:lstStyle/>
          <a:p>
            <a:endParaRPr lang="en-US" dirty="0"/>
          </a:p>
        </p:txBody>
      </p:sp>
      <p:pic>
        <p:nvPicPr>
          <p:cNvPr id="8" name="Imagen 7" descr="Un dibujo de una cara feliz&#10;&#10;Descripción generada automáticamente con confianza baja">
            <a:extLst>
              <a:ext uri="{FF2B5EF4-FFF2-40B4-BE49-F238E27FC236}">
                <a16:creationId xmlns:a16="http://schemas.microsoft.com/office/drawing/2014/main" id="{A82FAAE7-F450-2EFB-B470-9CA2B285AACF}"/>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7824450" y="406400"/>
            <a:ext cx="1801936" cy="934010"/>
          </a:xfrm>
          <a:prstGeom prst="rect">
            <a:avLst/>
          </a:prstGeom>
        </p:spPr>
      </p:pic>
      <p:sp>
        <p:nvSpPr>
          <p:cNvPr id="10" name="Título 9">
            <a:extLst>
              <a:ext uri="{FF2B5EF4-FFF2-40B4-BE49-F238E27FC236}">
                <a16:creationId xmlns:a16="http://schemas.microsoft.com/office/drawing/2014/main" id="{7E8DAFFC-ADDB-1273-AA91-4852BCB21C8E}"/>
              </a:ext>
            </a:extLst>
          </p:cNvPr>
          <p:cNvSpPr>
            <a:spLocks noGrp="1"/>
          </p:cNvSpPr>
          <p:nvPr>
            <p:ph type="title" hasCustomPrompt="1"/>
          </p:nvPr>
        </p:nvSpPr>
        <p:spPr>
          <a:xfrm>
            <a:off x="781051" y="1473200"/>
            <a:ext cx="10971530" cy="646331"/>
          </a:xfrm>
        </p:spPr>
        <p:txBody>
          <a:bodyPr/>
          <a:lstStyle>
            <a:lvl1pPr>
              <a:defRPr sz="4200" b="1" i="0">
                <a:solidFill>
                  <a:schemeClr val="bg1"/>
                </a:solidFill>
                <a:latin typeface="Ubuntu" panose="020B0504030602030204" pitchFamily="34" charset="0"/>
              </a:defRPr>
            </a:lvl1pPr>
          </a:lstStyle>
          <a:p>
            <a:r>
              <a:rPr lang="es-ES" dirty="0"/>
              <a:t>ASDFASFD</a:t>
            </a:r>
          </a:p>
        </p:txBody>
      </p:sp>
      <p:sp>
        <p:nvSpPr>
          <p:cNvPr id="11" name="object 12">
            <a:extLst>
              <a:ext uri="{FF2B5EF4-FFF2-40B4-BE49-F238E27FC236}">
                <a16:creationId xmlns:a16="http://schemas.microsoft.com/office/drawing/2014/main" id="{527854C5-8C21-D1AB-7E04-F771C691CE29}"/>
              </a:ext>
            </a:extLst>
          </p:cNvPr>
          <p:cNvSpPr txBox="1"/>
          <p:nvPr userDrawn="1"/>
        </p:nvSpPr>
        <p:spPr>
          <a:xfrm>
            <a:off x="779780" y="787400"/>
            <a:ext cx="10948670" cy="567463"/>
          </a:xfrm>
          <a:prstGeom prst="rect">
            <a:avLst/>
          </a:prstGeom>
        </p:spPr>
        <p:txBody>
          <a:bodyPr vert="horz" wrap="square" lIns="0" tIns="13335" rIns="0" bIns="0" rtlCol="0">
            <a:spAutoFit/>
          </a:bodyPr>
          <a:lstStyle/>
          <a:p>
            <a:pPr marL="12700">
              <a:lnSpc>
                <a:spcPct val="100000"/>
              </a:lnSpc>
              <a:spcBef>
                <a:spcPts val="105"/>
              </a:spcBef>
            </a:pPr>
            <a:r>
              <a:rPr lang="en-US" sz="3600" spc="-30" dirty="0">
                <a:solidFill>
                  <a:srgbClr val="FFFFFF"/>
                </a:solidFill>
                <a:latin typeface="Ubuntu Mono" panose="020B0509030602030204" pitchFamily="49" charset="0"/>
                <a:cs typeface="Ubuntu"/>
              </a:rPr>
              <a:t>Thinking about…</a:t>
            </a:r>
            <a:endParaRPr lang="en-US" sz="3600" dirty="0">
              <a:latin typeface="Ubuntu"/>
              <a:cs typeface="Ubuntu"/>
            </a:endParaRPr>
          </a:p>
        </p:txBody>
      </p:sp>
      <p:sp>
        <p:nvSpPr>
          <p:cNvPr id="15" name="Marcador de texto 14">
            <a:extLst>
              <a:ext uri="{FF2B5EF4-FFF2-40B4-BE49-F238E27FC236}">
                <a16:creationId xmlns:a16="http://schemas.microsoft.com/office/drawing/2014/main" id="{894536B8-BEFF-96E8-2A83-A0B97363D840}"/>
              </a:ext>
            </a:extLst>
          </p:cNvPr>
          <p:cNvSpPr>
            <a:spLocks noGrp="1"/>
          </p:cNvSpPr>
          <p:nvPr>
            <p:ph type="body" sz="quarter" idx="10"/>
          </p:nvPr>
        </p:nvSpPr>
        <p:spPr>
          <a:xfrm>
            <a:off x="755650" y="2754313"/>
            <a:ext cx="10996613" cy="7326819"/>
          </a:xfrm>
          <a:prstGeom prst="rect">
            <a:avLst/>
          </a:prstGeom>
        </p:spPr>
        <p:txBody>
          <a:bodyPr/>
          <a:lstStyle>
            <a:lvl1pPr>
              <a:defRPr sz="2900" b="0" i="0">
                <a:solidFill>
                  <a:schemeClr val="bg1"/>
                </a:solidFill>
                <a:latin typeface="Ubuntu Light" panose="020B0304030602030204" pitchFamily="34" charset="0"/>
              </a:defRPr>
            </a:lvl1pPr>
            <a:lvl2pPr>
              <a:defRPr sz="2900" b="0" i="0">
                <a:solidFill>
                  <a:schemeClr val="bg1"/>
                </a:solidFill>
                <a:latin typeface="Ubuntu Light" panose="020B0304030602030204" pitchFamily="34" charset="0"/>
              </a:defRPr>
            </a:lvl2pPr>
            <a:lvl3pPr>
              <a:defRPr sz="2900" b="0" i="0">
                <a:solidFill>
                  <a:schemeClr val="bg1"/>
                </a:solidFill>
                <a:latin typeface="Ubuntu Light" panose="020B0304030602030204" pitchFamily="34" charset="0"/>
              </a:defRPr>
            </a:lvl3pPr>
            <a:lvl4pPr>
              <a:defRPr sz="2900" b="0" i="0">
                <a:solidFill>
                  <a:schemeClr val="bg1"/>
                </a:solidFill>
                <a:latin typeface="Ubuntu Light" panose="020B0304030602030204" pitchFamily="34" charset="0"/>
              </a:defRPr>
            </a:lvl4pPr>
            <a:lvl5pPr>
              <a:defRPr sz="2900" b="0" i="0">
                <a:solidFill>
                  <a:schemeClr val="bg1"/>
                </a:solidFill>
                <a:latin typeface="Ubuntu Light" panose="020B0304030602030204" pitchFamily="34" charset="0"/>
              </a:defRPr>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p>
        </p:txBody>
      </p:sp>
    </p:spTree>
    <p:extLst>
      <p:ext uri="{BB962C8B-B14F-4D97-AF65-F5344CB8AC3E}">
        <p14:creationId xmlns:p14="http://schemas.microsoft.com/office/powerpoint/2010/main" val="1827566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0_Title and Content">
    <p:spTree>
      <p:nvGrpSpPr>
        <p:cNvPr id="1" name=""/>
        <p:cNvGrpSpPr/>
        <p:nvPr/>
      </p:nvGrpSpPr>
      <p:grpSpPr>
        <a:xfrm>
          <a:off x="0" y="0"/>
          <a:ext cx="0" cy="0"/>
          <a:chOff x="0" y="0"/>
          <a:chExt cx="0" cy="0"/>
        </a:xfrm>
      </p:grpSpPr>
      <p:pic>
        <p:nvPicPr>
          <p:cNvPr id="7" name="Imagen 6" descr="Un conjunto de letras negras en un fondo negro&#10;&#10;Descripción generada automáticamente con confianza baja">
            <a:extLst>
              <a:ext uri="{FF2B5EF4-FFF2-40B4-BE49-F238E27FC236}">
                <a16:creationId xmlns:a16="http://schemas.microsoft.com/office/drawing/2014/main" id="{5FC52C0B-6484-13F4-019A-395FE843A296}"/>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1938" y="891"/>
            <a:ext cx="20092162" cy="11316208"/>
          </a:xfrm>
          <a:prstGeom prst="rect">
            <a:avLst/>
          </a:prstGeom>
        </p:spPr>
      </p:pic>
      <p:sp>
        <p:nvSpPr>
          <p:cNvPr id="9" name="Rectángulo 8">
            <a:extLst>
              <a:ext uri="{FF2B5EF4-FFF2-40B4-BE49-F238E27FC236}">
                <a16:creationId xmlns:a16="http://schemas.microsoft.com/office/drawing/2014/main" id="{3F90CFEE-F33C-2F9D-40DF-8EA853D9E733}"/>
              </a:ext>
            </a:extLst>
          </p:cNvPr>
          <p:cNvSpPr/>
          <p:nvPr userDrawn="1"/>
        </p:nvSpPr>
        <p:spPr>
          <a:xfrm>
            <a:off x="4870450" y="0"/>
            <a:ext cx="15233650" cy="11328400"/>
          </a:xfrm>
          <a:prstGeom prst="rect">
            <a:avLst/>
          </a:prstGeom>
          <a:gradFill flip="none" rotWithShape="1">
            <a:gsLst>
              <a:gs pos="0">
                <a:schemeClr val="tx1">
                  <a:alpha val="0"/>
                </a:schemeClr>
              </a:gs>
              <a:gs pos="91000">
                <a:schemeClr val="tx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4" name="Holder 4"/>
          <p:cNvSpPr>
            <a:spLocks noGrp="1"/>
          </p:cNvSpPr>
          <p:nvPr>
            <p:ph type="ftr" sz="quarter" idx="5"/>
          </p:nvPr>
        </p:nvSpPr>
        <p:spPr>
          <a:xfrm>
            <a:off x="16647741" y="10759212"/>
            <a:ext cx="2962677" cy="200055"/>
          </a:xfrm>
          <a:prstGeom prst="rect">
            <a:avLst/>
          </a:prstGeom>
        </p:spPr>
        <p:txBody>
          <a:bodyPr lIns="0" tIns="0" rIns="0" bIns="0"/>
          <a:lstStyle>
            <a:lvl1pPr>
              <a:defRPr sz="1300" b="0" i="0">
                <a:solidFill>
                  <a:schemeClr val="bg1"/>
                </a:solidFill>
                <a:latin typeface="Ubuntu Light"/>
                <a:cs typeface="Ubuntu Light"/>
              </a:defRPr>
            </a:lvl1pPr>
          </a:lstStyle>
          <a:p>
            <a:pPr marL="26034">
              <a:spcBef>
                <a:spcPts val="30"/>
              </a:spcBef>
            </a:pPr>
            <a:r>
              <a:rPr lang="es-ES" dirty="0"/>
              <a:t>Public</a:t>
            </a:r>
            <a:r>
              <a:rPr lang="es-ES" spc="-40" dirty="0"/>
              <a:t> </a:t>
            </a:r>
            <a:r>
              <a:rPr lang="es-ES" dirty="0"/>
              <a:t>©</a:t>
            </a:r>
            <a:r>
              <a:rPr lang="es-ES" spc="-40" dirty="0"/>
              <a:t> </a:t>
            </a:r>
            <a:r>
              <a:rPr lang="es-ES" dirty="0"/>
              <a:t>2023</a:t>
            </a:r>
            <a:r>
              <a:rPr lang="es-ES" spc="-40" dirty="0"/>
              <a:t> </a:t>
            </a:r>
            <a:r>
              <a:rPr lang="es-ES" spc="-10" dirty="0"/>
              <a:t>Sogeti.</a:t>
            </a:r>
            <a:r>
              <a:rPr lang="es-ES" spc="-35" dirty="0"/>
              <a:t> </a:t>
            </a:r>
            <a:r>
              <a:rPr lang="es-ES" dirty="0" err="1"/>
              <a:t>All</a:t>
            </a:r>
            <a:r>
              <a:rPr lang="es-ES" spc="-40" dirty="0"/>
              <a:t> </a:t>
            </a:r>
            <a:r>
              <a:rPr lang="es-ES" dirty="0"/>
              <a:t>rights</a:t>
            </a:r>
            <a:r>
              <a:rPr lang="es-ES" spc="-40" dirty="0"/>
              <a:t> </a:t>
            </a:r>
            <a:r>
              <a:rPr lang="es-ES" spc="-10" dirty="0" err="1"/>
              <a:t>reserved</a:t>
            </a:r>
            <a:endParaRPr lang="es-ES" spc="-10" dirty="0"/>
          </a:p>
        </p:txBody>
      </p:sp>
      <p:sp>
        <p:nvSpPr>
          <p:cNvPr id="2" name="CuadroTexto 1">
            <a:extLst>
              <a:ext uri="{FF2B5EF4-FFF2-40B4-BE49-F238E27FC236}">
                <a16:creationId xmlns:a16="http://schemas.microsoft.com/office/drawing/2014/main" id="{72E5CF79-7DA3-E21E-3060-87CB44907F25}"/>
              </a:ext>
            </a:extLst>
          </p:cNvPr>
          <p:cNvSpPr txBox="1"/>
          <p:nvPr userDrawn="1"/>
        </p:nvSpPr>
        <p:spPr>
          <a:xfrm>
            <a:off x="755650" y="10845800"/>
            <a:ext cx="7772400" cy="292388"/>
          </a:xfrm>
          <a:prstGeom prst="rect">
            <a:avLst/>
          </a:prstGeom>
          <a:noFill/>
        </p:spPr>
        <p:txBody>
          <a:bodyPr wrap="square" rtlCol="0">
            <a:spAutoFit/>
          </a:bodyPr>
          <a:lstStyle/>
          <a:p>
            <a:r>
              <a:rPr lang="es-ES" sz="1300" b="0" i="0" dirty="0">
                <a:solidFill>
                  <a:schemeClr val="bg1"/>
                </a:solidFill>
                <a:latin typeface="Ubuntu Medium" panose="020B0504030602030204" pitchFamily="34" charset="0"/>
              </a:rPr>
              <a:t>#FlourishingDigitalBusinessWithQuality </a:t>
            </a:r>
            <a:r>
              <a:rPr lang="es-ES" sz="1300" b="1" i="0" dirty="0">
                <a:solidFill>
                  <a:schemeClr val="bg1"/>
                </a:solidFill>
                <a:latin typeface="Ubuntu" panose="020B0504030602030204" pitchFamily="34" charset="0"/>
              </a:rPr>
              <a:t> </a:t>
            </a:r>
            <a:r>
              <a:rPr lang="es-ES" sz="1300" b="1" i="0" dirty="0">
                <a:solidFill>
                  <a:srgbClr val="290E3B"/>
                </a:solidFill>
                <a:latin typeface="Ubuntu" panose="020B0504030602030204" pitchFamily="34" charset="0"/>
              </a:rPr>
              <a:t>·</a:t>
            </a:r>
            <a:r>
              <a:rPr lang="es-ES" sz="1300" b="0" i="0" dirty="0">
                <a:solidFill>
                  <a:schemeClr val="tx2"/>
                </a:solidFill>
                <a:latin typeface="Ubuntu Medium" panose="020B0504030602030204" pitchFamily="34" charset="0"/>
              </a:rPr>
              <a:t>   </a:t>
            </a:r>
            <a:r>
              <a:rPr lang="es-ES" sz="1300" b="1" i="0" dirty="0">
                <a:solidFill>
                  <a:srgbClr val="12A9D8"/>
                </a:solidFill>
                <a:latin typeface="Ubuntu" panose="020B0504030602030204" pitchFamily="34" charset="0"/>
              </a:rPr>
              <a:t>Sogeti España</a:t>
            </a:r>
          </a:p>
        </p:txBody>
      </p:sp>
      <p:sp>
        <p:nvSpPr>
          <p:cNvPr id="5" name="Forma libre 4">
            <a:extLst>
              <a:ext uri="{FF2B5EF4-FFF2-40B4-BE49-F238E27FC236}">
                <a16:creationId xmlns:a16="http://schemas.microsoft.com/office/drawing/2014/main" id="{FBAABD7F-C513-9B40-6AE2-E43DB3944CCE}"/>
              </a:ext>
            </a:extLst>
          </p:cNvPr>
          <p:cNvSpPr/>
          <p:nvPr userDrawn="1"/>
        </p:nvSpPr>
        <p:spPr>
          <a:xfrm flipV="1">
            <a:off x="755650" y="10384024"/>
            <a:ext cx="2362200" cy="385576"/>
          </a:xfrm>
          <a:custGeom>
            <a:avLst/>
            <a:gdLst/>
            <a:ahLst/>
            <a:cxnLst/>
            <a:rect l="l" t="t" r="r" b="b"/>
            <a:pathLst>
              <a:path w="4876802" h="796029">
                <a:moveTo>
                  <a:pt x="2572782" y="405299"/>
                </a:moveTo>
                <a:cubicBezTo>
                  <a:pt x="2589609" y="405299"/>
                  <a:pt x="2601809" y="398820"/>
                  <a:pt x="2609382" y="385863"/>
                </a:cubicBezTo>
                <a:cubicBezTo>
                  <a:pt x="2616954" y="372906"/>
                  <a:pt x="2620740" y="355826"/>
                  <a:pt x="2620740" y="334623"/>
                </a:cubicBezTo>
                <a:cubicBezTo>
                  <a:pt x="2620740" y="313420"/>
                  <a:pt x="2616618" y="296256"/>
                  <a:pt x="2608372" y="283131"/>
                </a:cubicBezTo>
                <a:cubicBezTo>
                  <a:pt x="2600126" y="270006"/>
                  <a:pt x="2587927" y="263443"/>
                  <a:pt x="2571772" y="263443"/>
                </a:cubicBezTo>
                <a:cubicBezTo>
                  <a:pt x="2554945" y="263443"/>
                  <a:pt x="2542744" y="270006"/>
                  <a:pt x="2535172" y="283131"/>
                </a:cubicBezTo>
                <a:cubicBezTo>
                  <a:pt x="2527600" y="296256"/>
                  <a:pt x="2523814" y="313420"/>
                  <a:pt x="2523814" y="334623"/>
                </a:cubicBezTo>
                <a:cubicBezTo>
                  <a:pt x="2523814" y="355826"/>
                  <a:pt x="2527937" y="372906"/>
                  <a:pt x="2536182" y="385863"/>
                </a:cubicBezTo>
                <a:cubicBezTo>
                  <a:pt x="2544428" y="398820"/>
                  <a:pt x="2556628" y="405299"/>
                  <a:pt x="2572782" y="405299"/>
                </a:cubicBezTo>
                <a:close/>
                <a:moveTo>
                  <a:pt x="1810782" y="405299"/>
                </a:moveTo>
                <a:cubicBezTo>
                  <a:pt x="1827610" y="405299"/>
                  <a:pt x="1839810" y="398820"/>
                  <a:pt x="1847382" y="385863"/>
                </a:cubicBezTo>
                <a:cubicBezTo>
                  <a:pt x="1854954" y="372906"/>
                  <a:pt x="1858740" y="355826"/>
                  <a:pt x="1858740" y="334623"/>
                </a:cubicBezTo>
                <a:cubicBezTo>
                  <a:pt x="1858740" y="313420"/>
                  <a:pt x="1854618" y="296256"/>
                  <a:pt x="1846372" y="283131"/>
                </a:cubicBezTo>
                <a:cubicBezTo>
                  <a:pt x="1838127" y="270006"/>
                  <a:pt x="1825927" y="263443"/>
                  <a:pt x="1809772" y="263443"/>
                </a:cubicBezTo>
                <a:cubicBezTo>
                  <a:pt x="1792945" y="263443"/>
                  <a:pt x="1780745" y="270006"/>
                  <a:pt x="1773173" y="283131"/>
                </a:cubicBezTo>
                <a:cubicBezTo>
                  <a:pt x="1765600" y="296256"/>
                  <a:pt x="1761814" y="313420"/>
                  <a:pt x="1761814" y="334623"/>
                </a:cubicBezTo>
                <a:cubicBezTo>
                  <a:pt x="1761814" y="355826"/>
                  <a:pt x="1765937" y="372906"/>
                  <a:pt x="1774182" y="385863"/>
                </a:cubicBezTo>
                <a:cubicBezTo>
                  <a:pt x="1782428" y="398820"/>
                  <a:pt x="1794628" y="405299"/>
                  <a:pt x="1810782" y="405299"/>
                </a:cubicBezTo>
                <a:close/>
                <a:moveTo>
                  <a:pt x="810657" y="405299"/>
                </a:moveTo>
                <a:cubicBezTo>
                  <a:pt x="827485" y="405299"/>
                  <a:pt x="839684" y="398820"/>
                  <a:pt x="847257" y="385863"/>
                </a:cubicBezTo>
                <a:cubicBezTo>
                  <a:pt x="854829" y="372906"/>
                  <a:pt x="858615" y="355826"/>
                  <a:pt x="858616" y="334623"/>
                </a:cubicBezTo>
                <a:cubicBezTo>
                  <a:pt x="858615" y="313420"/>
                  <a:pt x="854493" y="296256"/>
                  <a:pt x="846247" y="283131"/>
                </a:cubicBezTo>
                <a:cubicBezTo>
                  <a:pt x="838002" y="270006"/>
                  <a:pt x="825802" y="263443"/>
                  <a:pt x="809647" y="263443"/>
                </a:cubicBezTo>
                <a:cubicBezTo>
                  <a:pt x="792820" y="263443"/>
                  <a:pt x="780620" y="270006"/>
                  <a:pt x="773048" y="283131"/>
                </a:cubicBezTo>
                <a:cubicBezTo>
                  <a:pt x="765475" y="296256"/>
                  <a:pt x="761689" y="313420"/>
                  <a:pt x="761689" y="334623"/>
                </a:cubicBezTo>
                <a:cubicBezTo>
                  <a:pt x="761689" y="355826"/>
                  <a:pt x="765812" y="372906"/>
                  <a:pt x="774057" y="385863"/>
                </a:cubicBezTo>
                <a:cubicBezTo>
                  <a:pt x="782303" y="398820"/>
                  <a:pt x="794503" y="405299"/>
                  <a:pt x="810657" y="405299"/>
                </a:cubicBezTo>
                <a:close/>
                <a:moveTo>
                  <a:pt x="3325256" y="411861"/>
                </a:moveTo>
                <a:cubicBezTo>
                  <a:pt x="3316506" y="411861"/>
                  <a:pt x="3309608" y="408496"/>
                  <a:pt x="3304560" y="401765"/>
                </a:cubicBezTo>
                <a:cubicBezTo>
                  <a:pt x="3299512" y="395034"/>
                  <a:pt x="3296988" y="387125"/>
                  <a:pt x="3296988" y="378038"/>
                </a:cubicBezTo>
                <a:cubicBezTo>
                  <a:pt x="3296988" y="368951"/>
                  <a:pt x="3299512" y="361126"/>
                  <a:pt x="3304560" y="354564"/>
                </a:cubicBezTo>
                <a:cubicBezTo>
                  <a:pt x="3309608" y="348001"/>
                  <a:pt x="3316506" y="344720"/>
                  <a:pt x="3325256" y="344720"/>
                </a:cubicBezTo>
                <a:cubicBezTo>
                  <a:pt x="3333334" y="344720"/>
                  <a:pt x="3339980" y="348001"/>
                  <a:pt x="3345198" y="354564"/>
                </a:cubicBezTo>
                <a:cubicBezTo>
                  <a:pt x="3350414" y="361126"/>
                  <a:pt x="3353022" y="368951"/>
                  <a:pt x="3353022" y="378038"/>
                </a:cubicBezTo>
                <a:cubicBezTo>
                  <a:pt x="3353022" y="387125"/>
                  <a:pt x="3350414" y="395034"/>
                  <a:pt x="3345198" y="401765"/>
                </a:cubicBezTo>
                <a:cubicBezTo>
                  <a:pt x="3339980" y="408496"/>
                  <a:pt x="3333334" y="411861"/>
                  <a:pt x="3325256" y="411861"/>
                </a:cubicBezTo>
                <a:close/>
                <a:moveTo>
                  <a:pt x="2207070" y="453257"/>
                </a:moveTo>
                <a:lnTo>
                  <a:pt x="2207070" y="401765"/>
                </a:lnTo>
                <a:lnTo>
                  <a:pt x="2272697" y="401765"/>
                </a:lnTo>
                <a:lnTo>
                  <a:pt x="2272697" y="314430"/>
                </a:lnTo>
                <a:cubicBezTo>
                  <a:pt x="2272697" y="297939"/>
                  <a:pt x="2274043" y="283299"/>
                  <a:pt x="2276735" y="270510"/>
                </a:cubicBezTo>
                <a:cubicBezTo>
                  <a:pt x="2279428" y="257721"/>
                  <a:pt x="2284055" y="246868"/>
                  <a:pt x="2290618" y="237949"/>
                </a:cubicBezTo>
                <a:cubicBezTo>
                  <a:pt x="2297181" y="229031"/>
                  <a:pt x="2305931" y="222215"/>
                  <a:pt x="2316869" y="217504"/>
                </a:cubicBezTo>
                <a:cubicBezTo>
                  <a:pt x="2327807" y="212792"/>
                  <a:pt x="2341353" y="210436"/>
                  <a:pt x="2357508" y="210436"/>
                </a:cubicBezTo>
                <a:cubicBezTo>
                  <a:pt x="2366931" y="210436"/>
                  <a:pt x="2377280" y="211530"/>
                  <a:pt x="2388554" y="213718"/>
                </a:cubicBezTo>
                <a:cubicBezTo>
                  <a:pt x="2399829" y="215905"/>
                  <a:pt x="2411860" y="220028"/>
                  <a:pt x="2424649" y="226086"/>
                </a:cubicBezTo>
                <a:lnTo>
                  <a:pt x="2416572" y="276063"/>
                </a:lnTo>
                <a:cubicBezTo>
                  <a:pt x="2406475" y="271352"/>
                  <a:pt x="2397388" y="268239"/>
                  <a:pt x="2389312" y="266724"/>
                </a:cubicBezTo>
                <a:cubicBezTo>
                  <a:pt x="2381234" y="265210"/>
                  <a:pt x="2374335" y="264452"/>
                  <a:pt x="2368614" y="264452"/>
                </a:cubicBezTo>
                <a:cubicBezTo>
                  <a:pt x="2356498" y="264452"/>
                  <a:pt x="2347832" y="267902"/>
                  <a:pt x="2342615" y="274801"/>
                </a:cubicBezTo>
                <a:cubicBezTo>
                  <a:pt x="2337398" y="281701"/>
                  <a:pt x="2334790" y="292218"/>
                  <a:pt x="2334790" y="306353"/>
                </a:cubicBezTo>
                <a:lnTo>
                  <a:pt x="2334790" y="453257"/>
                </a:lnTo>
                <a:close/>
                <a:moveTo>
                  <a:pt x="1088092" y="457800"/>
                </a:moveTo>
                <a:cubicBezTo>
                  <a:pt x="1064870" y="457800"/>
                  <a:pt x="1044593" y="455949"/>
                  <a:pt x="1027260" y="452247"/>
                </a:cubicBezTo>
                <a:cubicBezTo>
                  <a:pt x="1009928" y="448545"/>
                  <a:pt x="993016" y="443665"/>
                  <a:pt x="976526" y="437607"/>
                </a:cubicBezTo>
                <a:lnTo>
                  <a:pt x="976526" y="215989"/>
                </a:lnTo>
                <a:lnTo>
                  <a:pt x="1039124" y="215989"/>
                </a:lnTo>
                <a:lnTo>
                  <a:pt x="1039124" y="392173"/>
                </a:lnTo>
                <a:cubicBezTo>
                  <a:pt x="1047874" y="394529"/>
                  <a:pt x="1056456" y="396128"/>
                  <a:pt x="1064870" y="396969"/>
                </a:cubicBezTo>
                <a:cubicBezTo>
                  <a:pt x="1073284" y="397810"/>
                  <a:pt x="1081866" y="398231"/>
                  <a:pt x="1090616" y="398231"/>
                </a:cubicBezTo>
                <a:cubicBezTo>
                  <a:pt x="1094318" y="398231"/>
                  <a:pt x="1098861" y="398063"/>
                  <a:pt x="1104246" y="397726"/>
                </a:cubicBezTo>
                <a:cubicBezTo>
                  <a:pt x="1109631" y="397390"/>
                  <a:pt x="1115184" y="396801"/>
                  <a:pt x="1120905" y="395959"/>
                </a:cubicBezTo>
                <a:cubicBezTo>
                  <a:pt x="1126627" y="395118"/>
                  <a:pt x="1132264" y="394192"/>
                  <a:pt x="1137817" y="393183"/>
                </a:cubicBezTo>
                <a:cubicBezTo>
                  <a:pt x="1143370" y="392173"/>
                  <a:pt x="1148166" y="391164"/>
                  <a:pt x="1152205" y="390154"/>
                </a:cubicBezTo>
                <a:lnTo>
                  <a:pt x="1163311" y="447704"/>
                </a:lnTo>
                <a:cubicBezTo>
                  <a:pt x="1157589" y="449723"/>
                  <a:pt x="1151111" y="451322"/>
                  <a:pt x="1143875" y="452500"/>
                </a:cubicBezTo>
                <a:cubicBezTo>
                  <a:pt x="1136639" y="453678"/>
                  <a:pt x="1129487" y="454687"/>
                  <a:pt x="1122420" y="455529"/>
                </a:cubicBezTo>
                <a:cubicBezTo>
                  <a:pt x="1115352" y="456370"/>
                  <a:pt x="1108706" y="456959"/>
                  <a:pt x="1102479" y="457296"/>
                </a:cubicBezTo>
                <a:cubicBezTo>
                  <a:pt x="1096253" y="457632"/>
                  <a:pt x="1091457" y="457800"/>
                  <a:pt x="1088092" y="457800"/>
                </a:cubicBezTo>
                <a:close/>
                <a:moveTo>
                  <a:pt x="2572782" y="459315"/>
                </a:moveTo>
                <a:cubicBezTo>
                  <a:pt x="2556628" y="459315"/>
                  <a:pt x="2541651" y="456370"/>
                  <a:pt x="2527852" y="450480"/>
                </a:cubicBezTo>
                <a:cubicBezTo>
                  <a:pt x="2514054" y="444591"/>
                  <a:pt x="2502190" y="436177"/>
                  <a:pt x="2492262" y="425239"/>
                </a:cubicBezTo>
                <a:cubicBezTo>
                  <a:pt x="2482334" y="414301"/>
                  <a:pt x="2474594" y="401176"/>
                  <a:pt x="2469040" y="385863"/>
                </a:cubicBezTo>
                <a:cubicBezTo>
                  <a:pt x="2463487" y="370550"/>
                  <a:pt x="2460711" y="353638"/>
                  <a:pt x="2460711" y="335128"/>
                </a:cubicBezTo>
                <a:cubicBezTo>
                  <a:pt x="2460711" y="316281"/>
                  <a:pt x="2463403" y="299201"/>
                  <a:pt x="2468788" y="283888"/>
                </a:cubicBezTo>
                <a:cubicBezTo>
                  <a:pt x="2474173" y="268575"/>
                  <a:pt x="2481829" y="255366"/>
                  <a:pt x="2491758" y="244259"/>
                </a:cubicBezTo>
                <a:cubicBezTo>
                  <a:pt x="2501686" y="233153"/>
                  <a:pt x="2513465" y="224571"/>
                  <a:pt x="2527095" y="218513"/>
                </a:cubicBezTo>
                <a:cubicBezTo>
                  <a:pt x="2540726" y="212455"/>
                  <a:pt x="2555954" y="209427"/>
                  <a:pt x="2572782" y="209427"/>
                </a:cubicBezTo>
                <a:cubicBezTo>
                  <a:pt x="2589609" y="209427"/>
                  <a:pt x="2604838" y="212455"/>
                  <a:pt x="2618468" y="218513"/>
                </a:cubicBezTo>
                <a:cubicBezTo>
                  <a:pt x="2632098" y="224571"/>
                  <a:pt x="2643794" y="233153"/>
                  <a:pt x="2653554" y="244259"/>
                </a:cubicBezTo>
                <a:cubicBezTo>
                  <a:pt x="2663314" y="255366"/>
                  <a:pt x="2670886" y="268575"/>
                  <a:pt x="2676271" y="283888"/>
                </a:cubicBezTo>
                <a:cubicBezTo>
                  <a:pt x="2681656" y="299201"/>
                  <a:pt x="2684348" y="316281"/>
                  <a:pt x="2684348" y="335128"/>
                </a:cubicBezTo>
                <a:cubicBezTo>
                  <a:pt x="2684348" y="353638"/>
                  <a:pt x="2681656" y="370550"/>
                  <a:pt x="2676271" y="385863"/>
                </a:cubicBezTo>
                <a:cubicBezTo>
                  <a:pt x="2670886" y="401176"/>
                  <a:pt x="2663230" y="414301"/>
                  <a:pt x="2653302" y="425239"/>
                </a:cubicBezTo>
                <a:cubicBezTo>
                  <a:pt x="2643373" y="436177"/>
                  <a:pt x="2631594" y="444591"/>
                  <a:pt x="2617964" y="450480"/>
                </a:cubicBezTo>
                <a:cubicBezTo>
                  <a:pt x="2604334" y="456370"/>
                  <a:pt x="2589273" y="459315"/>
                  <a:pt x="2572782" y="459315"/>
                </a:cubicBezTo>
                <a:close/>
                <a:moveTo>
                  <a:pt x="1810782" y="459315"/>
                </a:moveTo>
                <a:cubicBezTo>
                  <a:pt x="1794628" y="459315"/>
                  <a:pt x="1779651" y="456370"/>
                  <a:pt x="1765853" y="450480"/>
                </a:cubicBezTo>
                <a:cubicBezTo>
                  <a:pt x="1752054" y="444591"/>
                  <a:pt x="1740191" y="436177"/>
                  <a:pt x="1730262" y="425239"/>
                </a:cubicBezTo>
                <a:cubicBezTo>
                  <a:pt x="1720334" y="414301"/>
                  <a:pt x="1712594" y="401176"/>
                  <a:pt x="1707040" y="385863"/>
                </a:cubicBezTo>
                <a:cubicBezTo>
                  <a:pt x="1701488" y="370550"/>
                  <a:pt x="1698711" y="353638"/>
                  <a:pt x="1698711" y="335128"/>
                </a:cubicBezTo>
                <a:cubicBezTo>
                  <a:pt x="1698711" y="316281"/>
                  <a:pt x="1701403" y="299201"/>
                  <a:pt x="1706788" y="283888"/>
                </a:cubicBezTo>
                <a:cubicBezTo>
                  <a:pt x="1712173" y="268575"/>
                  <a:pt x="1719829" y="255366"/>
                  <a:pt x="1729758" y="244259"/>
                </a:cubicBezTo>
                <a:cubicBezTo>
                  <a:pt x="1739686" y="233153"/>
                  <a:pt x="1751465" y="224571"/>
                  <a:pt x="1765095" y="218513"/>
                </a:cubicBezTo>
                <a:cubicBezTo>
                  <a:pt x="1778726" y="212455"/>
                  <a:pt x="1793954" y="209427"/>
                  <a:pt x="1810782" y="209427"/>
                </a:cubicBezTo>
                <a:cubicBezTo>
                  <a:pt x="1827610" y="209427"/>
                  <a:pt x="1842838" y="212455"/>
                  <a:pt x="1856469" y="218513"/>
                </a:cubicBezTo>
                <a:cubicBezTo>
                  <a:pt x="1870099" y="224571"/>
                  <a:pt x="1881794" y="233153"/>
                  <a:pt x="1891554" y="244259"/>
                </a:cubicBezTo>
                <a:cubicBezTo>
                  <a:pt x="1901314" y="255366"/>
                  <a:pt x="1908886" y="268575"/>
                  <a:pt x="1914271" y="283888"/>
                </a:cubicBezTo>
                <a:cubicBezTo>
                  <a:pt x="1919656" y="299201"/>
                  <a:pt x="1922348" y="316281"/>
                  <a:pt x="1922348" y="335128"/>
                </a:cubicBezTo>
                <a:cubicBezTo>
                  <a:pt x="1922348" y="353638"/>
                  <a:pt x="1919656" y="370550"/>
                  <a:pt x="1914271" y="385863"/>
                </a:cubicBezTo>
                <a:cubicBezTo>
                  <a:pt x="1908886" y="401176"/>
                  <a:pt x="1901230" y="414301"/>
                  <a:pt x="1891302" y="425239"/>
                </a:cubicBezTo>
                <a:cubicBezTo>
                  <a:pt x="1881374" y="436177"/>
                  <a:pt x="1869594" y="444591"/>
                  <a:pt x="1855964" y="450480"/>
                </a:cubicBezTo>
                <a:cubicBezTo>
                  <a:pt x="1842334" y="456370"/>
                  <a:pt x="1827273" y="459315"/>
                  <a:pt x="1810782" y="459315"/>
                </a:cubicBezTo>
                <a:close/>
                <a:moveTo>
                  <a:pt x="810657" y="459315"/>
                </a:moveTo>
                <a:cubicBezTo>
                  <a:pt x="794503" y="459315"/>
                  <a:pt x="779526" y="456370"/>
                  <a:pt x="765728" y="450480"/>
                </a:cubicBezTo>
                <a:cubicBezTo>
                  <a:pt x="751929" y="444591"/>
                  <a:pt x="740066" y="436177"/>
                  <a:pt x="730138" y="425239"/>
                </a:cubicBezTo>
                <a:cubicBezTo>
                  <a:pt x="720209" y="414301"/>
                  <a:pt x="712469" y="401176"/>
                  <a:pt x="706916" y="385863"/>
                </a:cubicBezTo>
                <a:cubicBezTo>
                  <a:pt x="701362" y="370550"/>
                  <a:pt x="698586" y="353638"/>
                  <a:pt x="698586" y="335128"/>
                </a:cubicBezTo>
                <a:cubicBezTo>
                  <a:pt x="698586" y="316281"/>
                  <a:pt x="701278" y="299201"/>
                  <a:pt x="706663" y="283888"/>
                </a:cubicBezTo>
                <a:cubicBezTo>
                  <a:pt x="712048" y="268575"/>
                  <a:pt x="719704" y="255366"/>
                  <a:pt x="729633" y="244259"/>
                </a:cubicBezTo>
                <a:cubicBezTo>
                  <a:pt x="739561" y="233153"/>
                  <a:pt x="751340" y="224571"/>
                  <a:pt x="764970" y="218513"/>
                </a:cubicBezTo>
                <a:cubicBezTo>
                  <a:pt x="778601" y="212455"/>
                  <a:pt x="793830" y="209427"/>
                  <a:pt x="810657" y="209427"/>
                </a:cubicBezTo>
                <a:cubicBezTo>
                  <a:pt x="827485" y="209427"/>
                  <a:pt x="842713" y="212455"/>
                  <a:pt x="856344" y="218513"/>
                </a:cubicBezTo>
                <a:cubicBezTo>
                  <a:pt x="869974" y="224571"/>
                  <a:pt x="881669" y="233153"/>
                  <a:pt x="891429" y="244259"/>
                </a:cubicBezTo>
                <a:cubicBezTo>
                  <a:pt x="901189" y="255366"/>
                  <a:pt x="908761" y="268575"/>
                  <a:pt x="914146" y="283888"/>
                </a:cubicBezTo>
                <a:cubicBezTo>
                  <a:pt x="919531" y="299201"/>
                  <a:pt x="922223" y="316281"/>
                  <a:pt x="922223" y="335128"/>
                </a:cubicBezTo>
                <a:cubicBezTo>
                  <a:pt x="922223" y="353638"/>
                  <a:pt x="919531" y="370550"/>
                  <a:pt x="914146" y="385863"/>
                </a:cubicBezTo>
                <a:cubicBezTo>
                  <a:pt x="908761" y="401176"/>
                  <a:pt x="901105" y="414301"/>
                  <a:pt x="891177" y="425239"/>
                </a:cubicBezTo>
                <a:cubicBezTo>
                  <a:pt x="881248" y="436177"/>
                  <a:pt x="869469" y="444591"/>
                  <a:pt x="855839" y="450480"/>
                </a:cubicBezTo>
                <a:cubicBezTo>
                  <a:pt x="842209" y="456370"/>
                  <a:pt x="827148" y="459315"/>
                  <a:pt x="810657" y="459315"/>
                </a:cubicBezTo>
                <a:close/>
                <a:moveTo>
                  <a:pt x="546919" y="477993"/>
                </a:moveTo>
                <a:cubicBezTo>
                  <a:pt x="563410" y="477993"/>
                  <a:pt x="576620" y="474207"/>
                  <a:pt x="586548" y="466635"/>
                </a:cubicBezTo>
                <a:cubicBezTo>
                  <a:pt x="596476" y="459062"/>
                  <a:pt x="601441" y="446189"/>
                  <a:pt x="601441" y="428016"/>
                </a:cubicBezTo>
                <a:cubicBezTo>
                  <a:pt x="601441" y="408832"/>
                  <a:pt x="596392" y="395286"/>
                  <a:pt x="586296" y="387377"/>
                </a:cubicBezTo>
                <a:cubicBezTo>
                  <a:pt x="576199" y="379468"/>
                  <a:pt x="561223" y="375514"/>
                  <a:pt x="541366" y="375514"/>
                </a:cubicBezTo>
                <a:lnTo>
                  <a:pt x="516125" y="375514"/>
                </a:lnTo>
                <a:lnTo>
                  <a:pt x="516125" y="476479"/>
                </a:lnTo>
                <a:cubicBezTo>
                  <a:pt x="519827" y="477152"/>
                  <a:pt x="524960" y="477573"/>
                  <a:pt x="531522" y="477741"/>
                </a:cubicBezTo>
                <a:cubicBezTo>
                  <a:pt x="538085" y="477909"/>
                  <a:pt x="543217" y="477993"/>
                  <a:pt x="546919" y="477993"/>
                </a:cubicBezTo>
                <a:close/>
                <a:moveTo>
                  <a:pt x="3324752" y="482537"/>
                </a:moveTo>
                <a:cubicBezTo>
                  <a:pt x="3341916" y="482537"/>
                  <a:pt x="3354958" y="473198"/>
                  <a:pt x="3363876" y="454519"/>
                </a:cubicBezTo>
                <a:cubicBezTo>
                  <a:pt x="3372794" y="435841"/>
                  <a:pt x="3377254" y="408664"/>
                  <a:pt x="3377254" y="372990"/>
                </a:cubicBezTo>
                <a:cubicBezTo>
                  <a:pt x="3377254" y="336979"/>
                  <a:pt x="3372794" y="309634"/>
                  <a:pt x="3363876" y="290956"/>
                </a:cubicBezTo>
                <a:cubicBezTo>
                  <a:pt x="3354958" y="272277"/>
                  <a:pt x="3341916" y="262938"/>
                  <a:pt x="3324752" y="262938"/>
                </a:cubicBezTo>
                <a:cubicBezTo>
                  <a:pt x="3307924" y="262938"/>
                  <a:pt x="3294968" y="272277"/>
                  <a:pt x="3285880" y="290956"/>
                </a:cubicBezTo>
                <a:cubicBezTo>
                  <a:pt x="3276794" y="309634"/>
                  <a:pt x="3272250" y="336979"/>
                  <a:pt x="3272250" y="372990"/>
                </a:cubicBezTo>
                <a:cubicBezTo>
                  <a:pt x="3272250" y="408664"/>
                  <a:pt x="3276794" y="435841"/>
                  <a:pt x="3285880" y="454519"/>
                </a:cubicBezTo>
                <a:cubicBezTo>
                  <a:pt x="3294968" y="473198"/>
                  <a:pt x="3307924" y="482537"/>
                  <a:pt x="3324752" y="482537"/>
                </a:cubicBezTo>
                <a:close/>
                <a:moveTo>
                  <a:pt x="1323054" y="522923"/>
                </a:moveTo>
                <a:lnTo>
                  <a:pt x="1260961" y="512826"/>
                </a:lnTo>
                <a:lnTo>
                  <a:pt x="1260961" y="453257"/>
                </a:lnTo>
                <a:lnTo>
                  <a:pt x="1206945" y="453257"/>
                </a:lnTo>
                <a:lnTo>
                  <a:pt x="1206945" y="401765"/>
                </a:lnTo>
                <a:lnTo>
                  <a:pt x="1260961" y="401765"/>
                </a:lnTo>
                <a:lnTo>
                  <a:pt x="1260961" y="304334"/>
                </a:lnTo>
                <a:cubicBezTo>
                  <a:pt x="1260961" y="284477"/>
                  <a:pt x="1262980" y="268407"/>
                  <a:pt x="1267019" y="256123"/>
                </a:cubicBezTo>
                <a:cubicBezTo>
                  <a:pt x="1271057" y="243839"/>
                  <a:pt x="1276947" y="234331"/>
                  <a:pt x="1284688" y="227600"/>
                </a:cubicBezTo>
                <a:cubicBezTo>
                  <a:pt x="1292428" y="220869"/>
                  <a:pt x="1301852" y="216326"/>
                  <a:pt x="1312958" y="213970"/>
                </a:cubicBezTo>
                <a:cubicBezTo>
                  <a:pt x="1324064" y="211614"/>
                  <a:pt x="1336853" y="210436"/>
                  <a:pt x="1351325" y="210436"/>
                </a:cubicBezTo>
                <a:cubicBezTo>
                  <a:pt x="1363777" y="210436"/>
                  <a:pt x="1376650" y="211446"/>
                  <a:pt x="1389944" y="213465"/>
                </a:cubicBezTo>
                <a:cubicBezTo>
                  <a:pt x="1403238" y="215484"/>
                  <a:pt x="1415606" y="218850"/>
                  <a:pt x="1427048" y="223562"/>
                </a:cubicBezTo>
                <a:lnTo>
                  <a:pt x="1418466" y="277073"/>
                </a:lnTo>
                <a:cubicBezTo>
                  <a:pt x="1412745" y="274381"/>
                  <a:pt x="1407444" y="272193"/>
                  <a:pt x="1402564" y="270510"/>
                </a:cubicBezTo>
                <a:cubicBezTo>
                  <a:pt x="1397684" y="268828"/>
                  <a:pt x="1392973" y="267566"/>
                  <a:pt x="1388429" y="266724"/>
                </a:cubicBezTo>
                <a:cubicBezTo>
                  <a:pt x="1383886" y="265883"/>
                  <a:pt x="1379174" y="265294"/>
                  <a:pt x="1374294" y="264957"/>
                </a:cubicBezTo>
                <a:cubicBezTo>
                  <a:pt x="1369414" y="264621"/>
                  <a:pt x="1364114" y="264452"/>
                  <a:pt x="1358392" y="264452"/>
                </a:cubicBezTo>
                <a:cubicBezTo>
                  <a:pt x="1353007" y="264452"/>
                  <a:pt x="1348127" y="264957"/>
                  <a:pt x="1343752" y="265967"/>
                </a:cubicBezTo>
                <a:cubicBezTo>
                  <a:pt x="1339377" y="266977"/>
                  <a:pt x="1335675" y="268996"/>
                  <a:pt x="1332646" y="272025"/>
                </a:cubicBezTo>
                <a:cubicBezTo>
                  <a:pt x="1329617" y="275054"/>
                  <a:pt x="1327261" y="279261"/>
                  <a:pt x="1325579" y="284645"/>
                </a:cubicBezTo>
                <a:cubicBezTo>
                  <a:pt x="1323896" y="290030"/>
                  <a:pt x="1323054" y="297098"/>
                  <a:pt x="1323054" y="305848"/>
                </a:cubicBezTo>
                <a:lnTo>
                  <a:pt x="1323054" y="401765"/>
                </a:lnTo>
                <a:lnTo>
                  <a:pt x="1422505" y="401765"/>
                </a:lnTo>
                <a:lnTo>
                  <a:pt x="1422505" y="453257"/>
                </a:lnTo>
                <a:lnTo>
                  <a:pt x="1323054" y="453257"/>
                </a:lnTo>
                <a:close/>
                <a:moveTo>
                  <a:pt x="539852" y="532010"/>
                </a:moveTo>
                <a:cubicBezTo>
                  <a:pt x="534131" y="532010"/>
                  <a:pt x="527568" y="531841"/>
                  <a:pt x="520164" y="531505"/>
                </a:cubicBezTo>
                <a:cubicBezTo>
                  <a:pt x="512760" y="531168"/>
                  <a:pt x="505187" y="530748"/>
                  <a:pt x="497447" y="530243"/>
                </a:cubicBezTo>
                <a:cubicBezTo>
                  <a:pt x="489706" y="529738"/>
                  <a:pt x="482049" y="528981"/>
                  <a:pt x="474477" y="527971"/>
                </a:cubicBezTo>
                <a:cubicBezTo>
                  <a:pt x="466905" y="526961"/>
                  <a:pt x="460090" y="525784"/>
                  <a:pt x="454032" y="524437"/>
                </a:cubicBezTo>
                <a:lnTo>
                  <a:pt x="454032" y="215989"/>
                </a:lnTo>
                <a:lnTo>
                  <a:pt x="516125" y="215989"/>
                </a:lnTo>
                <a:lnTo>
                  <a:pt x="516125" y="321498"/>
                </a:lnTo>
                <a:lnTo>
                  <a:pt x="538337" y="321498"/>
                </a:lnTo>
                <a:cubicBezTo>
                  <a:pt x="578723" y="321498"/>
                  <a:pt x="609938" y="329827"/>
                  <a:pt x="631982" y="346486"/>
                </a:cubicBezTo>
                <a:cubicBezTo>
                  <a:pt x="654026" y="363146"/>
                  <a:pt x="665048" y="390154"/>
                  <a:pt x="665048" y="427511"/>
                </a:cubicBezTo>
                <a:cubicBezTo>
                  <a:pt x="665048" y="464531"/>
                  <a:pt x="654111" y="491203"/>
                  <a:pt x="632235" y="507526"/>
                </a:cubicBezTo>
                <a:cubicBezTo>
                  <a:pt x="610359" y="523848"/>
                  <a:pt x="579565" y="532010"/>
                  <a:pt x="539852" y="532010"/>
                </a:cubicBezTo>
                <a:close/>
                <a:moveTo>
                  <a:pt x="3816452" y="535544"/>
                </a:moveTo>
                <a:cubicBezTo>
                  <a:pt x="3797604" y="535544"/>
                  <a:pt x="3780694" y="532430"/>
                  <a:pt x="3765716" y="526204"/>
                </a:cubicBezTo>
                <a:cubicBezTo>
                  <a:pt x="3750740" y="519978"/>
                  <a:pt x="3738708" y="513836"/>
                  <a:pt x="3729622" y="507778"/>
                </a:cubicBezTo>
                <a:lnTo>
                  <a:pt x="3751834" y="462344"/>
                </a:lnTo>
                <a:cubicBezTo>
                  <a:pt x="3760248" y="468065"/>
                  <a:pt x="3770260" y="472861"/>
                  <a:pt x="3781872" y="476731"/>
                </a:cubicBezTo>
                <a:cubicBezTo>
                  <a:pt x="3793482" y="480602"/>
                  <a:pt x="3805178" y="482537"/>
                  <a:pt x="3816956" y="482537"/>
                </a:cubicBezTo>
                <a:cubicBezTo>
                  <a:pt x="3829072" y="482537"/>
                  <a:pt x="3838580" y="479255"/>
                  <a:pt x="3845480" y="472693"/>
                </a:cubicBezTo>
                <a:cubicBezTo>
                  <a:pt x="3852378" y="466130"/>
                  <a:pt x="3855828" y="457127"/>
                  <a:pt x="3855828" y="445685"/>
                </a:cubicBezTo>
                <a:cubicBezTo>
                  <a:pt x="3855828" y="437944"/>
                  <a:pt x="3854230" y="431550"/>
                  <a:pt x="3851032" y="426501"/>
                </a:cubicBezTo>
                <a:cubicBezTo>
                  <a:pt x="3847836" y="421453"/>
                  <a:pt x="3843712" y="417414"/>
                  <a:pt x="3838664" y="414385"/>
                </a:cubicBezTo>
                <a:cubicBezTo>
                  <a:pt x="3833616" y="411357"/>
                  <a:pt x="3827894" y="409169"/>
                  <a:pt x="3821500" y="407823"/>
                </a:cubicBezTo>
                <a:cubicBezTo>
                  <a:pt x="3815106" y="406477"/>
                  <a:pt x="3808712" y="405803"/>
                  <a:pt x="3802316" y="405803"/>
                </a:cubicBezTo>
                <a:lnTo>
                  <a:pt x="3779094" y="405803"/>
                </a:lnTo>
                <a:lnTo>
                  <a:pt x="3779094" y="354311"/>
                </a:lnTo>
                <a:lnTo>
                  <a:pt x="3798278" y="354311"/>
                </a:lnTo>
                <a:cubicBezTo>
                  <a:pt x="3818470" y="354311"/>
                  <a:pt x="3835130" y="351030"/>
                  <a:pt x="3848256" y="344467"/>
                </a:cubicBezTo>
                <a:cubicBezTo>
                  <a:pt x="3861380" y="337904"/>
                  <a:pt x="3867944" y="326378"/>
                  <a:pt x="3867944" y="309887"/>
                </a:cubicBezTo>
                <a:cubicBezTo>
                  <a:pt x="3867944" y="296425"/>
                  <a:pt x="3863652" y="285150"/>
                  <a:pt x="3855072" y="276063"/>
                </a:cubicBezTo>
                <a:cubicBezTo>
                  <a:pt x="3846488" y="266977"/>
                  <a:pt x="3831596" y="262433"/>
                  <a:pt x="3810394" y="262433"/>
                </a:cubicBezTo>
                <a:cubicBezTo>
                  <a:pt x="3793230" y="262433"/>
                  <a:pt x="3778506" y="264284"/>
                  <a:pt x="3766222" y="267986"/>
                </a:cubicBezTo>
                <a:cubicBezTo>
                  <a:pt x="3753938" y="271688"/>
                  <a:pt x="3743924" y="275222"/>
                  <a:pt x="3736184" y="278588"/>
                </a:cubicBezTo>
                <a:lnTo>
                  <a:pt x="3724068" y="226591"/>
                </a:lnTo>
                <a:cubicBezTo>
                  <a:pt x="3727770" y="224908"/>
                  <a:pt x="3732988" y="223057"/>
                  <a:pt x="3739718" y="221037"/>
                </a:cubicBezTo>
                <a:cubicBezTo>
                  <a:pt x="3746450" y="219018"/>
                  <a:pt x="3753770" y="217167"/>
                  <a:pt x="3761678" y="215484"/>
                </a:cubicBezTo>
                <a:cubicBezTo>
                  <a:pt x="3769588" y="213802"/>
                  <a:pt x="3777832" y="212371"/>
                  <a:pt x="3786414" y="211193"/>
                </a:cubicBezTo>
                <a:cubicBezTo>
                  <a:pt x="3794996" y="210015"/>
                  <a:pt x="3803158" y="209427"/>
                  <a:pt x="3810898" y="209427"/>
                </a:cubicBezTo>
                <a:cubicBezTo>
                  <a:pt x="3831764" y="209427"/>
                  <a:pt x="3849770" y="211867"/>
                  <a:pt x="3864916" y="216746"/>
                </a:cubicBezTo>
                <a:cubicBezTo>
                  <a:pt x="3880060" y="221626"/>
                  <a:pt x="3892512" y="228526"/>
                  <a:pt x="3902272" y="237444"/>
                </a:cubicBezTo>
                <a:cubicBezTo>
                  <a:pt x="3912032" y="246363"/>
                  <a:pt x="3919268" y="256880"/>
                  <a:pt x="3923980" y="268996"/>
                </a:cubicBezTo>
                <a:cubicBezTo>
                  <a:pt x="3928692" y="281112"/>
                  <a:pt x="3931048" y="294405"/>
                  <a:pt x="3931048" y="308877"/>
                </a:cubicBezTo>
                <a:cubicBezTo>
                  <a:pt x="3931048" y="327051"/>
                  <a:pt x="3926588" y="342700"/>
                  <a:pt x="3917668" y="355826"/>
                </a:cubicBezTo>
                <a:cubicBezTo>
                  <a:pt x="3908750" y="368951"/>
                  <a:pt x="3896214" y="378879"/>
                  <a:pt x="3880060" y="385610"/>
                </a:cubicBezTo>
                <a:cubicBezTo>
                  <a:pt x="3891840" y="391668"/>
                  <a:pt x="3901262" y="400419"/>
                  <a:pt x="3908330" y="411861"/>
                </a:cubicBezTo>
                <a:cubicBezTo>
                  <a:pt x="3915398" y="423304"/>
                  <a:pt x="3918932" y="435252"/>
                  <a:pt x="3918932" y="447704"/>
                </a:cubicBezTo>
                <a:cubicBezTo>
                  <a:pt x="3918932" y="460156"/>
                  <a:pt x="3916912" y="471767"/>
                  <a:pt x="3912874" y="482537"/>
                </a:cubicBezTo>
                <a:cubicBezTo>
                  <a:pt x="3908834" y="493306"/>
                  <a:pt x="3902608" y="502646"/>
                  <a:pt x="3894196" y="510555"/>
                </a:cubicBezTo>
                <a:cubicBezTo>
                  <a:pt x="3885780" y="518464"/>
                  <a:pt x="3875096" y="524606"/>
                  <a:pt x="3862138" y="528981"/>
                </a:cubicBezTo>
                <a:cubicBezTo>
                  <a:pt x="3849180" y="533356"/>
                  <a:pt x="3833952" y="535544"/>
                  <a:pt x="3816452" y="535544"/>
                </a:cubicBezTo>
                <a:close/>
                <a:moveTo>
                  <a:pt x="3567354" y="535544"/>
                </a:moveTo>
                <a:cubicBezTo>
                  <a:pt x="3549854" y="535544"/>
                  <a:pt x="3532268" y="532178"/>
                  <a:pt x="3514600" y="525447"/>
                </a:cubicBezTo>
                <a:cubicBezTo>
                  <a:pt x="3496930" y="518716"/>
                  <a:pt x="3481366" y="508283"/>
                  <a:pt x="3467904" y="494148"/>
                </a:cubicBezTo>
                <a:lnTo>
                  <a:pt x="3498698" y="450733"/>
                </a:lnTo>
                <a:cubicBezTo>
                  <a:pt x="3509130" y="461839"/>
                  <a:pt x="3519732" y="469748"/>
                  <a:pt x="3530502" y="474460"/>
                </a:cubicBezTo>
                <a:cubicBezTo>
                  <a:pt x="3541272" y="479171"/>
                  <a:pt x="3551536" y="481527"/>
                  <a:pt x="3561296" y="481527"/>
                </a:cubicBezTo>
                <a:cubicBezTo>
                  <a:pt x="3573076" y="481527"/>
                  <a:pt x="3582836" y="478078"/>
                  <a:pt x="3590576" y="471178"/>
                </a:cubicBezTo>
                <a:cubicBezTo>
                  <a:pt x="3598316" y="464279"/>
                  <a:pt x="3602186" y="454435"/>
                  <a:pt x="3602188" y="441646"/>
                </a:cubicBezTo>
                <a:cubicBezTo>
                  <a:pt x="3602186" y="432559"/>
                  <a:pt x="3599074" y="423641"/>
                  <a:pt x="3592848" y="414890"/>
                </a:cubicBezTo>
                <a:cubicBezTo>
                  <a:pt x="3586622" y="406140"/>
                  <a:pt x="3578712" y="397053"/>
                  <a:pt x="3569120" y="387630"/>
                </a:cubicBezTo>
                <a:cubicBezTo>
                  <a:pt x="3559528" y="378206"/>
                  <a:pt x="3549264" y="368362"/>
                  <a:pt x="3538326" y="358097"/>
                </a:cubicBezTo>
                <a:cubicBezTo>
                  <a:pt x="3527388" y="347833"/>
                  <a:pt x="3517124" y="336727"/>
                  <a:pt x="3507532" y="324779"/>
                </a:cubicBezTo>
                <a:cubicBezTo>
                  <a:pt x="3497940" y="312831"/>
                  <a:pt x="3490032" y="299790"/>
                  <a:pt x="3483806" y="285655"/>
                </a:cubicBezTo>
                <a:cubicBezTo>
                  <a:pt x="3477580" y="271520"/>
                  <a:pt x="3474466" y="256039"/>
                  <a:pt x="3474466" y="239211"/>
                </a:cubicBezTo>
                <a:cubicBezTo>
                  <a:pt x="3474466" y="237192"/>
                  <a:pt x="3474382" y="233658"/>
                  <a:pt x="3474214" y="228610"/>
                </a:cubicBezTo>
                <a:cubicBezTo>
                  <a:pt x="3474046" y="223562"/>
                  <a:pt x="3474466" y="219355"/>
                  <a:pt x="3475476" y="215989"/>
                </a:cubicBezTo>
                <a:lnTo>
                  <a:pt x="3679426" y="215989"/>
                </a:lnTo>
                <a:lnTo>
                  <a:pt x="3679426" y="267481"/>
                </a:lnTo>
                <a:lnTo>
                  <a:pt x="3545142" y="267481"/>
                </a:lnTo>
                <a:cubicBezTo>
                  <a:pt x="3545142" y="272530"/>
                  <a:pt x="3546908" y="278083"/>
                  <a:pt x="3550442" y="284141"/>
                </a:cubicBezTo>
                <a:cubicBezTo>
                  <a:pt x="3553976" y="290198"/>
                  <a:pt x="3558268" y="296172"/>
                  <a:pt x="3563316" y="302062"/>
                </a:cubicBezTo>
                <a:cubicBezTo>
                  <a:pt x="3568364" y="307952"/>
                  <a:pt x="3573748" y="313673"/>
                  <a:pt x="3579470" y="319226"/>
                </a:cubicBezTo>
                <a:cubicBezTo>
                  <a:pt x="3585190" y="324779"/>
                  <a:pt x="3590240" y="329575"/>
                  <a:pt x="3594614" y="333613"/>
                </a:cubicBezTo>
                <a:cubicBezTo>
                  <a:pt x="3603364" y="341691"/>
                  <a:pt x="3611946" y="350104"/>
                  <a:pt x="3620360" y="358855"/>
                </a:cubicBezTo>
                <a:cubicBezTo>
                  <a:pt x="3628774" y="367605"/>
                  <a:pt x="3636346" y="376692"/>
                  <a:pt x="3643078" y="386115"/>
                </a:cubicBezTo>
                <a:cubicBezTo>
                  <a:pt x="3649808" y="395539"/>
                  <a:pt x="3655194" y="405214"/>
                  <a:pt x="3659232" y="415143"/>
                </a:cubicBezTo>
                <a:cubicBezTo>
                  <a:pt x="3663270" y="425071"/>
                  <a:pt x="3665290" y="435420"/>
                  <a:pt x="3665290" y="446189"/>
                </a:cubicBezTo>
                <a:cubicBezTo>
                  <a:pt x="3665290" y="460998"/>
                  <a:pt x="3662598" y="474039"/>
                  <a:pt x="3657212" y="485313"/>
                </a:cubicBezTo>
                <a:cubicBezTo>
                  <a:pt x="3651828" y="496588"/>
                  <a:pt x="3644592" y="505927"/>
                  <a:pt x="3635506" y="513331"/>
                </a:cubicBezTo>
                <a:cubicBezTo>
                  <a:pt x="3626418" y="520735"/>
                  <a:pt x="3615986" y="526288"/>
                  <a:pt x="3604206" y="529990"/>
                </a:cubicBezTo>
                <a:cubicBezTo>
                  <a:pt x="3592426" y="533692"/>
                  <a:pt x="3580142" y="535544"/>
                  <a:pt x="3567354" y="535544"/>
                </a:cubicBezTo>
                <a:close/>
                <a:moveTo>
                  <a:pt x="3324752" y="535544"/>
                </a:moveTo>
                <a:cubicBezTo>
                  <a:pt x="3290088" y="535544"/>
                  <a:pt x="3263332" y="522081"/>
                  <a:pt x="3244486" y="495157"/>
                </a:cubicBezTo>
                <a:cubicBezTo>
                  <a:pt x="3225638" y="468233"/>
                  <a:pt x="3216214" y="427511"/>
                  <a:pt x="3216214" y="372990"/>
                </a:cubicBezTo>
                <a:cubicBezTo>
                  <a:pt x="3216214" y="317796"/>
                  <a:pt x="3225470" y="276737"/>
                  <a:pt x="3243980" y="249813"/>
                </a:cubicBezTo>
                <a:cubicBezTo>
                  <a:pt x="3262490" y="222889"/>
                  <a:pt x="3289414" y="209427"/>
                  <a:pt x="3324752" y="209427"/>
                </a:cubicBezTo>
                <a:cubicBezTo>
                  <a:pt x="3360090" y="209427"/>
                  <a:pt x="3387014" y="222889"/>
                  <a:pt x="3405524" y="249813"/>
                </a:cubicBezTo>
                <a:cubicBezTo>
                  <a:pt x="3424034" y="276737"/>
                  <a:pt x="3433290" y="317796"/>
                  <a:pt x="3433290" y="372990"/>
                </a:cubicBezTo>
                <a:cubicBezTo>
                  <a:pt x="3433290" y="427847"/>
                  <a:pt x="3424034" y="468654"/>
                  <a:pt x="3405524" y="495410"/>
                </a:cubicBezTo>
                <a:cubicBezTo>
                  <a:pt x="3387014" y="522166"/>
                  <a:pt x="3360090" y="535544"/>
                  <a:pt x="3324752" y="535544"/>
                </a:cubicBezTo>
                <a:close/>
                <a:moveTo>
                  <a:pt x="3062528" y="535544"/>
                </a:moveTo>
                <a:cubicBezTo>
                  <a:pt x="3045028" y="535544"/>
                  <a:pt x="3027444" y="532178"/>
                  <a:pt x="3009774" y="525447"/>
                </a:cubicBezTo>
                <a:cubicBezTo>
                  <a:pt x="2992106" y="518716"/>
                  <a:pt x="2976540" y="508283"/>
                  <a:pt x="2963078" y="494148"/>
                </a:cubicBezTo>
                <a:lnTo>
                  <a:pt x="2993872" y="450733"/>
                </a:lnTo>
                <a:cubicBezTo>
                  <a:pt x="3004306" y="461839"/>
                  <a:pt x="3014908" y="469748"/>
                  <a:pt x="3025676" y="474460"/>
                </a:cubicBezTo>
                <a:cubicBezTo>
                  <a:pt x="3036446" y="479171"/>
                  <a:pt x="3046712" y="481527"/>
                  <a:pt x="3056472" y="481527"/>
                </a:cubicBezTo>
                <a:cubicBezTo>
                  <a:pt x="3068250" y="481527"/>
                  <a:pt x="3078010" y="478078"/>
                  <a:pt x="3085752" y="471178"/>
                </a:cubicBezTo>
                <a:cubicBezTo>
                  <a:pt x="3093492" y="464279"/>
                  <a:pt x="3097362" y="454435"/>
                  <a:pt x="3097362" y="441646"/>
                </a:cubicBezTo>
                <a:cubicBezTo>
                  <a:pt x="3097362" y="432559"/>
                  <a:pt x="3094248" y="423641"/>
                  <a:pt x="3088022" y="414890"/>
                </a:cubicBezTo>
                <a:cubicBezTo>
                  <a:pt x="3081796" y="406140"/>
                  <a:pt x="3073888" y="397053"/>
                  <a:pt x="3064296" y="387630"/>
                </a:cubicBezTo>
                <a:cubicBezTo>
                  <a:pt x="3054704" y="378206"/>
                  <a:pt x="3044440" y="368362"/>
                  <a:pt x="3033502" y="358097"/>
                </a:cubicBezTo>
                <a:cubicBezTo>
                  <a:pt x="3022564" y="347833"/>
                  <a:pt x="3012298" y="336727"/>
                  <a:pt x="3002708" y="324779"/>
                </a:cubicBezTo>
                <a:cubicBezTo>
                  <a:pt x="2993116" y="312831"/>
                  <a:pt x="2985206" y="299790"/>
                  <a:pt x="2978980" y="285655"/>
                </a:cubicBezTo>
                <a:cubicBezTo>
                  <a:pt x="2972754" y="271520"/>
                  <a:pt x="2969642" y="256039"/>
                  <a:pt x="2969642" y="239211"/>
                </a:cubicBezTo>
                <a:cubicBezTo>
                  <a:pt x="2969642" y="237192"/>
                  <a:pt x="2969558" y="233658"/>
                  <a:pt x="2969388" y="228610"/>
                </a:cubicBezTo>
                <a:cubicBezTo>
                  <a:pt x="2969220" y="223562"/>
                  <a:pt x="2969640" y="219355"/>
                  <a:pt x="2970650" y="215989"/>
                </a:cubicBezTo>
                <a:lnTo>
                  <a:pt x="3174600" y="215989"/>
                </a:lnTo>
                <a:lnTo>
                  <a:pt x="3174600" y="267481"/>
                </a:lnTo>
                <a:lnTo>
                  <a:pt x="3040316" y="267481"/>
                </a:lnTo>
                <a:cubicBezTo>
                  <a:pt x="3040316" y="272530"/>
                  <a:pt x="3042084" y="278083"/>
                  <a:pt x="3045618" y="284141"/>
                </a:cubicBezTo>
                <a:cubicBezTo>
                  <a:pt x="3049152" y="290198"/>
                  <a:pt x="3053442" y="296172"/>
                  <a:pt x="3058490" y="302062"/>
                </a:cubicBezTo>
                <a:cubicBezTo>
                  <a:pt x="3063538" y="307952"/>
                  <a:pt x="3068924" y="313673"/>
                  <a:pt x="3074644" y="319226"/>
                </a:cubicBezTo>
                <a:cubicBezTo>
                  <a:pt x="3080366" y="324779"/>
                  <a:pt x="3085414" y="329575"/>
                  <a:pt x="3089790" y="333613"/>
                </a:cubicBezTo>
                <a:cubicBezTo>
                  <a:pt x="3098540" y="341691"/>
                  <a:pt x="3107122" y="350104"/>
                  <a:pt x="3115536" y="358855"/>
                </a:cubicBezTo>
                <a:cubicBezTo>
                  <a:pt x="3123950" y="367605"/>
                  <a:pt x="3131522" y="376692"/>
                  <a:pt x="3138252" y="386115"/>
                </a:cubicBezTo>
                <a:cubicBezTo>
                  <a:pt x="3144984" y="395539"/>
                  <a:pt x="3150368" y="405214"/>
                  <a:pt x="3154408" y="415143"/>
                </a:cubicBezTo>
                <a:cubicBezTo>
                  <a:pt x="3158446" y="425071"/>
                  <a:pt x="3160464" y="435420"/>
                  <a:pt x="3160464" y="446189"/>
                </a:cubicBezTo>
                <a:cubicBezTo>
                  <a:pt x="3160464" y="460998"/>
                  <a:pt x="3157772" y="474039"/>
                  <a:pt x="3152388" y="485313"/>
                </a:cubicBezTo>
                <a:cubicBezTo>
                  <a:pt x="3147002" y="496588"/>
                  <a:pt x="3139766" y="505927"/>
                  <a:pt x="3130680" y="513331"/>
                </a:cubicBezTo>
                <a:cubicBezTo>
                  <a:pt x="3121594" y="520735"/>
                  <a:pt x="3111160" y="526288"/>
                  <a:pt x="3099382" y="529990"/>
                </a:cubicBezTo>
                <a:cubicBezTo>
                  <a:pt x="3087602" y="533692"/>
                  <a:pt x="3075318" y="535544"/>
                  <a:pt x="3062528" y="535544"/>
                </a:cubicBezTo>
                <a:close/>
                <a:moveTo>
                  <a:pt x="2292890" y="561290"/>
                </a:moveTo>
                <a:cubicBezTo>
                  <a:pt x="2282120" y="561290"/>
                  <a:pt x="2272949" y="557756"/>
                  <a:pt x="2265377" y="550688"/>
                </a:cubicBezTo>
                <a:cubicBezTo>
                  <a:pt x="2257805" y="543621"/>
                  <a:pt x="2254018" y="533861"/>
                  <a:pt x="2254018" y="521408"/>
                </a:cubicBezTo>
                <a:cubicBezTo>
                  <a:pt x="2254018" y="509293"/>
                  <a:pt x="2257805" y="499701"/>
                  <a:pt x="2265377" y="492633"/>
                </a:cubicBezTo>
                <a:cubicBezTo>
                  <a:pt x="2272949" y="485566"/>
                  <a:pt x="2282120" y="482032"/>
                  <a:pt x="2292890" y="482032"/>
                </a:cubicBezTo>
                <a:cubicBezTo>
                  <a:pt x="2303660" y="482032"/>
                  <a:pt x="2312914" y="485566"/>
                  <a:pt x="2320655" y="492633"/>
                </a:cubicBezTo>
                <a:cubicBezTo>
                  <a:pt x="2328396" y="499701"/>
                  <a:pt x="2332266" y="509293"/>
                  <a:pt x="2332266" y="521408"/>
                </a:cubicBezTo>
                <a:cubicBezTo>
                  <a:pt x="2332266" y="533861"/>
                  <a:pt x="2328396" y="543621"/>
                  <a:pt x="2320655" y="550688"/>
                </a:cubicBezTo>
                <a:cubicBezTo>
                  <a:pt x="2312914" y="557756"/>
                  <a:pt x="2303660" y="561290"/>
                  <a:pt x="2292890" y="561290"/>
                </a:cubicBezTo>
                <a:close/>
                <a:moveTo>
                  <a:pt x="1959420" y="563309"/>
                </a:moveTo>
                <a:lnTo>
                  <a:pt x="1959420" y="511817"/>
                </a:lnTo>
                <a:lnTo>
                  <a:pt x="2025047" y="511817"/>
                </a:lnTo>
                <a:lnTo>
                  <a:pt x="2025047" y="310392"/>
                </a:lnTo>
                <a:cubicBezTo>
                  <a:pt x="2025047" y="277746"/>
                  <a:pt x="2031610" y="252926"/>
                  <a:pt x="2044735" y="235930"/>
                </a:cubicBezTo>
                <a:cubicBezTo>
                  <a:pt x="2057860" y="218934"/>
                  <a:pt x="2078727" y="210436"/>
                  <a:pt x="2107333" y="210436"/>
                </a:cubicBezTo>
                <a:cubicBezTo>
                  <a:pt x="2117767" y="210436"/>
                  <a:pt x="2127106" y="211109"/>
                  <a:pt x="2135351" y="212455"/>
                </a:cubicBezTo>
                <a:cubicBezTo>
                  <a:pt x="2143597" y="213802"/>
                  <a:pt x="2150580" y="215400"/>
                  <a:pt x="2156302" y="217251"/>
                </a:cubicBezTo>
                <a:cubicBezTo>
                  <a:pt x="2162023" y="219102"/>
                  <a:pt x="2166650" y="220869"/>
                  <a:pt x="2170184" y="222552"/>
                </a:cubicBezTo>
                <a:cubicBezTo>
                  <a:pt x="2173718" y="224235"/>
                  <a:pt x="2175990" y="225413"/>
                  <a:pt x="2176999" y="226086"/>
                </a:cubicBezTo>
                <a:lnTo>
                  <a:pt x="2168922" y="276063"/>
                </a:lnTo>
                <a:cubicBezTo>
                  <a:pt x="2166230" y="275054"/>
                  <a:pt x="2160677" y="272866"/>
                  <a:pt x="2152263" y="269501"/>
                </a:cubicBezTo>
                <a:cubicBezTo>
                  <a:pt x="2143849" y="266135"/>
                  <a:pt x="2133416" y="264452"/>
                  <a:pt x="2120964" y="264452"/>
                </a:cubicBezTo>
                <a:cubicBezTo>
                  <a:pt x="2111204" y="264452"/>
                  <a:pt x="2103126" y="267313"/>
                  <a:pt x="2096732" y="273034"/>
                </a:cubicBezTo>
                <a:cubicBezTo>
                  <a:pt x="2090338" y="278756"/>
                  <a:pt x="2087140" y="289694"/>
                  <a:pt x="2087140" y="305848"/>
                </a:cubicBezTo>
                <a:lnTo>
                  <a:pt x="2087140" y="563309"/>
                </a:lnTo>
                <a:close/>
                <a:moveTo>
                  <a:pt x="1607052" y="565833"/>
                </a:moveTo>
                <a:cubicBezTo>
                  <a:pt x="1594263" y="565833"/>
                  <a:pt x="1581811" y="564234"/>
                  <a:pt x="1569695" y="561037"/>
                </a:cubicBezTo>
                <a:cubicBezTo>
                  <a:pt x="1557579" y="557840"/>
                  <a:pt x="1546810" y="552455"/>
                  <a:pt x="1537386" y="544883"/>
                </a:cubicBezTo>
                <a:cubicBezTo>
                  <a:pt x="1527963" y="537310"/>
                  <a:pt x="1520474" y="527214"/>
                  <a:pt x="1514921" y="514593"/>
                </a:cubicBezTo>
                <a:cubicBezTo>
                  <a:pt x="1509368" y="501973"/>
                  <a:pt x="1506592" y="486071"/>
                  <a:pt x="1506592" y="466887"/>
                </a:cubicBezTo>
                <a:lnTo>
                  <a:pt x="1506592" y="453257"/>
                </a:lnTo>
                <a:lnTo>
                  <a:pt x="1454595" y="453257"/>
                </a:lnTo>
                <a:lnTo>
                  <a:pt x="1454595" y="401765"/>
                </a:lnTo>
                <a:lnTo>
                  <a:pt x="1506592" y="401765"/>
                </a:lnTo>
                <a:lnTo>
                  <a:pt x="1506592" y="215989"/>
                </a:lnTo>
                <a:lnTo>
                  <a:pt x="1569190" y="215989"/>
                </a:lnTo>
                <a:lnTo>
                  <a:pt x="1569190" y="401765"/>
                </a:lnTo>
                <a:lnTo>
                  <a:pt x="1666621" y="401765"/>
                </a:lnTo>
                <a:lnTo>
                  <a:pt x="1666621" y="453257"/>
                </a:lnTo>
                <a:lnTo>
                  <a:pt x="1569190" y="453257"/>
                </a:lnTo>
                <a:lnTo>
                  <a:pt x="1569190" y="465878"/>
                </a:lnTo>
                <a:cubicBezTo>
                  <a:pt x="1569190" y="475974"/>
                  <a:pt x="1570368" y="484135"/>
                  <a:pt x="1572724" y="490362"/>
                </a:cubicBezTo>
                <a:cubicBezTo>
                  <a:pt x="1575080" y="496588"/>
                  <a:pt x="1578193" y="501384"/>
                  <a:pt x="1582063" y="504749"/>
                </a:cubicBezTo>
                <a:cubicBezTo>
                  <a:pt x="1585933" y="508115"/>
                  <a:pt x="1590477" y="510302"/>
                  <a:pt x="1595693" y="511312"/>
                </a:cubicBezTo>
                <a:cubicBezTo>
                  <a:pt x="1600910" y="512322"/>
                  <a:pt x="1606379" y="512826"/>
                  <a:pt x="1612100" y="512826"/>
                </a:cubicBezTo>
                <a:cubicBezTo>
                  <a:pt x="1622533" y="512826"/>
                  <a:pt x="1633555" y="511396"/>
                  <a:pt x="1645166" y="508535"/>
                </a:cubicBezTo>
                <a:cubicBezTo>
                  <a:pt x="1656777" y="505675"/>
                  <a:pt x="1666453" y="502898"/>
                  <a:pt x="1674194" y="500206"/>
                </a:cubicBezTo>
                <a:lnTo>
                  <a:pt x="1684795" y="550688"/>
                </a:lnTo>
                <a:cubicBezTo>
                  <a:pt x="1673689" y="556073"/>
                  <a:pt x="1661236" y="559943"/>
                  <a:pt x="1647438" y="562299"/>
                </a:cubicBezTo>
                <a:cubicBezTo>
                  <a:pt x="1633639" y="564655"/>
                  <a:pt x="1620178" y="565833"/>
                  <a:pt x="1607052" y="565833"/>
                </a:cubicBezTo>
                <a:close/>
                <a:moveTo>
                  <a:pt x="0" y="796029"/>
                </a:moveTo>
                <a:lnTo>
                  <a:pt x="4876802" y="796029"/>
                </a:lnTo>
                <a:lnTo>
                  <a:pt x="4824822" y="344498"/>
                </a:lnTo>
                <a:cubicBezTo>
                  <a:pt x="4801968" y="145891"/>
                  <a:pt x="4682292" y="207"/>
                  <a:pt x="4541980" y="155"/>
                </a:cubicBezTo>
                <a:lnTo>
                  <a:pt x="0" y="0"/>
                </a:lnTo>
                <a:close/>
              </a:path>
            </a:pathLst>
          </a:custGeom>
          <a:solidFill>
            <a:schemeClr val="bg1"/>
          </a:solidFill>
          <a:ln w="2834" cap="flat">
            <a:noFill/>
            <a:prstDash val="solid"/>
            <a:miter/>
          </a:ln>
        </p:spPr>
        <p:txBody>
          <a:bodyPr wrap="square" rtlCol="0" anchor="ctr">
            <a:noAutofit/>
          </a:bodyPr>
          <a:lstStyle/>
          <a:p>
            <a:endParaRPr lang="en-US" dirty="0"/>
          </a:p>
        </p:txBody>
      </p:sp>
      <p:pic>
        <p:nvPicPr>
          <p:cNvPr id="8" name="Imagen 7" descr="Un dibujo de una cara feliz&#10;&#10;Descripción generada automáticamente con confianza baja">
            <a:extLst>
              <a:ext uri="{FF2B5EF4-FFF2-40B4-BE49-F238E27FC236}">
                <a16:creationId xmlns:a16="http://schemas.microsoft.com/office/drawing/2014/main" id="{A82FAAE7-F450-2EFB-B470-9CA2B285AACF}"/>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7824450" y="406400"/>
            <a:ext cx="1801936" cy="934010"/>
          </a:xfrm>
          <a:prstGeom prst="rect">
            <a:avLst/>
          </a:prstGeom>
        </p:spPr>
      </p:pic>
      <p:sp>
        <p:nvSpPr>
          <p:cNvPr id="10" name="Título 9">
            <a:extLst>
              <a:ext uri="{FF2B5EF4-FFF2-40B4-BE49-F238E27FC236}">
                <a16:creationId xmlns:a16="http://schemas.microsoft.com/office/drawing/2014/main" id="{7E8DAFFC-ADDB-1273-AA91-4852BCB21C8E}"/>
              </a:ext>
            </a:extLst>
          </p:cNvPr>
          <p:cNvSpPr>
            <a:spLocks noGrp="1"/>
          </p:cNvSpPr>
          <p:nvPr>
            <p:ph type="title" hasCustomPrompt="1"/>
          </p:nvPr>
        </p:nvSpPr>
        <p:spPr>
          <a:xfrm>
            <a:off x="781051" y="1473200"/>
            <a:ext cx="10971530" cy="646331"/>
          </a:xfrm>
        </p:spPr>
        <p:txBody>
          <a:bodyPr/>
          <a:lstStyle>
            <a:lvl1pPr>
              <a:defRPr sz="4200" b="1" i="0">
                <a:solidFill>
                  <a:schemeClr val="bg1"/>
                </a:solidFill>
                <a:latin typeface="Ubuntu" panose="020B0504030602030204" pitchFamily="34" charset="0"/>
              </a:defRPr>
            </a:lvl1pPr>
          </a:lstStyle>
          <a:p>
            <a:r>
              <a:rPr lang="es-ES" dirty="0"/>
              <a:t>ASDFASFD</a:t>
            </a:r>
          </a:p>
        </p:txBody>
      </p:sp>
      <p:sp>
        <p:nvSpPr>
          <p:cNvPr id="11" name="object 12">
            <a:extLst>
              <a:ext uri="{FF2B5EF4-FFF2-40B4-BE49-F238E27FC236}">
                <a16:creationId xmlns:a16="http://schemas.microsoft.com/office/drawing/2014/main" id="{527854C5-8C21-D1AB-7E04-F771C691CE29}"/>
              </a:ext>
            </a:extLst>
          </p:cNvPr>
          <p:cNvSpPr txBox="1"/>
          <p:nvPr userDrawn="1"/>
        </p:nvSpPr>
        <p:spPr>
          <a:xfrm>
            <a:off x="779780" y="787400"/>
            <a:ext cx="10948670" cy="567463"/>
          </a:xfrm>
          <a:prstGeom prst="rect">
            <a:avLst/>
          </a:prstGeom>
        </p:spPr>
        <p:txBody>
          <a:bodyPr vert="horz" wrap="square" lIns="0" tIns="13335" rIns="0" bIns="0" rtlCol="0">
            <a:spAutoFit/>
          </a:bodyPr>
          <a:lstStyle/>
          <a:p>
            <a:pPr marL="12700">
              <a:lnSpc>
                <a:spcPct val="100000"/>
              </a:lnSpc>
              <a:spcBef>
                <a:spcPts val="105"/>
              </a:spcBef>
            </a:pPr>
            <a:r>
              <a:rPr lang="en-US" sz="3600" spc="-30" dirty="0">
                <a:solidFill>
                  <a:srgbClr val="FFFFFF"/>
                </a:solidFill>
                <a:latin typeface="Ubuntu Mono" panose="020B0509030602030204" pitchFamily="49" charset="0"/>
                <a:cs typeface="Ubuntu"/>
              </a:rPr>
              <a:t>Thinking about…</a:t>
            </a:r>
            <a:endParaRPr lang="en-US" sz="3600" dirty="0">
              <a:latin typeface="Ubuntu"/>
              <a:cs typeface="Ubuntu"/>
            </a:endParaRPr>
          </a:p>
        </p:txBody>
      </p:sp>
      <p:sp>
        <p:nvSpPr>
          <p:cNvPr id="15" name="Marcador de texto 14">
            <a:extLst>
              <a:ext uri="{FF2B5EF4-FFF2-40B4-BE49-F238E27FC236}">
                <a16:creationId xmlns:a16="http://schemas.microsoft.com/office/drawing/2014/main" id="{894536B8-BEFF-96E8-2A83-A0B97363D840}"/>
              </a:ext>
            </a:extLst>
          </p:cNvPr>
          <p:cNvSpPr>
            <a:spLocks noGrp="1"/>
          </p:cNvSpPr>
          <p:nvPr>
            <p:ph type="body" sz="quarter" idx="10"/>
          </p:nvPr>
        </p:nvSpPr>
        <p:spPr>
          <a:xfrm>
            <a:off x="755650" y="2754313"/>
            <a:ext cx="10996613" cy="7326819"/>
          </a:xfrm>
          <a:prstGeom prst="rect">
            <a:avLst/>
          </a:prstGeom>
        </p:spPr>
        <p:txBody>
          <a:bodyPr/>
          <a:lstStyle>
            <a:lvl1pPr>
              <a:defRPr sz="2900" b="0" i="0">
                <a:solidFill>
                  <a:schemeClr val="bg1"/>
                </a:solidFill>
                <a:latin typeface="Ubuntu Light" panose="020B0304030602030204" pitchFamily="34" charset="0"/>
              </a:defRPr>
            </a:lvl1pPr>
            <a:lvl2pPr>
              <a:defRPr sz="2900" b="0" i="0">
                <a:solidFill>
                  <a:schemeClr val="bg1"/>
                </a:solidFill>
                <a:latin typeface="Ubuntu Light" panose="020B0304030602030204" pitchFamily="34" charset="0"/>
              </a:defRPr>
            </a:lvl2pPr>
            <a:lvl3pPr>
              <a:defRPr sz="2900" b="0" i="0">
                <a:solidFill>
                  <a:schemeClr val="bg1"/>
                </a:solidFill>
                <a:latin typeface="Ubuntu Light" panose="020B0304030602030204" pitchFamily="34" charset="0"/>
              </a:defRPr>
            </a:lvl3pPr>
            <a:lvl4pPr>
              <a:defRPr sz="2900" b="0" i="0">
                <a:solidFill>
                  <a:schemeClr val="bg1"/>
                </a:solidFill>
                <a:latin typeface="Ubuntu Light" panose="020B0304030602030204" pitchFamily="34" charset="0"/>
              </a:defRPr>
            </a:lvl4pPr>
            <a:lvl5pPr>
              <a:defRPr sz="2900" b="0" i="0">
                <a:solidFill>
                  <a:schemeClr val="bg1"/>
                </a:solidFill>
                <a:latin typeface="Ubuntu Light" panose="020B0304030602030204" pitchFamily="34" charset="0"/>
              </a:defRPr>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p>
        </p:txBody>
      </p:sp>
    </p:spTree>
    <p:extLst>
      <p:ext uri="{BB962C8B-B14F-4D97-AF65-F5344CB8AC3E}">
        <p14:creationId xmlns:p14="http://schemas.microsoft.com/office/powerpoint/2010/main" val="363281786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1_Title and Content">
    <p:spTree>
      <p:nvGrpSpPr>
        <p:cNvPr id="1" name=""/>
        <p:cNvGrpSpPr/>
        <p:nvPr/>
      </p:nvGrpSpPr>
      <p:grpSpPr>
        <a:xfrm>
          <a:off x="0" y="0"/>
          <a:ext cx="0" cy="0"/>
          <a:chOff x="0" y="0"/>
          <a:chExt cx="0" cy="0"/>
        </a:xfrm>
      </p:grpSpPr>
      <p:pic>
        <p:nvPicPr>
          <p:cNvPr id="14" name="Imagen 13" descr="Imagen que contiene interior, tabla, juguete, pequeño&#10;&#10;Descripción generada automáticamente">
            <a:extLst>
              <a:ext uri="{FF2B5EF4-FFF2-40B4-BE49-F238E27FC236}">
                <a16:creationId xmlns:a16="http://schemas.microsoft.com/office/drawing/2014/main" id="{356AC59D-2828-4EBF-CDAD-2123751ADA0A}"/>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17753"/>
            <a:ext cx="11741150" cy="11328400"/>
          </a:xfrm>
          <a:prstGeom prst="rect">
            <a:avLst/>
          </a:prstGeom>
        </p:spPr>
      </p:pic>
      <p:sp>
        <p:nvSpPr>
          <p:cNvPr id="3" name="Rectángulo 2">
            <a:extLst>
              <a:ext uri="{FF2B5EF4-FFF2-40B4-BE49-F238E27FC236}">
                <a16:creationId xmlns:a16="http://schemas.microsoft.com/office/drawing/2014/main" id="{8E2A0C8C-2F63-07D5-D3ED-F129D31CE088}"/>
              </a:ext>
            </a:extLst>
          </p:cNvPr>
          <p:cNvSpPr/>
          <p:nvPr userDrawn="1"/>
        </p:nvSpPr>
        <p:spPr>
          <a:xfrm>
            <a:off x="6318250" y="-17753"/>
            <a:ext cx="13785850" cy="11346153"/>
          </a:xfrm>
          <a:prstGeom prst="rect">
            <a:avLst/>
          </a:prstGeom>
          <a:solidFill>
            <a:srgbClr val="330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4" name="Holder 4"/>
          <p:cNvSpPr>
            <a:spLocks noGrp="1"/>
          </p:cNvSpPr>
          <p:nvPr>
            <p:ph type="ftr" sz="quarter" idx="5"/>
          </p:nvPr>
        </p:nvSpPr>
        <p:spPr>
          <a:xfrm>
            <a:off x="16647741" y="10759212"/>
            <a:ext cx="2962677" cy="200055"/>
          </a:xfrm>
          <a:prstGeom prst="rect">
            <a:avLst/>
          </a:prstGeom>
        </p:spPr>
        <p:txBody>
          <a:bodyPr lIns="0" tIns="0" rIns="0" bIns="0"/>
          <a:lstStyle>
            <a:lvl1pPr>
              <a:defRPr sz="1300" b="0" i="0">
                <a:solidFill>
                  <a:schemeClr val="bg1"/>
                </a:solidFill>
                <a:latin typeface="Ubuntu Light"/>
                <a:cs typeface="Ubuntu Light"/>
              </a:defRPr>
            </a:lvl1pPr>
          </a:lstStyle>
          <a:p>
            <a:pPr marL="26034">
              <a:spcBef>
                <a:spcPts val="30"/>
              </a:spcBef>
            </a:pPr>
            <a:r>
              <a:rPr lang="es-ES" dirty="0"/>
              <a:t>Public</a:t>
            </a:r>
            <a:r>
              <a:rPr lang="es-ES" spc="-40" dirty="0"/>
              <a:t> </a:t>
            </a:r>
            <a:r>
              <a:rPr lang="es-ES" dirty="0"/>
              <a:t>©</a:t>
            </a:r>
            <a:r>
              <a:rPr lang="es-ES" spc="-40" dirty="0"/>
              <a:t> </a:t>
            </a:r>
            <a:r>
              <a:rPr lang="es-ES" dirty="0"/>
              <a:t>2023</a:t>
            </a:r>
            <a:r>
              <a:rPr lang="es-ES" spc="-40" dirty="0"/>
              <a:t> </a:t>
            </a:r>
            <a:r>
              <a:rPr lang="es-ES" spc="-10" dirty="0"/>
              <a:t>Sogeti.</a:t>
            </a:r>
            <a:r>
              <a:rPr lang="es-ES" spc="-35" dirty="0"/>
              <a:t> </a:t>
            </a:r>
            <a:r>
              <a:rPr lang="es-ES" dirty="0" err="1"/>
              <a:t>All</a:t>
            </a:r>
            <a:r>
              <a:rPr lang="es-ES" spc="-40" dirty="0"/>
              <a:t> </a:t>
            </a:r>
            <a:r>
              <a:rPr lang="es-ES" dirty="0"/>
              <a:t>rights</a:t>
            </a:r>
            <a:r>
              <a:rPr lang="es-ES" spc="-40" dirty="0"/>
              <a:t> </a:t>
            </a:r>
            <a:r>
              <a:rPr lang="es-ES" spc="-10" dirty="0" err="1"/>
              <a:t>reserved</a:t>
            </a:r>
            <a:endParaRPr lang="es-ES" spc="-10" dirty="0"/>
          </a:p>
        </p:txBody>
      </p:sp>
      <p:sp>
        <p:nvSpPr>
          <p:cNvPr id="2" name="CuadroTexto 1">
            <a:extLst>
              <a:ext uri="{FF2B5EF4-FFF2-40B4-BE49-F238E27FC236}">
                <a16:creationId xmlns:a16="http://schemas.microsoft.com/office/drawing/2014/main" id="{72E5CF79-7DA3-E21E-3060-87CB44907F25}"/>
              </a:ext>
            </a:extLst>
          </p:cNvPr>
          <p:cNvSpPr txBox="1"/>
          <p:nvPr userDrawn="1"/>
        </p:nvSpPr>
        <p:spPr>
          <a:xfrm>
            <a:off x="755650" y="10845800"/>
            <a:ext cx="7772400" cy="292388"/>
          </a:xfrm>
          <a:prstGeom prst="rect">
            <a:avLst/>
          </a:prstGeom>
          <a:noFill/>
        </p:spPr>
        <p:txBody>
          <a:bodyPr wrap="square" rtlCol="0">
            <a:spAutoFit/>
          </a:bodyPr>
          <a:lstStyle/>
          <a:p>
            <a:r>
              <a:rPr lang="es-ES" sz="1300" b="0" i="0" dirty="0">
                <a:solidFill>
                  <a:schemeClr val="bg1"/>
                </a:solidFill>
                <a:latin typeface="Ubuntu Medium" panose="020B0504030602030204" pitchFamily="34" charset="0"/>
              </a:rPr>
              <a:t>#FlourishingDigitalBusinessWithQuality </a:t>
            </a:r>
            <a:r>
              <a:rPr lang="es-ES" sz="1300" b="1" i="0" dirty="0">
                <a:solidFill>
                  <a:schemeClr val="bg1"/>
                </a:solidFill>
                <a:latin typeface="Ubuntu" panose="020B0504030602030204" pitchFamily="34" charset="0"/>
              </a:rPr>
              <a:t> </a:t>
            </a:r>
            <a:r>
              <a:rPr lang="es-ES" sz="1300" b="1" i="0" dirty="0">
                <a:solidFill>
                  <a:srgbClr val="290E3B"/>
                </a:solidFill>
                <a:latin typeface="Ubuntu" panose="020B0504030602030204" pitchFamily="34" charset="0"/>
              </a:rPr>
              <a:t>·</a:t>
            </a:r>
            <a:r>
              <a:rPr lang="es-ES" sz="1300" b="0" i="0" dirty="0">
                <a:solidFill>
                  <a:schemeClr val="tx2"/>
                </a:solidFill>
                <a:latin typeface="Ubuntu Medium" panose="020B0504030602030204" pitchFamily="34" charset="0"/>
              </a:rPr>
              <a:t>   </a:t>
            </a:r>
            <a:r>
              <a:rPr lang="es-ES" sz="1300" b="1" i="0" dirty="0">
                <a:solidFill>
                  <a:srgbClr val="12A9D8"/>
                </a:solidFill>
                <a:latin typeface="Ubuntu" panose="020B0504030602030204" pitchFamily="34" charset="0"/>
              </a:rPr>
              <a:t>Sogeti España</a:t>
            </a:r>
          </a:p>
        </p:txBody>
      </p:sp>
      <p:sp>
        <p:nvSpPr>
          <p:cNvPr id="5" name="Forma libre 4">
            <a:extLst>
              <a:ext uri="{FF2B5EF4-FFF2-40B4-BE49-F238E27FC236}">
                <a16:creationId xmlns:a16="http://schemas.microsoft.com/office/drawing/2014/main" id="{FBAABD7F-C513-9B40-6AE2-E43DB3944CCE}"/>
              </a:ext>
            </a:extLst>
          </p:cNvPr>
          <p:cNvSpPr/>
          <p:nvPr userDrawn="1"/>
        </p:nvSpPr>
        <p:spPr>
          <a:xfrm flipV="1">
            <a:off x="755650" y="10384024"/>
            <a:ext cx="2362200" cy="385576"/>
          </a:xfrm>
          <a:custGeom>
            <a:avLst/>
            <a:gdLst/>
            <a:ahLst/>
            <a:cxnLst/>
            <a:rect l="l" t="t" r="r" b="b"/>
            <a:pathLst>
              <a:path w="4876802" h="796029">
                <a:moveTo>
                  <a:pt x="2572782" y="405299"/>
                </a:moveTo>
                <a:cubicBezTo>
                  <a:pt x="2589609" y="405299"/>
                  <a:pt x="2601809" y="398820"/>
                  <a:pt x="2609382" y="385863"/>
                </a:cubicBezTo>
                <a:cubicBezTo>
                  <a:pt x="2616954" y="372906"/>
                  <a:pt x="2620740" y="355826"/>
                  <a:pt x="2620740" y="334623"/>
                </a:cubicBezTo>
                <a:cubicBezTo>
                  <a:pt x="2620740" y="313420"/>
                  <a:pt x="2616618" y="296256"/>
                  <a:pt x="2608372" y="283131"/>
                </a:cubicBezTo>
                <a:cubicBezTo>
                  <a:pt x="2600126" y="270006"/>
                  <a:pt x="2587927" y="263443"/>
                  <a:pt x="2571772" y="263443"/>
                </a:cubicBezTo>
                <a:cubicBezTo>
                  <a:pt x="2554945" y="263443"/>
                  <a:pt x="2542744" y="270006"/>
                  <a:pt x="2535172" y="283131"/>
                </a:cubicBezTo>
                <a:cubicBezTo>
                  <a:pt x="2527600" y="296256"/>
                  <a:pt x="2523814" y="313420"/>
                  <a:pt x="2523814" y="334623"/>
                </a:cubicBezTo>
                <a:cubicBezTo>
                  <a:pt x="2523814" y="355826"/>
                  <a:pt x="2527937" y="372906"/>
                  <a:pt x="2536182" y="385863"/>
                </a:cubicBezTo>
                <a:cubicBezTo>
                  <a:pt x="2544428" y="398820"/>
                  <a:pt x="2556628" y="405299"/>
                  <a:pt x="2572782" y="405299"/>
                </a:cubicBezTo>
                <a:close/>
                <a:moveTo>
                  <a:pt x="1810782" y="405299"/>
                </a:moveTo>
                <a:cubicBezTo>
                  <a:pt x="1827610" y="405299"/>
                  <a:pt x="1839810" y="398820"/>
                  <a:pt x="1847382" y="385863"/>
                </a:cubicBezTo>
                <a:cubicBezTo>
                  <a:pt x="1854954" y="372906"/>
                  <a:pt x="1858740" y="355826"/>
                  <a:pt x="1858740" y="334623"/>
                </a:cubicBezTo>
                <a:cubicBezTo>
                  <a:pt x="1858740" y="313420"/>
                  <a:pt x="1854618" y="296256"/>
                  <a:pt x="1846372" y="283131"/>
                </a:cubicBezTo>
                <a:cubicBezTo>
                  <a:pt x="1838127" y="270006"/>
                  <a:pt x="1825927" y="263443"/>
                  <a:pt x="1809772" y="263443"/>
                </a:cubicBezTo>
                <a:cubicBezTo>
                  <a:pt x="1792945" y="263443"/>
                  <a:pt x="1780745" y="270006"/>
                  <a:pt x="1773173" y="283131"/>
                </a:cubicBezTo>
                <a:cubicBezTo>
                  <a:pt x="1765600" y="296256"/>
                  <a:pt x="1761814" y="313420"/>
                  <a:pt x="1761814" y="334623"/>
                </a:cubicBezTo>
                <a:cubicBezTo>
                  <a:pt x="1761814" y="355826"/>
                  <a:pt x="1765937" y="372906"/>
                  <a:pt x="1774182" y="385863"/>
                </a:cubicBezTo>
                <a:cubicBezTo>
                  <a:pt x="1782428" y="398820"/>
                  <a:pt x="1794628" y="405299"/>
                  <a:pt x="1810782" y="405299"/>
                </a:cubicBezTo>
                <a:close/>
                <a:moveTo>
                  <a:pt x="810657" y="405299"/>
                </a:moveTo>
                <a:cubicBezTo>
                  <a:pt x="827485" y="405299"/>
                  <a:pt x="839684" y="398820"/>
                  <a:pt x="847257" y="385863"/>
                </a:cubicBezTo>
                <a:cubicBezTo>
                  <a:pt x="854829" y="372906"/>
                  <a:pt x="858615" y="355826"/>
                  <a:pt x="858616" y="334623"/>
                </a:cubicBezTo>
                <a:cubicBezTo>
                  <a:pt x="858615" y="313420"/>
                  <a:pt x="854493" y="296256"/>
                  <a:pt x="846247" y="283131"/>
                </a:cubicBezTo>
                <a:cubicBezTo>
                  <a:pt x="838002" y="270006"/>
                  <a:pt x="825802" y="263443"/>
                  <a:pt x="809647" y="263443"/>
                </a:cubicBezTo>
                <a:cubicBezTo>
                  <a:pt x="792820" y="263443"/>
                  <a:pt x="780620" y="270006"/>
                  <a:pt x="773048" y="283131"/>
                </a:cubicBezTo>
                <a:cubicBezTo>
                  <a:pt x="765475" y="296256"/>
                  <a:pt x="761689" y="313420"/>
                  <a:pt x="761689" y="334623"/>
                </a:cubicBezTo>
                <a:cubicBezTo>
                  <a:pt x="761689" y="355826"/>
                  <a:pt x="765812" y="372906"/>
                  <a:pt x="774057" y="385863"/>
                </a:cubicBezTo>
                <a:cubicBezTo>
                  <a:pt x="782303" y="398820"/>
                  <a:pt x="794503" y="405299"/>
                  <a:pt x="810657" y="405299"/>
                </a:cubicBezTo>
                <a:close/>
                <a:moveTo>
                  <a:pt x="3325256" y="411861"/>
                </a:moveTo>
                <a:cubicBezTo>
                  <a:pt x="3316506" y="411861"/>
                  <a:pt x="3309608" y="408496"/>
                  <a:pt x="3304560" y="401765"/>
                </a:cubicBezTo>
                <a:cubicBezTo>
                  <a:pt x="3299512" y="395034"/>
                  <a:pt x="3296988" y="387125"/>
                  <a:pt x="3296988" y="378038"/>
                </a:cubicBezTo>
                <a:cubicBezTo>
                  <a:pt x="3296988" y="368951"/>
                  <a:pt x="3299512" y="361126"/>
                  <a:pt x="3304560" y="354564"/>
                </a:cubicBezTo>
                <a:cubicBezTo>
                  <a:pt x="3309608" y="348001"/>
                  <a:pt x="3316506" y="344720"/>
                  <a:pt x="3325256" y="344720"/>
                </a:cubicBezTo>
                <a:cubicBezTo>
                  <a:pt x="3333334" y="344720"/>
                  <a:pt x="3339980" y="348001"/>
                  <a:pt x="3345198" y="354564"/>
                </a:cubicBezTo>
                <a:cubicBezTo>
                  <a:pt x="3350414" y="361126"/>
                  <a:pt x="3353022" y="368951"/>
                  <a:pt x="3353022" y="378038"/>
                </a:cubicBezTo>
                <a:cubicBezTo>
                  <a:pt x="3353022" y="387125"/>
                  <a:pt x="3350414" y="395034"/>
                  <a:pt x="3345198" y="401765"/>
                </a:cubicBezTo>
                <a:cubicBezTo>
                  <a:pt x="3339980" y="408496"/>
                  <a:pt x="3333334" y="411861"/>
                  <a:pt x="3325256" y="411861"/>
                </a:cubicBezTo>
                <a:close/>
                <a:moveTo>
                  <a:pt x="2207070" y="453257"/>
                </a:moveTo>
                <a:lnTo>
                  <a:pt x="2207070" y="401765"/>
                </a:lnTo>
                <a:lnTo>
                  <a:pt x="2272697" y="401765"/>
                </a:lnTo>
                <a:lnTo>
                  <a:pt x="2272697" y="314430"/>
                </a:lnTo>
                <a:cubicBezTo>
                  <a:pt x="2272697" y="297939"/>
                  <a:pt x="2274043" y="283299"/>
                  <a:pt x="2276735" y="270510"/>
                </a:cubicBezTo>
                <a:cubicBezTo>
                  <a:pt x="2279428" y="257721"/>
                  <a:pt x="2284055" y="246868"/>
                  <a:pt x="2290618" y="237949"/>
                </a:cubicBezTo>
                <a:cubicBezTo>
                  <a:pt x="2297181" y="229031"/>
                  <a:pt x="2305931" y="222215"/>
                  <a:pt x="2316869" y="217504"/>
                </a:cubicBezTo>
                <a:cubicBezTo>
                  <a:pt x="2327807" y="212792"/>
                  <a:pt x="2341353" y="210436"/>
                  <a:pt x="2357508" y="210436"/>
                </a:cubicBezTo>
                <a:cubicBezTo>
                  <a:pt x="2366931" y="210436"/>
                  <a:pt x="2377280" y="211530"/>
                  <a:pt x="2388554" y="213718"/>
                </a:cubicBezTo>
                <a:cubicBezTo>
                  <a:pt x="2399829" y="215905"/>
                  <a:pt x="2411860" y="220028"/>
                  <a:pt x="2424649" y="226086"/>
                </a:cubicBezTo>
                <a:lnTo>
                  <a:pt x="2416572" y="276063"/>
                </a:lnTo>
                <a:cubicBezTo>
                  <a:pt x="2406475" y="271352"/>
                  <a:pt x="2397388" y="268239"/>
                  <a:pt x="2389312" y="266724"/>
                </a:cubicBezTo>
                <a:cubicBezTo>
                  <a:pt x="2381234" y="265210"/>
                  <a:pt x="2374335" y="264452"/>
                  <a:pt x="2368614" y="264452"/>
                </a:cubicBezTo>
                <a:cubicBezTo>
                  <a:pt x="2356498" y="264452"/>
                  <a:pt x="2347832" y="267902"/>
                  <a:pt x="2342615" y="274801"/>
                </a:cubicBezTo>
                <a:cubicBezTo>
                  <a:pt x="2337398" y="281701"/>
                  <a:pt x="2334790" y="292218"/>
                  <a:pt x="2334790" y="306353"/>
                </a:cubicBezTo>
                <a:lnTo>
                  <a:pt x="2334790" y="453257"/>
                </a:lnTo>
                <a:close/>
                <a:moveTo>
                  <a:pt x="1088092" y="457800"/>
                </a:moveTo>
                <a:cubicBezTo>
                  <a:pt x="1064870" y="457800"/>
                  <a:pt x="1044593" y="455949"/>
                  <a:pt x="1027260" y="452247"/>
                </a:cubicBezTo>
                <a:cubicBezTo>
                  <a:pt x="1009928" y="448545"/>
                  <a:pt x="993016" y="443665"/>
                  <a:pt x="976526" y="437607"/>
                </a:cubicBezTo>
                <a:lnTo>
                  <a:pt x="976526" y="215989"/>
                </a:lnTo>
                <a:lnTo>
                  <a:pt x="1039124" y="215989"/>
                </a:lnTo>
                <a:lnTo>
                  <a:pt x="1039124" y="392173"/>
                </a:lnTo>
                <a:cubicBezTo>
                  <a:pt x="1047874" y="394529"/>
                  <a:pt x="1056456" y="396128"/>
                  <a:pt x="1064870" y="396969"/>
                </a:cubicBezTo>
                <a:cubicBezTo>
                  <a:pt x="1073284" y="397810"/>
                  <a:pt x="1081866" y="398231"/>
                  <a:pt x="1090616" y="398231"/>
                </a:cubicBezTo>
                <a:cubicBezTo>
                  <a:pt x="1094318" y="398231"/>
                  <a:pt x="1098861" y="398063"/>
                  <a:pt x="1104246" y="397726"/>
                </a:cubicBezTo>
                <a:cubicBezTo>
                  <a:pt x="1109631" y="397390"/>
                  <a:pt x="1115184" y="396801"/>
                  <a:pt x="1120905" y="395959"/>
                </a:cubicBezTo>
                <a:cubicBezTo>
                  <a:pt x="1126627" y="395118"/>
                  <a:pt x="1132264" y="394192"/>
                  <a:pt x="1137817" y="393183"/>
                </a:cubicBezTo>
                <a:cubicBezTo>
                  <a:pt x="1143370" y="392173"/>
                  <a:pt x="1148166" y="391164"/>
                  <a:pt x="1152205" y="390154"/>
                </a:cubicBezTo>
                <a:lnTo>
                  <a:pt x="1163311" y="447704"/>
                </a:lnTo>
                <a:cubicBezTo>
                  <a:pt x="1157589" y="449723"/>
                  <a:pt x="1151111" y="451322"/>
                  <a:pt x="1143875" y="452500"/>
                </a:cubicBezTo>
                <a:cubicBezTo>
                  <a:pt x="1136639" y="453678"/>
                  <a:pt x="1129487" y="454687"/>
                  <a:pt x="1122420" y="455529"/>
                </a:cubicBezTo>
                <a:cubicBezTo>
                  <a:pt x="1115352" y="456370"/>
                  <a:pt x="1108706" y="456959"/>
                  <a:pt x="1102479" y="457296"/>
                </a:cubicBezTo>
                <a:cubicBezTo>
                  <a:pt x="1096253" y="457632"/>
                  <a:pt x="1091457" y="457800"/>
                  <a:pt x="1088092" y="457800"/>
                </a:cubicBezTo>
                <a:close/>
                <a:moveTo>
                  <a:pt x="2572782" y="459315"/>
                </a:moveTo>
                <a:cubicBezTo>
                  <a:pt x="2556628" y="459315"/>
                  <a:pt x="2541651" y="456370"/>
                  <a:pt x="2527852" y="450480"/>
                </a:cubicBezTo>
                <a:cubicBezTo>
                  <a:pt x="2514054" y="444591"/>
                  <a:pt x="2502190" y="436177"/>
                  <a:pt x="2492262" y="425239"/>
                </a:cubicBezTo>
                <a:cubicBezTo>
                  <a:pt x="2482334" y="414301"/>
                  <a:pt x="2474594" y="401176"/>
                  <a:pt x="2469040" y="385863"/>
                </a:cubicBezTo>
                <a:cubicBezTo>
                  <a:pt x="2463487" y="370550"/>
                  <a:pt x="2460711" y="353638"/>
                  <a:pt x="2460711" y="335128"/>
                </a:cubicBezTo>
                <a:cubicBezTo>
                  <a:pt x="2460711" y="316281"/>
                  <a:pt x="2463403" y="299201"/>
                  <a:pt x="2468788" y="283888"/>
                </a:cubicBezTo>
                <a:cubicBezTo>
                  <a:pt x="2474173" y="268575"/>
                  <a:pt x="2481829" y="255366"/>
                  <a:pt x="2491758" y="244259"/>
                </a:cubicBezTo>
                <a:cubicBezTo>
                  <a:pt x="2501686" y="233153"/>
                  <a:pt x="2513465" y="224571"/>
                  <a:pt x="2527095" y="218513"/>
                </a:cubicBezTo>
                <a:cubicBezTo>
                  <a:pt x="2540726" y="212455"/>
                  <a:pt x="2555954" y="209427"/>
                  <a:pt x="2572782" y="209427"/>
                </a:cubicBezTo>
                <a:cubicBezTo>
                  <a:pt x="2589609" y="209427"/>
                  <a:pt x="2604838" y="212455"/>
                  <a:pt x="2618468" y="218513"/>
                </a:cubicBezTo>
                <a:cubicBezTo>
                  <a:pt x="2632098" y="224571"/>
                  <a:pt x="2643794" y="233153"/>
                  <a:pt x="2653554" y="244259"/>
                </a:cubicBezTo>
                <a:cubicBezTo>
                  <a:pt x="2663314" y="255366"/>
                  <a:pt x="2670886" y="268575"/>
                  <a:pt x="2676271" y="283888"/>
                </a:cubicBezTo>
                <a:cubicBezTo>
                  <a:pt x="2681656" y="299201"/>
                  <a:pt x="2684348" y="316281"/>
                  <a:pt x="2684348" y="335128"/>
                </a:cubicBezTo>
                <a:cubicBezTo>
                  <a:pt x="2684348" y="353638"/>
                  <a:pt x="2681656" y="370550"/>
                  <a:pt x="2676271" y="385863"/>
                </a:cubicBezTo>
                <a:cubicBezTo>
                  <a:pt x="2670886" y="401176"/>
                  <a:pt x="2663230" y="414301"/>
                  <a:pt x="2653302" y="425239"/>
                </a:cubicBezTo>
                <a:cubicBezTo>
                  <a:pt x="2643373" y="436177"/>
                  <a:pt x="2631594" y="444591"/>
                  <a:pt x="2617964" y="450480"/>
                </a:cubicBezTo>
                <a:cubicBezTo>
                  <a:pt x="2604334" y="456370"/>
                  <a:pt x="2589273" y="459315"/>
                  <a:pt x="2572782" y="459315"/>
                </a:cubicBezTo>
                <a:close/>
                <a:moveTo>
                  <a:pt x="1810782" y="459315"/>
                </a:moveTo>
                <a:cubicBezTo>
                  <a:pt x="1794628" y="459315"/>
                  <a:pt x="1779651" y="456370"/>
                  <a:pt x="1765853" y="450480"/>
                </a:cubicBezTo>
                <a:cubicBezTo>
                  <a:pt x="1752054" y="444591"/>
                  <a:pt x="1740191" y="436177"/>
                  <a:pt x="1730262" y="425239"/>
                </a:cubicBezTo>
                <a:cubicBezTo>
                  <a:pt x="1720334" y="414301"/>
                  <a:pt x="1712594" y="401176"/>
                  <a:pt x="1707040" y="385863"/>
                </a:cubicBezTo>
                <a:cubicBezTo>
                  <a:pt x="1701488" y="370550"/>
                  <a:pt x="1698711" y="353638"/>
                  <a:pt x="1698711" y="335128"/>
                </a:cubicBezTo>
                <a:cubicBezTo>
                  <a:pt x="1698711" y="316281"/>
                  <a:pt x="1701403" y="299201"/>
                  <a:pt x="1706788" y="283888"/>
                </a:cubicBezTo>
                <a:cubicBezTo>
                  <a:pt x="1712173" y="268575"/>
                  <a:pt x="1719829" y="255366"/>
                  <a:pt x="1729758" y="244259"/>
                </a:cubicBezTo>
                <a:cubicBezTo>
                  <a:pt x="1739686" y="233153"/>
                  <a:pt x="1751465" y="224571"/>
                  <a:pt x="1765095" y="218513"/>
                </a:cubicBezTo>
                <a:cubicBezTo>
                  <a:pt x="1778726" y="212455"/>
                  <a:pt x="1793954" y="209427"/>
                  <a:pt x="1810782" y="209427"/>
                </a:cubicBezTo>
                <a:cubicBezTo>
                  <a:pt x="1827610" y="209427"/>
                  <a:pt x="1842838" y="212455"/>
                  <a:pt x="1856469" y="218513"/>
                </a:cubicBezTo>
                <a:cubicBezTo>
                  <a:pt x="1870099" y="224571"/>
                  <a:pt x="1881794" y="233153"/>
                  <a:pt x="1891554" y="244259"/>
                </a:cubicBezTo>
                <a:cubicBezTo>
                  <a:pt x="1901314" y="255366"/>
                  <a:pt x="1908886" y="268575"/>
                  <a:pt x="1914271" y="283888"/>
                </a:cubicBezTo>
                <a:cubicBezTo>
                  <a:pt x="1919656" y="299201"/>
                  <a:pt x="1922348" y="316281"/>
                  <a:pt x="1922348" y="335128"/>
                </a:cubicBezTo>
                <a:cubicBezTo>
                  <a:pt x="1922348" y="353638"/>
                  <a:pt x="1919656" y="370550"/>
                  <a:pt x="1914271" y="385863"/>
                </a:cubicBezTo>
                <a:cubicBezTo>
                  <a:pt x="1908886" y="401176"/>
                  <a:pt x="1901230" y="414301"/>
                  <a:pt x="1891302" y="425239"/>
                </a:cubicBezTo>
                <a:cubicBezTo>
                  <a:pt x="1881374" y="436177"/>
                  <a:pt x="1869594" y="444591"/>
                  <a:pt x="1855964" y="450480"/>
                </a:cubicBezTo>
                <a:cubicBezTo>
                  <a:pt x="1842334" y="456370"/>
                  <a:pt x="1827273" y="459315"/>
                  <a:pt x="1810782" y="459315"/>
                </a:cubicBezTo>
                <a:close/>
                <a:moveTo>
                  <a:pt x="810657" y="459315"/>
                </a:moveTo>
                <a:cubicBezTo>
                  <a:pt x="794503" y="459315"/>
                  <a:pt x="779526" y="456370"/>
                  <a:pt x="765728" y="450480"/>
                </a:cubicBezTo>
                <a:cubicBezTo>
                  <a:pt x="751929" y="444591"/>
                  <a:pt x="740066" y="436177"/>
                  <a:pt x="730138" y="425239"/>
                </a:cubicBezTo>
                <a:cubicBezTo>
                  <a:pt x="720209" y="414301"/>
                  <a:pt x="712469" y="401176"/>
                  <a:pt x="706916" y="385863"/>
                </a:cubicBezTo>
                <a:cubicBezTo>
                  <a:pt x="701362" y="370550"/>
                  <a:pt x="698586" y="353638"/>
                  <a:pt x="698586" y="335128"/>
                </a:cubicBezTo>
                <a:cubicBezTo>
                  <a:pt x="698586" y="316281"/>
                  <a:pt x="701278" y="299201"/>
                  <a:pt x="706663" y="283888"/>
                </a:cubicBezTo>
                <a:cubicBezTo>
                  <a:pt x="712048" y="268575"/>
                  <a:pt x="719704" y="255366"/>
                  <a:pt x="729633" y="244259"/>
                </a:cubicBezTo>
                <a:cubicBezTo>
                  <a:pt x="739561" y="233153"/>
                  <a:pt x="751340" y="224571"/>
                  <a:pt x="764970" y="218513"/>
                </a:cubicBezTo>
                <a:cubicBezTo>
                  <a:pt x="778601" y="212455"/>
                  <a:pt x="793830" y="209427"/>
                  <a:pt x="810657" y="209427"/>
                </a:cubicBezTo>
                <a:cubicBezTo>
                  <a:pt x="827485" y="209427"/>
                  <a:pt x="842713" y="212455"/>
                  <a:pt x="856344" y="218513"/>
                </a:cubicBezTo>
                <a:cubicBezTo>
                  <a:pt x="869974" y="224571"/>
                  <a:pt x="881669" y="233153"/>
                  <a:pt x="891429" y="244259"/>
                </a:cubicBezTo>
                <a:cubicBezTo>
                  <a:pt x="901189" y="255366"/>
                  <a:pt x="908761" y="268575"/>
                  <a:pt x="914146" y="283888"/>
                </a:cubicBezTo>
                <a:cubicBezTo>
                  <a:pt x="919531" y="299201"/>
                  <a:pt x="922223" y="316281"/>
                  <a:pt x="922223" y="335128"/>
                </a:cubicBezTo>
                <a:cubicBezTo>
                  <a:pt x="922223" y="353638"/>
                  <a:pt x="919531" y="370550"/>
                  <a:pt x="914146" y="385863"/>
                </a:cubicBezTo>
                <a:cubicBezTo>
                  <a:pt x="908761" y="401176"/>
                  <a:pt x="901105" y="414301"/>
                  <a:pt x="891177" y="425239"/>
                </a:cubicBezTo>
                <a:cubicBezTo>
                  <a:pt x="881248" y="436177"/>
                  <a:pt x="869469" y="444591"/>
                  <a:pt x="855839" y="450480"/>
                </a:cubicBezTo>
                <a:cubicBezTo>
                  <a:pt x="842209" y="456370"/>
                  <a:pt x="827148" y="459315"/>
                  <a:pt x="810657" y="459315"/>
                </a:cubicBezTo>
                <a:close/>
                <a:moveTo>
                  <a:pt x="546919" y="477993"/>
                </a:moveTo>
                <a:cubicBezTo>
                  <a:pt x="563410" y="477993"/>
                  <a:pt x="576620" y="474207"/>
                  <a:pt x="586548" y="466635"/>
                </a:cubicBezTo>
                <a:cubicBezTo>
                  <a:pt x="596476" y="459062"/>
                  <a:pt x="601441" y="446189"/>
                  <a:pt x="601441" y="428016"/>
                </a:cubicBezTo>
                <a:cubicBezTo>
                  <a:pt x="601441" y="408832"/>
                  <a:pt x="596392" y="395286"/>
                  <a:pt x="586296" y="387377"/>
                </a:cubicBezTo>
                <a:cubicBezTo>
                  <a:pt x="576199" y="379468"/>
                  <a:pt x="561223" y="375514"/>
                  <a:pt x="541366" y="375514"/>
                </a:cubicBezTo>
                <a:lnTo>
                  <a:pt x="516125" y="375514"/>
                </a:lnTo>
                <a:lnTo>
                  <a:pt x="516125" y="476479"/>
                </a:lnTo>
                <a:cubicBezTo>
                  <a:pt x="519827" y="477152"/>
                  <a:pt x="524960" y="477573"/>
                  <a:pt x="531522" y="477741"/>
                </a:cubicBezTo>
                <a:cubicBezTo>
                  <a:pt x="538085" y="477909"/>
                  <a:pt x="543217" y="477993"/>
                  <a:pt x="546919" y="477993"/>
                </a:cubicBezTo>
                <a:close/>
                <a:moveTo>
                  <a:pt x="3324752" y="482537"/>
                </a:moveTo>
                <a:cubicBezTo>
                  <a:pt x="3341916" y="482537"/>
                  <a:pt x="3354958" y="473198"/>
                  <a:pt x="3363876" y="454519"/>
                </a:cubicBezTo>
                <a:cubicBezTo>
                  <a:pt x="3372794" y="435841"/>
                  <a:pt x="3377254" y="408664"/>
                  <a:pt x="3377254" y="372990"/>
                </a:cubicBezTo>
                <a:cubicBezTo>
                  <a:pt x="3377254" y="336979"/>
                  <a:pt x="3372794" y="309634"/>
                  <a:pt x="3363876" y="290956"/>
                </a:cubicBezTo>
                <a:cubicBezTo>
                  <a:pt x="3354958" y="272277"/>
                  <a:pt x="3341916" y="262938"/>
                  <a:pt x="3324752" y="262938"/>
                </a:cubicBezTo>
                <a:cubicBezTo>
                  <a:pt x="3307924" y="262938"/>
                  <a:pt x="3294968" y="272277"/>
                  <a:pt x="3285880" y="290956"/>
                </a:cubicBezTo>
                <a:cubicBezTo>
                  <a:pt x="3276794" y="309634"/>
                  <a:pt x="3272250" y="336979"/>
                  <a:pt x="3272250" y="372990"/>
                </a:cubicBezTo>
                <a:cubicBezTo>
                  <a:pt x="3272250" y="408664"/>
                  <a:pt x="3276794" y="435841"/>
                  <a:pt x="3285880" y="454519"/>
                </a:cubicBezTo>
                <a:cubicBezTo>
                  <a:pt x="3294968" y="473198"/>
                  <a:pt x="3307924" y="482537"/>
                  <a:pt x="3324752" y="482537"/>
                </a:cubicBezTo>
                <a:close/>
                <a:moveTo>
                  <a:pt x="1323054" y="522923"/>
                </a:moveTo>
                <a:lnTo>
                  <a:pt x="1260961" y="512826"/>
                </a:lnTo>
                <a:lnTo>
                  <a:pt x="1260961" y="453257"/>
                </a:lnTo>
                <a:lnTo>
                  <a:pt x="1206945" y="453257"/>
                </a:lnTo>
                <a:lnTo>
                  <a:pt x="1206945" y="401765"/>
                </a:lnTo>
                <a:lnTo>
                  <a:pt x="1260961" y="401765"/>
                </a:lnTo>
                <a:lnTo>
                  <a:pt x="1260961" y="304334"/>
                </a:lnTo>
                <a:cubicBezTo>
                  <a:pt x="1260961" y="284477"/>
                  <a:pt x="1262980" y="268407"/>
                  <a:pt x="1267019" y="256123"/>
                </a:cubicBezTo>
                <a:cubicBezTo>
                  <a:pt x="1271057" y="243839"/>
                  <a:pt x="1276947" y="234331"/>
                  <a:pt x="1284688" y="227600"/>
                </a:cubicBezTo>
                <a:cubicBezTo>
                  <a:pt x="1292428" y="220869"/>
                  <a:pt x="1301852" y="216326"/>
                  <a:pt x="1312958" y="213970"/>
                </a:cubicBezTo>
                <a:cubicBezTo>
                  <a:pt x="1324064" y="211614"/>
                  <a:pt x="1336853" y="210436"/>
                  <a:pt x="1351325" y="210436"/>
                </a:cubicBezTo>
                <a:cubicBezTo>
                  <a:pt x="1363777" y="210436"/>
                  <a:pt x="1376650" y="211446"/>
                  <a:pt x="1389944" y="213465"/>
                </a:cubicBezTo>
                <a:cubicBezTo>
                  <a:pt x="1403238" y="215484"/>
                  <a:pt x="1415606" y="218850"/>
                  <a:pt x="1427048" y="223562"/>
                </a:cubicBezTo>
                <a:lnTo>
                  <a:pt x="1418466" y="277073"/>
                </a:lnTo>
                <a:cubicBezTo>
                  <a:pt x="1412745" y="274381"/>
                  <a:pt x="1407444" y="272193"/>
                  <a:pt x="1402564" y="270510"/>
                </a:cubicBezTo>
                <a:cubicBezTo>
                  <a:pt x="1397684" y="268828"/>
                  <a:pt x="1392973" y="267566"/>
                  <a:pt x="1388429" y="266724"/>
                </a:cubicBezTo>
                <a:cubicBezTo>
                  <a:pt x="1383886" y="265883"/>
                  <a:pt x="1379174" y="265294"/>
                  <a:pt x="1374294" y="264957"/>
                </a:cubicBezTo>
                <a:cubicBezTo>
                  <a:pt x="1369414" y="264621"/>
                  <a:pt x="1364114" y="264452"/>
                  <a:pt x="1358392" y="264452"/>
                </a:cubicBezTo>
                <a:cubicBezTo>
                  <a:pt x="1353007" y="264452"/>
                  <a:pt x="1348127" y="264957"/>
                  <a:pt x="1343752" y="265967"/>
                </a:cubicBezTo>
                <a:cubicBezTo>
                  <a:pt x="1339377" y="266977"/>
                  <a:pt x="1335675" y="268996"/>
                  <a:pt x="1332646" y="272025"/>
                </a:cubicBezTo>
                <a:cubicBezTo>
                  <a:pt x="1329617" y="275054"/>
                  <a:pt x="1327261" y="279261"/>
                  <a:pt x="1325579" y="284645"/>
                </a:cubicBezTo>
                <a:cubicBezTo>
                  <a:pt x="1323896" y="290030"/>
                  <a:pt x="1323054" y="297098"/>
                  <a:pt x="1323054" y="305848"/>
                </a:cubicBezTo>
                <a:lnTo>
                  <a:pt x="1323054" y="401765"/>
                </a:lnTo>
                <a:lnTo>
                  <a:pt x="1422505" y="401765"/>
                </a:lnTo>
                <a:lnTo>
                  <a:pt x="1422505" y="453257"/>
                </a:lnTo>
                <a:lnTo>
                  <a:pt x="1323054" y="453257"/>
                </a:lnTo>
                <a:close/>
                <a:moveTo>
                  <a:pt x="539852" y="532010"/>
                </a:moveTo>
                <a:cubicBezTo>
                  <a:pt x="534131" y="532010"/>
                  <a:pt x="527568" y="531841"/>
                  <a:pt x="520164" y="531505"/>
                </a:cubicBezTo>
                <a:cubicBezTo>
                  <a:pt x="512760" y="531168"/>
                  <a:pt x="505187" y="530748"/>
                  <a:pt x="497447" y="530243"/>
                </a:cubicBezTo>
                <a:cubicBezTo>
                  <a:pt x="489706" y="529738"/>
                  <a:pt x="482049" y="528981"/>
                  <a:pt x="474477" y="527971"/>
                </a:cubicBezTo>
                <a:cubicBezTo>
                  <a:pt x="466905" y="526961"/>
                  <a:pt x="460090" y="525784"/>
                  <a:pt x="454032" y="524437"/>
                </a:cubicBezTo>
                <a:lnTo>
                  <a:pt x="454032" y="215989"/>
                </a:lnTo>
                <a:lnTo>
                  <a:pt x="516125" y="215989"/>
                </a:lnTo>
                <a:lnTo>
                  <a:pt x="516125" y="321498"/>
                </a:lnTo>
                <a:lnTo>
                  <a:pt x="538337" y="321498"/>
                </a:lnTo>
                <a:cubicBezTo>
                  <a:pt x="578723" y="321498"/>
                  <a:pt x="609938" y="329827"/>
                  <a:pt x="631982" y="346486"/>
                </a:cubicBezTo>
                <a:cubicBezTo>
                  <a:pt x="654026" y="363146"/>
                  <a:pt x="665048" y="390154"/>
                  <a:pt x="665048" y="427511"/>
                </a:cubicBezTo>
                <a:cubicBezTo>
                  <a:pt x="665048" y="464531"/>
                  <a:pt x="654111" y="491203"/>
                  <a:pt x="632235" y="507526"/>
                </a:cubicBezTo>
                <a:cubicBezTo>
                  <a:pt x="610359" y="523848"/>
                  <a:pt x="579565" y="532010"/>
                  <a:pt x="539852" y="532010"/>
                </a:cubicBezTo>
                <a:close/>
                <a:moveTo>
                  <a:pt x="3816452" y="535544"/>
                </a:moveTo>
                <a:cubicBezTo>
                  <a:pt x="3797604" y="535544"/>
                  <a:pt x="3780694" y="532430"/>
                  <a:pt x="3765716" y="526204"/>
                </a:cubicBezTo>
                <a:cubicBezTo>
                  <a:pt x="3750740" y="519978"/>
                  <a:pt x="3738708" y="513836"/>
                  <a:pt x="3729622" y="507778"/>
                </a:cubicBezTo>
                <a:lnTo>
                  <a:pt x="3751834" y="462344"/>
                </a:lnTo>
                <a:cubicBezTo>
                  <a:pt x="3760248" y="468065"/>
                  <a:pt x="3770260" y="472861"/>
                  <a:pt x="3781872" y="476731"/>
                </a:cubicBezTo>
                <a:cubicBezTo>
                  <a:pt x="3793482" y="480602"/>
                  <a:pt x="3805178" y="482537"/>
                  <a:pt x="3816956" y="482537"/>
                </a:cubicBezTo>
                <a:cubicBezTo>
                  <a:pt x="3829072" y="482537"/>
                  <a:pt x="3838580" y="479255"/>
                  <a:pt x="3845480" y="472693"/>
                </a:cubicBezTo>
                <a:cubicBezTo>
                  <a:pt x="3852378" y="466130"/>
                  <a:pt x="3855828" y="457127"/>
                  <a:pt x="3855828" y="445685"/>
                </a:cubicBezTo>
                <a:cubicBezTo>
                  <a:pt x="3855828" y="437944"/>
                  <a:pt x="3854230" y="431550"/>
                  <a:pt x="3851032" y="426501"/>
                </a:cubicBezTo>
                <a:cubicBezTo>
                  <a:pt x="3847836" y="421453"/>
                  <a:pt x="3843712" y="417414"/>
                  <a:pt x="3838664" y="414385"/>
                </a:cubicBezTo>
                <a:cubicBezTo>
                  <a:pt x="3833616" y="411357"/>
                  <a:pt x="3827894" y="409169"/>
                  <a:pt x="3821500" y="407823"/>
                </a:cubicBezTo>
                <a:cubicBezTo>
                  <a:pt x="3815106" y="406477"/>
                  <a:pt x="3808712" y="405803"/>
                  <a:pt x="3802316" y="405803"/>
                </a:cubicBezTo>
                <a:lnTo>
                  <a:pt x="3779094" y="405803"/>
                </a:lnTo>
                <a:lnTo>
                  <a:pt x="3779094" y="354311"/>
                </a:lnTo>
                <a:lnTo>
                  <a:pt x="3798278" y="354311"/>
                </a:lnTo>
                <a:cubicBezTo>
                  <a:pt x="3818470" y="354311"/>
                  <a:pt x="3835130" y="351030"/>
                  <a:pt x="3848256" y="344467"/>
                </a:cubicBezTo>
                <a:cubicBezTo>
                  <a:pt x="3861380" y="337904"/>
                  <a:pt x="3867944" y="326378"/>
                  <a:pt x="3867944" y="309887"/>
                </a:cubicBezTo>
                <a:cubicBezTo>
                  <a:pt x="3867944" y="296425"/>
                  <a:pt x="3863652" y="285150"/>
                  <a:pt x="3855072" y="276063"/>
                </a:cubicBezTo>
                <a:cubicBezTo>
                  <a:pt x="3846488" y="266977"/>
                  <a:pt x="3831596" y="262433"/>
                  <a:pt x="3810394" y="262433"/>
                </a:cubicBezTo>
                <a:cubicBezTo>
                  <a:pt x="3793230" y="262433"/>
                  <a:pt x="3778506" y="264284"/>
                  <a:pt x="3766222" y="267986"/>
                </a:cubicBezTo>
                <a:cubicBezTo>
                  <a:pt x="3753938" y="271688"/>
                  <a:pt x="3743924" y="275222"/>
                  <a:pt x="3736184" y="278588"/>
                </a:cubicBezTo>
                <a:lnTo>
                  <a:pt x="3724068" y="226591"/>
                </a:lnTo>
                <a:cubicBezTo>
                  <a:pt x="3727770" y="224908"/>
                  <a:pt x="3732988" y="223057"/>
                  <a:pt x="3739718" y="221037"/>
                </a:cubicBezTo>
                <a:cubicBezTo>
                  <a:pt x="3746450" y="219018"/>
                  <a:pt x="3753770" y="217167"/>
                  <a:pt x="3761678" y="215484"/>
                </a:cubicBezTo>
                <a:cubicBezTo>
                  <a:pt x="3769588" y="213802"/>
                  <a:pt x="3777832" y="212371"/>
                  <a:pt x="3786414" y="211193"/>
                </a:cubicBezTo>
                <a:cubicBezTo>
                  <a:pt x="3794996" y="210015"/>
                  <a:pt x="3803158" y="209427"/>
                  <a:pt x="3810898" y="209427"/>
                </a:cubicBezTo>
                <a:cubicBezTo>
                  <a:pt x="3831764" y="209427"/>
                  <a:pt x="3849770" y="211867"/>
                  <a:pt x="3864916" y="216746"/>
                </a:cubicBezTo>
                <a:cubicBezTo>
                  <a:pt x="3880060" y="221626"/>
                  <a:pt x="3892512" y="228526"/>
                  <a:pt x="3902272" y="237444"/>
                </a:cubicBezTo>
                <a:cubicBezTo>
                  <a:pt x="3912032" y="246363"/>
                  <a:pt x="3919268" y="256880"/>
                  <a:pt x="3923980" y="268996"/>
                </a:cubicBezTo>
                <a:cubicBezTo>
                  <a:pt x="3928692" y="281112"/>
                  <a:pt x="3931048" y="294405"/>
                  <a:pt x="3931048" y="308877"/>
                </a:cubicBezTo>
                <a:cubicBezTo>
                  <a:pt x="3931048" y="327051"/>
                  <a:pt x="3926588" y="342700"/>
                  <a:pt x="3917668" y="355826"/>
                </a:cubicBezTo>
                <a:cubicBezTo>
                  <a:pt x="3908750" y="368951"/>
                  <a:pt x="3896214" y="378879"/>
                  <a:pt x="3880060" y="385610"/>
                </a:cubicBezTo>
                <a:cubicBezTo>
                  <a:pt x="3891840" y="391668"/>
                  <a:pt x="3901262" y="400419"/>
                  <a:pt x="3908330" y="411861"/>
                </a:cubicBezTo>
                <a:cubicBezTo>
                  <a:pt x="3915398" y="423304"/>
                  <a:pt x="3918932" y="435252"/>
                  <a:pt x="3918932" y="447704"/>
                </a:cubicBezTo>
                <a:cubicBezTo>
                  <a:pt x="3918932" y="460156"/>
                  <a:pt x="3916912" y="471767"/>
                  <a:pt x="3912874" y="482537"/>
                </a:cubicBezTo>
                <a:cubicBezTo>
                  <a:pt x="3908834" y="493306"/>
                  <a:pt x="3902608" y="502646"/>
                  <a:pt x="3894196" y="510555"/>
                </a:cubicBezTo>
                <a:cubicBezTo>
                  <a:pt x="3885780" y="518464"/>
                  <a:pt x="3875096" y="524606"/>
                  <a:pt x="3862138" y="528981"/>
                </a:cubicBezTo>
                <a:cubicBezTo>
                  <a:pt x="3849180" y="533356"/>
                  <a:pt x="3833952" y="535544"/>
                  <a:pt x="3816452" y="535544"/>
                </a:cubicBezTo>
                <a:close/>
                <a:moveTo>
                  <a:pt x="3567354" y="535544"/>
                </a:moveTo>
                <a:cubicBezTo>
                  <a:pt x="3549854" y="535544"/>
                  <a:pt x="3532268" y="532178"/>
                  <a:pt x="3514600" y="525447"/>
                </a:cubicBezTo>
                <a:cubicBezTo>
                  <a:pt x="3496930" y="518716"/>
                  <a:pt x="3481366" y="508283"/>
                  <a:pt x="3467904" y="494148"/>
                </a:cubicBezTo>
                <a:lnTo>
                  <a:pt x="3498698" y="450733"/>
                </a:lnTo>
                <a:cubicBezTo>
                  <a:pt x="3509130" y="461839"/>
                  <a:pt x="3519732" y="469748"/>
                  <a:pt x="3530502" y="474460"/>
                </a:cubicBezTo>
                <a:cubicBezTo>
                  <a:pt x="3541272" y="479171"/>
                  <a:pt x="3551536" y="481527"/>
                  <a:pt x="3561296" y="481527"/>
                </a:cubicBezTo>
                <a:cubicBezTo>
                  <a:pt x="3573076" y="481527"/>
                  <a:pt x="3582836" y="478078"/>
                  <a:pt x="3590576" y="471178"/>
                </a:cubicBezTo>
                <a:cubicBezTo>
                  <a:pt x="3598316" y="464279"/>
                  <a:pt x="3602186" y="454435"/>
                  <a:pt x="3602188" y="441646"/>
                </a:cubicBezTo>
                <a:cubicBezTo>
                  <a:pt x="3602186" y="432559"/>
                  <a:pt x="3599074" y="423641"/>
                  <a:pt x="3592848" y="414890"/>
                </a:cubicBezTo>
                <a:cubicBezTo>
                  <a:pt x="3586622" y="406140"/>
                  <a:pt x="3578712" y="397053"/>
                  <a:pt x="3569120" y="387630"/>
                </a:cubicBezTo>
                <a:cubicBezTo>
                  <a:pt x="3559528" y="378206"/>
                  <a:pt x="3549264" y="368362"/>
                  <a:pt x="3538326" y="358097"/>
                </a:cubicBezTo>
                <a:cubicBezTo>
                  <a:pt x="3527388" y="347833"/>
                  <a:pt x="3517124" y="336727"/>
                  <a:pt x="3507532" y="324779"/>
                </a:cubicBezTo>
                <a:cubicBezTo>
                  <a:pt x="3497940" y="312831"/>
                  <a:pt x="3490032" y="299790"/>
                  <a:pt x="3483806" y="285655"/>
                </a:cubicBezTo>
                <a:cubicBezTo>
                  <a:pt x="3477580" y="271520"/>
                  <a:pt x="3474466" y="256039"/>
                  <a:pt x="3474466" y="239211"/>
                </a:cubicBezTo>
                <a:cubicBezTo>
                  <a:pt x="3474466" y="237192"/>
                  <a:pt x="3474382" y="233658"/>
                  <a:pt x="3474214" y="228610"/>
                </a:cubicBezTo>
                <a:cubicBezTo>
                  <a:pt x="3474046" y="223562"/>
                  <a:pt x="3474466" y="219355"/>
                  <a:pt x="3475476" y="215989"/>
                </a:cubicBezTo>
                <a:lnTo>
                  <a:pt x="3679426" y="215989"/>
                </a:lnTo>
                <a:lnTo>
                  <a:pt x="3679426" y="267481"/>
                </a:lnTo>
                <a:lnTo>
                  <a:pt x="3545142" y="267481"/>
                </a:lnTo>
                <a:cubicBezTo>
                  <a:pt x="3545142" y="272530"/>
                  <a:pt x="3546908" y="278083"/>
                  <a:pt x="3550442" y="284141"/>
                </a:cubicBezTo>
                <a:cubicBezTo>
                  <a:pt x="3553976" y="290198"/>
                  <a:pt x="3558268" y="296172"/>
                  <a:pt x="3563316" y="302062"/>
                </a:cubicBezTo>
                <a:cubicBezTo>
                  <a:pt x="3568364" y="307952"/>
                  <a:pt x="3573748" y="313673"/>
                  <a:pt x="3579470" y="319226"/>
                </a:cubicBezTo>
                <a:cubicBezTo>
                  <a:pt x="3585190" y="324779"/>
                  <a:pt x="3590240" y="329575"/>
                  <a:pt x="3594614" y="333613"/>
                </a:cubicBezTo>
                <a:cubicBezTo>
                  <a:pt x="3603364" y="341691"/>
                  <a:pt x="3611946" y="350104"/>
                  <a:pt x="3620360" y="358855"/>
                </a:cubicBezTo>
                <a:cubicBezTo>
                  <a:pt x="3628774" y="367605"/>
                  <a:pt x="3636346" y="376692"/>
                  <a:pt x="3643078" y="386115"/>
                </a:cubicBezTo>
                <a:cubicBezTo>
                  <a:pt x="3649808" y="395539"/>
                  <a:pt x="3655194" y="405214"/>
                  <a:pt x="3659232" y="415143"/>
                </a:cubicBezTo>
                <a:cubicBezTo>
                  <a:pt x="3663270" y="425071"/>
                  <a:pt x="3665290" y="435420"/>
                  <a:pt x="3665290" y="446189"/>
                </a:cubicBezTo>
                <a:cubicBezTo>
                  <a:pt x="3665290" y="460998"/>
                  <a:pt x="3662598" y="474039"/>
                  <a:pt x="3657212" y="485313"/>
                </a:cubicBezTo>
                <a:cubicBezTo>
                  <a:pt x="3651828" y="496588"/>
                  <a:pt x="3644592" y="505927"/>
                  <a:pt x="3635506" y="513331"/>
                </a:cubicBezTo>
                <a:cubicBezTo>
                  <a:pt x="3626418" y="520735"/>
                  <a:pt x="3615986" y="526288"/>
                  <a:pt x="3604206" y="529990"/>
                </a:cubicBezTo>
                <a:cubicBezTo>
                  <a:pt x="3592426" y="533692"/>
                  <a:pt x="3580142" y="535544"/>
                  <a:pt x="3567354" y="535544"/>
                </a:cubicBezTo>
                <a:close/>
                <a:moveTo>
                  <a:pt x="3324752" y="535544"/>
                </a:moveTo>
                <a:cubicBezTo>
                  <a:pt x="3290088" y="535544"/>
                  <a:pt x="3263332" y="522081"/>
                  <a:pt x="3244486" y="495157"/>
                </a:cubicBezTo>
                <a:cubicBezTo>
                  <a:pt x="3225638" y="468233"/>
                  <a:pt x="3216214" y="427511"/>
                  <a:pt x="3216214" y="372990"/>
                </a:cubicBezTo>
                <a:cubicBezTo>
                  <a:pt x="3216214" y="317796"/>
                  <a:pt x="3225470" y="276737"/>
                  <a:pt x="3243980" y="249813"/>
                </a:cubicBezTo>
                <a:cubicBezTo>
                  <a:pt x="3262490" y="222889"/>
                  <a:pt x="3289414" y="209427"/>
                  <a:pt x="3324752" y="209427"/>
                </a:cubicBezTo>
                <a:cubicBezTo>
                  <a:pt x="3360090" y="209427"/>
                  <a:pt x="3387014" y="222889"/>
                  <a:pt x="3405524" y="249813"/>
                </a:cubicBezTo>
                <a:cubicBezTo>
                  <a:pt x="3424034" y="276737"/>
                  <a:pt x="3433290" y="317796"/>
                  <a:pt x="3433290" y="372990"/>
                </a:cubicBezTo>
                <a:cubicBezTo>
                  <a:pt x="3433290" y="427847"/>
                  <a:pt x="3424034" y="468654"/>
                  <a:pt x="3405524" y="495410"/>
                </a:cubicBezTo>
                <a:cubicBezTo>
                  <a:pt x="3387014" y="522166"/>
                  <a:pt x="3360090" y="535544"/>
                  <a:pt x="3324752" y="535544"/>
                </a:cubicBezTo>
                <a:close/>
                <a:moveTo>
                  <a:pt x="3062528" y="535544"/>
                </a:moveTo>
                <a:cubicBezTo>
                  <a:pt x="3045028" y="535544"/>
                  <a:pt x="3027444" y="532178"/>
                  <a:pt x="3009774" y="525447"/>
                </a:cubicBezTo>
                <a:cubicBezTo>
                  <a:pt x="2992106" y="518716"/>
                  <a:pt x="2976540" y="508283"/>
                  <a:pt x="2963078" y="494148"/>
                </a:cubicBezTo>
                <a:lnTo>
                  <a:pt x="2993872" y="450733"/>
                </a:lnTo>
                <a:cubicBezTo>
                  <a:pt x="3004306" y="461839"/>
                  <a:pt x="3014908" y="469748"/>
                  <a:pt x="3025676" y="474460"/>
                </a:cubicBezTo>
                <a:cubicBezTo>
                  <a:pt x="3036446" y="479171"/>
                  <a:pt x="3046712" y="481527"/>
                  <a:pt x="3056472" y="481527"/>
                </a:cubicBezTo>
                <a:cubicBezTo>
                  <a:pt x="3068250" y="481527"/>
                  <a:pt x="3078010" y="478078"/>
                  <a:pt x="3085752" y="471178"/>
                </a:cubicBezTo>
                <a:cubicBezTo>
                  <a:pt x="3093492" y="464279"/>
                  <a:pt x="3097362" y="454435"/>
                  <a:pt x="3097362" y="441646"/>
                </a:cubicBezTo>
                <a:cubicBezTo>
                  <a:pt x="3097362" y="432559"/>
                  <a:pt x="3094248" y="423641"/>
                  <a:pt x="3088022" y="414890"/>
                </a:cubicBezTo>
                <a:cubicBezTo>
                  <a:pt x="3081796" y="406140"/>
                  <a:pt x="3073888" y="397053"/>
                  <a:pt x="3064296" y="387630"/>
                </a:cubicBezTo>
                <a:cubicBezTo>
                  <a:pt x="3054704" y="378206"/>
                  <a:pt x="3044440" y="368362"/>
                  <a:pt x="3033502" y="358097"/>
                </a:cubicBezTo>
                <a:cubicBezTo>
                  <a:pt x="3022564" y="347833"/>
                  <a:pt x="3012298" y="336727"/>
                  <a:pt x="3002708" y="324779"/>
                </a:cubicBezTo>
                <a:cubicBezTo>
                  <a:pt x="2993116" y="312831"/>
                  <a:pt x="2985206" y="299790"/>
                  <a:pt x="2978980" y="285655"/>
                </a:cubicBezTo>
                <a:cubicBezTo>
                  <a:pt x="2972754" y="271520"/>
                  <a:pt x="2969642" y="256039"/>
                  <a:pt x="2969642" y="239211"/>
                </a:cubicBezTo>
                <a:cubicBezTo>
                  <a:pt x="2969642" y="237192"/>
                  <a:pt x="2969558" y="233658"/>
                  <a:pt x="2969388" y="228610"/>
                </a:cubicBezTo>
                <a:cubicBezTo>
                  <a:pt x="2969220" y="223562"/>
                  <a:pt x="2969640" y="219355"/>
                  <a:pt x="2970650" y="215989"/>
                </a:cubicBezTo>
                <a:lnTo>
                  <a:pt x="3174600" y="215989"/>
                </a:lnTo>
                <a:lnTo>
                  <a:pt x="3174600" y="267481"/>
                </a:lnTo>
                <a:lnTo>
                  <a:pt x="3040316" y="267481"/>
                </a:lnTo>
                <a:cubicBezTo>
                  <a:pt x="3040316" y="272530"/>
                  <a:pt x="3042084" y="278083"/>
                  <a:pt x="3045618" y="284141"/>
                </a:cubicBezTo>
                <a:cubicBezTo>
                  <a:pt x="3049152" y="290198"/>
                  <a:pt x="3053442" y="296172"/>
                  <a:pt x="3058490" y="302062"/>
                </a:cubicBezTo>
                <a:cubicBezTo>
                  <a:pt x="3063538" y="307952"/>
                  <a:pt x="3068924" y="313673"/>
                  <a:pt x="3074644" y="319226"/>
                </a:cubicBezTo>
                <a:cubicBezTo>
                  <a:pt x="3080366" y="324779"/>
                  <a:pt x="3085414" y="329575"/>
                  <a:pt x="3089790" y="333613"/>
                </a:cubicBezTo>
                <a:cubicBezTo>
                  <a:pt x="3098540" y="341691"/>
                  <a:pt x="3107122" y="350104"/>
                  <a:pt x="3115536" y="358855"/>
                </a:cubicBezTo>
                <a:cubicBezTo>
                  <a:pt x="3123950" y="367605"/>
                  <a:pt x="3131522" y="376692"/>
                  <a:pt x="3138252" y="386115"/>
                </a:cubicBezTo>
                <a:cubicBezTo>
                  <a:pt x="3144984" y="395539"/>
                  <a:pt x="3150368" y="405214"/>
                  <a:pt x="3154408" y="415143"/>
                </a:cubicBezTo>
                <a:cubicBezTo>
                  <a:pt x="3158446" y="425071"/>
                  <a:pt x="3160464" y="435420"/>
                  <a:pt x="3160464" y="446189"/>
                </a:cubicBezTo>
                <a:cubicBezTo>
                  <a:pt x="3160464" y="460998"/>
                  <a:pt x="3157772" y="474039"/>
                  <a:pt x="3152388" y="485313"/>
                </a:cubicBezTo>
                <a:cubicBezTo>
                  <a:pt x="3147002" y="496588"/>
                  <a:pt x="3139766" y="505927"/>
                  <a:pt x="3130680" y="513331"/>
                </a:cubicBezTo>
                <a:cubicBezTo>
                  <a:pt x="3121594" y="520735"/>
                  <a:pt x="3111160" y="526288"/>
                  <a:pt x="3099382" y="529990"/>
                </a:cubicBezTo>
                <a:cubicBezTo>
                  <a:pt x="3087602" y="533692"/>
                  <a:pt x="3075318" y="535544"/>
                  <a:pt x="3062528" y="535544"/>
                </a:cubicBezTo>
                <a:close/>
                <a:moveTo>
                  <a:pt x="2292890" y="561290"/>
                </a:moveTo>
                <a:cubicBezTo>
                  <a:pt x="2282120" y="561290"/>
                  <a:pt x="2272949" y="557756"/>
                  <a:pt x="2265377" y="550688"/>
                </a:cubicBezTo>
                <a:cubicBezTo>
                  <a:pt x="2257805" y="543621"/>
                  <a:pt x="2254018" y="533861"/>
                  <a:pt x="2254018" y="521408"/>
                </a:cubicBezTo>
                <a:cubicBezTo>
                  <a:pt x="2254018" y="509293"/>
                  <a:pt x="2257805" y="499701"/>
                  <a:pt x="2265377" y="492633"/>
                </a:cubicBezTo>
                <a:cubicBezTo>
                  <a:pt x="2272949" y="485566"/>
                  <a:pt x="2282120" y="482032"/>
                  <a:pt x="2292890" y="482032"/>
                </a:cubicBezTo>
                <a:cubicBezTo>
                  <a:pt x="2303660" y="482032"/>
                  <a:pt x="2312914" y="485566"/>
                  <a:pt x="2320655" y="492633"/>
                </a:cubicBezTo>
                <a:cubicBezTo>
                  <a:pt x="2328396" y="499701"/>
                  <a:pt x="2332266" y="509293"/>
                  <a:pt x="2332266" y="521408"/>
                </a:cubicBezTo>
                <a:cubicBezTo>
                  <a:pt x="2332266" y="533861"/>
                  <a:pt x="2328396" y="543621"/>
                  <a:pt x="2320655" y="550688"/>
                </a:cubicBezTo>
                <a:cubicBezTo>
                  <a:pt x="2312914" y="557756"/>
                  <a:pt x="2303660" y="561290"/>
                  <a:pt x="2292890" y="561290"/>
                </a:cubicBezTo>
                <a:close/>
                <a:moveTo>
                  <a:pt x="1959420" y="563309"/>
                </a:moveTo>
                <a:lnTo>
                  <a:pt x="1959420" y="511817"/>
                </a:lnTo>
                <a:lnTo>
                  <a:pt x="2025047" y="511817"/>
                </a:lnTo>
                <a:lnTo>
                  <a:pt x="2025047" y="310392"/>
                </a:lnTo>
                <a:cubicBezTo>
                  <a:pt x="2025047" y="277746"/>
                  <a:pt x="2031610" y="252926"/>
                  <a:pt x="2044735" y="235930"/>
                </a:cubicBezTo>
                <a:cubicBezTo>
                  <a:pt x="2057860" y="218934"/>
                  <a:pt x="2078727" y="210436"/>
                  <a:pt x="2107333" y="210436"/>
                </a:cubicBezTo>
                <a:cubicBezTo>
                  <a:pt x="2117767" y="210436"/>
                  <a:pt x="2127106" y="211109"/>
                  <a:pt x="2135351" y="212455"/>
                </a:cubicBezTo>
                <a:cubicBezTo>
                  <a:pt x="2143597" y="213802"/>
                  <a:pt x="2150580" y="215400"/>
                  <a:pt x="2156302" y="217251"/>
                </a:cubicBezTo>
                <a:cubicBezTo>
                  <a:pt x="2162023" y="219102"/>
                  <a:pt x="2166650" y="220869"/>
                  <a:pt x="2170184" y="222552"/>
                </a:cubicBezTo>
                <a:cubicBezTo>
                  <a:pt x="2173718" y="224235"/>
                  <a:pt x="2175990" y="225413"/>
                  <a:pt x="2176999" y="226086"/>
                </a:cubicBezTo>
                <a:lnTo>
                  <a:pt x="2168922" y="276063"/>
                </a:lnTo>
                <a:cubicBezTo>
                  <a:pt x="2166230" y="275054"/>
                  <a:pt x="2160677" y="272866"/>
                  <a:pt x="2152263" y="269501"/>
                </a:cubicBezTo>
                <a:cubicBezTo>
                  <a:pt x="2143849" y="266135"/>
                  <a:pt x="2133416" y="264452"/>
                  <a:pt x="2120964" y="264452"/>
                </a:cubicBezTo>
                <a:cubicBezTo>
                  <a:pt x="2111204" y="264452"/>
                  <a:pt x="2103126" y="267313"/>
                  <a:pt x="2096732" y="273034"/>
                </a:cubicBezTo>
                <a:cubicBezTo>
                  <a:pt x="2090338" y="278756"/>
                  <a:pt x="2087140" y="289694"/>
                  <a:pt x="2087140" y="305848"/>
                </a:cubicBezTo>
                <a:lnTo>
                  <a:pt x="2087140" y="563309"/>
                </a:lnTo>
                <a:close/>
                <a:moveTo>
                  <a:pt x="1607052" y="565833"/>
                </a:moveTo>
                <a:cubicBezTo>
                  <a:pt x="1594263" y="565833"/>
                  <a:pt x="1581811" y="564234"/>
                  <a:pt x="1569695" y="561037"/>
                </a:cubicBezTo>
                <a:cubicBezTo>
                  <a:pt x="1557579" y="557840"/>
                  <a:pt x="1546810" y="552455"/>
                  <a:pt x="1537386" y="544883"/>
                </a:cubicBezTo>
                <a:cubicBezTo>
                  <a:pt x="1527963" y="537310"/>
                  <a:pt x="1520474" y="527214"/>
                  <a:pt x="1514921" y="514593"/>
                </a:cubicBezTo>
                <a:cubicBezTo>
                  <a:pt x="1509368" y="501973"/>
                  <a:pt x="1506592" y="486071"/>
                  <a:pt x="1506592" y="466887"/>
                </a:cubicBezTo>
                <a:lnTo>
                  <a:pt x="1506592" y="453257"/>
                </a:lnTo>
                <a:lnTo>
                  <a:pt x="1454595" y="453257"/>
                </a:lnTo>
                <a:lnTo>
                  <a:pt x="1454595" y="401765"/>
                </a:lnTo>
                <a:lnTo>
                  <a:pt x="1506592" y="401765"/>
                </a:lnTo>
                <a:lnTo>
                  <a:pt x="1506592" y="215989"/>
                </a:lnTo>
                <a:lnTo>
                  <a:pt x="1569190" y="215989"/>
                </a:lnTo>
                <a:lnTo>
                  <a:pt x="1569190" y="401765"/>
                </a:lnTo>
                <a:lnTo>
                  <a:pt x="1666621" y="401765"/>
                </a:lnTo>
                <a:lnTo>
                  <a:pt x="1666621" y="453257"/>
                </a:lnTo>
                <a:lnTo>
                  <a:pt x="1569190" y="453257"/>
                </a:lnTo>
                <a:lnTo>
                  <a:pt x="1569190" y="465878"/>
                </a:lnTo>
                <a:cubicBezTo>
                  <a:pt x="1569190" y="475974"/>
                  <a:pt x="1570368" y="484135"/>
                  <a:pt x="1572724" y="490362"/>
                </a:cubicBezTo>
                <a:cubicBezTo>
                  <a:pt x="1575080" y="496588"/>
                  <a:pt x="1578193" y="501384"/>
                  <a:pt x="1582063" y="504749"/>
                </a:cubicBezTo>
                <a:cubicBezTo>
                  <a:pt x="1585933" y="508115"/>
                  <a:pt x="1590477" y="510302"/>
                  <a:pt x="1595693" y="511312"/>
                </a:cubicBezTo>
                <a:cubicBezTo>
                  <a:pt x="1600910" y="512322"/>
                  <a:pt x="1606379" y="512826"/>
                  <a:pt x="1612100" y="512826"/>
                </a:cubicBezTo>
                <a:cubicBezTo>
                  <a:pt x="1622533" y="512826"/>
                  <a:pt x="1633555" y="511396"/>
                  <a:pt x="1645166" y="508535"/>
                </a:cubicBezTo>
                <a:cubicBezTo>
                  <a:pt x="1656777" y="505675"/>
                  <a:pt x="1666453" y="502898"/>
                  <a:pt x="1674194" y="500206"/>
                </a:cubicBezTo>
                <a:lnTo>
                  <a:pt x="1684795" y="550688"/>
                </a:lnTo>
                <a:cubicBezTo>
                  <a:pt x="1673689" y="556073"/>
                  <a:pt x="1661236" y="559943"/>
                  <a:pt x="1647438" y="562299"/>
                </a:cubicBezTo>
                <a:cubicBezTo>
                  <a:pt x="1633639" y="564655"/>
                  <a:pt x="1620178" y="565833"/>
                  <a:pt x="1607052" y="565833"/>
                </a:cubicBezTo>
                <a:close/>
                <a:moveTo>
                  <a:pt x="0" y="796029"/>
                </a:moveTo>
                <a:lnTo>
                  <a:pt x="4876802" y="796029"/>
                </a:lnTo>
                <a:lnTo>
                  <a:pt x="4824822" y="344498"/>
                </a:lnTo>
                <a:cubicBezTo>
                  <a:pt x="4801968" y="145891"/>
                  <a:pt x="4682292" y="207"/>
                  <a:pt x="4541980" y="155"/>
                </a:cubicBezTo>
                <a:lnTo>
                  <a:pt x="0" y="0"/>
                </a:lnTo>
                <a:close/>
              </a:path>
            </a:pathLst>
          </a:custGeom>
          <a:solidFill>
            <a:schemeClr val="bg1"/>
          </a:solidFill>
          <a:ln w="2834" cap="flat">
            <a:noFill/>
            <a:prstDash val="solid"/>
            <a:miter/>
          </a:ln>
        </p:spPr>
        <p:txBody>
          <a:bodyPr wrap="square" rtlCol="0" anchor="ctr">
            <a:noAutofit/>
          </a:bodyPr>
          <a:lstStyle/>
          <a:p>
            <a:endParaRPr lang="en-US" dirty="0"/>
          </a:p>
        </p:txBody>
      </p:sp>
      <p:pic>
        <p:nvPicPr>
          <p:cNvPr id="8" name="Imagen 7" descr="Un dibujo de una cara feliz&#10;&#10;Descripción generada automáticamente con confianza baja">
            <a:extLst>
              <a:ext uri="{FF2B5EF4-FFF2-40B4-BE49-F238E27FC236}">
                <a16:creationId xmlns:a16="http://schemas.microsoft.com/office/drawing/2014/main" id="{A82FAAE7-F450-2EFB-B470-9CA2B285AACF}"/>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7824450" y="406400"/>
            <a:ext cx="1801936" cy="934010"/>
          </a:xfrm>
          <a:prstGeom prst="rect">
            <a:avLst/>
          </a:prstGeom>
        </p:spPr>
      </p:pic>
      <p:sp>
        <p:nvSpPr>
          <p:cNvPr id="10" name="Título 9">
            <a:extLst>
              <a:ext uri="{FF2B5EF4-FFF2-40B4-BE49-F238E27FC236}">
                <a16:creationId xmlns:a16="http://schemas.microsoft.com/office/drawing/2014/main" id="{7E8DAFFC-ADDB-1273-AA91-4852BCB21C8E}"/>
              </a:ext>
            </a:extLst>
          </p:cNvPr>
          <p:cNvSpPr>
            <a:spLocks noGrp="1"/>
          </p:cNvSpPr>
          <p:nvPr>
            <p:ph type="title" hasCustomPrompt="1"/>
          </p:nvPr>
        </p:nvSpPr>
        <p:spPr>
          <a:xfrm>
            <a:off x="7104380" y="1495932"/>
            <a:ext cx="10692384" cy="646331"/>
          </a:xfrm>
        </p:spPr>
        <p:txBody>
          <a:bodyPr/>
          <a:lstStyle>
            <a:lvl1pPr>
              <a:defRPr sz="4200" b="1" i="0">
                <a:solidFill>
                  <a:schemeClr val="bg1"/>
                </a:solidFill>
                <a:latin typeface="Ubuntu" panose="020B0504030602030204" pitchFamily="34" charset="0"/>
              </a:defRPr>
            </a:lvl1pPr>
          </a:lstStyle>
          <a:p>
            <a:r>
              <a:rPr lang="es-ES" dirty="0"/>
              <a:t>ASDFASFD</a:t>
            </a:r>
          </a:p>
        </p:txBody>
      </p:sp>
      <p:sp>
        <p:nvSpPr>
          <p:cNvPr id="11" name="object 12">
            <a:extLst>
              <a:ext uri="{FF2B5EF4-FFF2-40B4-BE49-F238E27FC236}">
                <a16:creationId xmlns:a16="http://schemas.microsoft.com/office/drawing/2014/main" id="{527854C5-8C21-D1AB-7E04-F771C691CE29}"/>
              </a:ext>
            </a:extLst>
          </p:cNvPr>
          <p:cNvSpPr txBox="1"/>
          <p:nvPr userDrawn="1"/>
        </p:nvSpPr>
        <p:spPr>
          <a:xfrm>
            <a:off x="7104380" y="807573"/>
            <a:ext cx="9881870" cy="567463"/>
          </a:xfrm>
          <a:prstGeom prst="rect">
            <a:avLst/>
          </a:prstGeom>
        </p:spPr>
        <p:txBody>
          <a:bodyPr vert="horz" wrap="square" lIns="0" tIns="13335" rIns="0" bIns="0" rtlCol="0">
            <a:spAutoFit/>
          </a:bodyPr>
          <a:lstStyle/>
          <a:p>
            <a:pPr marL="12700">
              <a:lnSpc>
                <a:spcPct val="100000"/>
              </a:lnSpc>
              <a:spcBef>
                <a:spcPts val="105"/>
              </a:spcBef>
            </a:pPr>
            <a:r>
              <a:rPr lang="en-US" sz="3600" spc="-30" dirty="0">
                <a:solidFill>
                  <a:srgbClr val="12A9D8"/>
                </a:solidFill>
                <a:latin typeface="Ubuntu Mono" panose="020B0509030602030204" pitchFamily="49" charset="0"/>
                <a:cs typeface="Ubuntu"/>
              </a:rPr>
              <a:t>Thinking about…</a:t>
            </a:r>
            <a:endParaRPr lang="en-US" sz="3600" dirty="0">
              <a:solidFill>
                <a:srgbClr val="12A9D8"/>
              </a:solidFill>
              <a:latin typeface="Ubuntu"/>
              <a:cs typeface="Ubuntu"/>
            </a:endParaRPr>
          </a:p>
        </p:txBody>
      </p:sp>
      <p:sp>
        <p:nvSpPr>
          <p:cNvPr id="15" name="Marcador de texto 14">
            <a:extLst>
              <a:ext uri="{FF2B5EF4-FFF2-40B4-BE49-F238E27FC236}">
                <a16:creationId xmlns:a16="http://schemas.microsoft.com/office/drawing/2014/main" id="{894536B8-BEFF-96E8-2A83-A0B97363D840}"/>
              </a:ext>
            </a:extLst>
          </p:cNvPr>
          <p:cNvSpPr>
            <a:spLocks noGrp="1"/>
          </p:cNvSpPr>
          <p:nvPr>
            <p:ph type="body" sz="quarter" idx="10"/>
          </p:nvPr>
        </p:nvSpPr>
        <p:spPr>
          <a:xfrm>
            <a:off x="7104380" y="3225800"/>
            <a:ext cx="12244070" cy="6931641"/>
          </a:xfrm>
          <a:prstGeom prst="rect">
            <a:avLst/>
          </a:prstGeom>
        </p:spPr>
        <p:txBody>
          <a:bodyPr/>
          <a:lstStyle>
            <a:lvl1pPr>
              <a:defRPr sz="2900" b="0" i="0">
                <a:solidFill>
                  <a:schemeClr val="bg1"/>
                </a:solidFill>
                <a:latin typeface="Ubuntu Light" panose="020B0304030602030204" pitchFamily="34" charset="0"/>
              </a:defRPr>
            </a:lvl1pPr>
            <a:lvl2pPr>
              <a:defRPr sz="2900" b="0" i="0">
                <a:solidFill>
                  <a:schemeClr val="bg1"/>
                </a:solidFill>
                <a:latin typeface="Ubuntu Light" panose="020B0304030602030204" pitchFamily="34" charset="0"/>
              </a:defRPr>
            </a:lvl2pPr>
            <a:lvl3pPr>
              <a:defRPr sz="2900" b="0" i="0">
                <a:solidFill>
                  <a:schemeClr val="bg1"/>
                </a:solidFill>
                <a:latin typeface="Ubuntu Light" panose="020B0304030602030204" pitchFamily="34" charset="0"/>
              </a:defRPr>
            </a:lvl3pPr>
            <a:lvl4pPr>
              <a:defRPr sz="2900" b="0" i="0">
                <a:solidFill>
                  <a:schemeClr val="bg1"/>
                </a:solidFill>
                <a:latin typeface="Ubuntu Light" panose="020B0304030602030204" pitchFamily="34" charset="0"/>
              </a:defRPr>
            </a:lvl4pPr>
            <a:lvl5pPr>
              <a:defRPr sz="2900" b="0" i="0">
                <a:solidFill>
                  <a:schemeClr val="bg1"/>
                </a:solidFill>
                <a:latin typeface="Ubuntu Light" panose="020B0304030602030204" pitchFamily="34" charset="0"/>
              </a:defRPr>
            </a:lvl5pPr>
          </a:lstStyle>
          <a:p>
            <a:pPr lvl="0"/>
            <a:r>
              <a:rPr lang="es-ES" dirty="0"/>
              <a:t>Haga clic para modificar los estilos de texto del patrón</a:t>
            </a:r>
          </a:p>
          <a:p>
            <a:pPr lvl="1"/>
            <a:r>
              <a:rPr lang="es-ES" dirty="0"/>
              <a:t>Segundo nivel</a:t>
            </a:r>
          </a:p>
          <a:p>
            <a:pPr lvl="2"/>
            <a:r>
              <a:rPr lang="es-ES" dirty="0"/>
              <a:t> nivel</a:t>
            </a:r>
          </a:p>
          <a:p>
            <a:pPr lvl="3"/>
            <a:r>
              <a:rPr lang="es-ES" dirty="0"/>
              <a:t>Cuarto nivel</a:t>
            </a:r>
          </a:p>
          <a:p>
            <a:pPr lvl="4"/>
            <a:r>
              <a:rPr lang="es-ES" dirty="0"/>
              <a:t>Quinto nivel</a:t>
            </a:r>
          </a:p>
        </p:txBody>
      </p:sp>
      <p:sp>
        <p:nvSpPr>
          <p:cNvPr id="16" name="CuadroTexto 15">
            <a:extLst>
              <a:ext uri="{FF2B5EF4-FFF2-40B4-BE49-F238E27FC236}">
                <a16:creationId xmlns:a16="http://schemas.microsoft.com/office/drawing/2014/main" id="{9D153551-888E-2E4A-C9F1-C375C679B619}"/>
              </a:ext>
            </a:extLst>
          </p:cNvPr>
          <p:cNvSpPr txBox="1"/>
          <p:nvPr userDrawn="1"/>
        </p:nvSpPr>
        <p:spPr>
          <a:xfrm>
            <a:off x="4870450" y="-151634"/>
            <a:ext cx="3200400" cy="4508927"/>
          </a:xfrm>
          <a:prstGeom prst="rect">
            <a:avLst/>
          </a:prstGeom>
          <a:noFill/>
        </p:spPr>
        <p:txBody>
          <a:bodyPr wrap="square" rtlCol="0">
            <a:spAutoFit/>
          </a:bodyPr>
          <a:lstStyle/>
          <a:p>
            <a:r>
              <a:rPr lang="es-ES" sz="28700" b="1" i="0" dirty="0">
                <a:solidFill>
                  <a:srgbClr val="12A9D8"/>
                </a:solidFill>
                <a:latin typeface="Ubuntu" panose="020B0504030602030204" pitchFamily="34" charset="0"/>
              </a:rPr>
              <a:t>?</a:t>
            </a:r>
          </a:p>
        </p:txBody>
      </p:sp>
    </p:spTree>
    <p:extLst>
      <p:ext uri="{BB962C8B-B14F-4D97-AF65-F5344CB8AC3E}">
        <p14:creationId xmlns:p14="http://schemas.microsoft.com/office/powerpoint/2010/main" val="390018088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2_Title and Content">
    <p:spTree>
      <p:nvGrpSpPr>
        <p:cNvPr id="1" name=""/>
        <p:cNvGrpSpPr/>
        <p:nvPr/>
      </p:nvGrpSpPr>
      <p:grpSpPr>
        <a:xfrm>
          <a:off x="0" y="0"/>
          <a:ext cx="0" cy="0"/>
          <a:chOff x="0" y="0"/>
          <a:chExt cx="0" cy="0"/>
        </a:xfrm>
      </p:grpSpPr>
      <p:pic>
        <p:nvPicPr>
          <p:cNvPr id="7" name="Imagen 6" descr="Un grupo de personas haciendo gestos&#10;&#10;Descripción generada automáticamente con confianza media">
            <a:extLst>
              <a:ext uri="{FF2B5EF4-FFF2-40B4-BE49-F238E27FC236}">
                <a16:creationId xmlns:a16="http://schemas.microsoft.com/office/drawing/2014/main" id="{BA63BCF0-B414-1E14-4ED6-024B46EB0E91}"/>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1230"/>
            <a:ext cx="7078152" cy="11328401"/>
          </a:xfrm>
          <a:prstGeom prst="rect">
            <a:avLst/>
          </a:prstGeom>
        </p:spPr>
      </p:pic>
      <p:sp>
        <p:nvSpPr>
          <p:cNvPr id="3" name="Rectángulo 2">
            <a:extLst>
              <a:ext uri="{FF2B5EF4-FFF2-40B4-BE49-F238E27FC236}">
                <a16:creationId xmlns:a16="http://schemas.microsoft.com/office/drawing/2014/main" id="{8E2A0C8C-2F63-07D5-D3ED-F129D31CE088}"/>
              </a:ext>
            </a:extLst>
          </p:cNvPr>
          <p:cNvSpPr/>
          <p:nvPr userDrawn="1"/>
        </p:nvSpPr>
        <p:spPr>
          <a:xfrm>
            <a:off x="6318250" y="-17753"/>
            <a:ext cx="13785850" cy="11346153"/>
          </a:xfrm>
          <a:prstGeom prst="rect">
            <a:avLst/>
          </a:prstGeom>
          <a:solidFill>
            <a:srgbClr val="330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4" name="Holder 4"/>
          <p:cNvSpPr>
            <a:spLocks noGrp="1"/>
          </p:cNvSpPr>
          <p:nvPr>
            <p:ph type="ftr" sz="quarter" idx="5"/>
          </p:nvPr>
        </p:nvSpPr>
        <p:spPr>
          <a:xfrm>
            <a:off x="16647741" y="10759212"/>
            <a:ext cx="2962677" cy="200055"/>
          </a:xfrm>
          <a:prstGeom prst="rect">
            <a:avLst/>
          </a:prstGeom>
        </p:spPr>
        <p:txBody>
          <a:bodyPr lIns="0" tIns="0" rIns="0" bIns="0"/>
          <a:lstStyle>
            <a:lvl1pPr>
              <a:defRPr sz="1300" b="0" i="0">
                <a:solidFill>
                  <a:schemeClr val="bg1"/>
                </a:solidFill>
                <a:latin typeface="Ubuntu Light"/>
                <a:cs typeface="Ubuntu Light"/>
              </a:defRPr>
            </a:lvl1pPr>
          </a:lstStyle>
          <a:p>
            <a:pPr marL="26034">
              <a:spcBef>
                <a:spcPts val="30"/>
              </a:spcBef>
            </a:pPr>
            <a:r>
              <a:rPr lang="es-ES" dirty="0"/>
              <a:t>Public</a:t>
            </a:r>
            <a:r>
              <a:rPr lang="es-ES" spc="-40" dirty="0"/>
              <a:t> </a:t>
            </a:r>
            <a:r>
              <a:rPr lang="es-ES" dirty="0"/>
              <a:t>©</a:t>
            </a:r>
            <a:r>
              <a:rPr lang="es-ES" spc="-40" dirty="0"/>
              <a:t> </a:t>
            </a:r>
            <a:r>
              <a:rPr lang="es-ES" dirty="0"/>
              <a:t>2023</a:t>
            </a:r>
            <a:r>
              <a:rPr lang="es-ES" spc="-40" dirty="0"/>
              <a:t> </a:t>
            </a:r>
            <a:r>
              <a:rPr lang="es-ES" spc="-10" dirty="0"/>
              <a:t>Sogeti.</a:t>
            </a:r>
            <a:r>
              <a:rPr lang="es-ES" spc="-35" dirty="0"/>
              <a:t> </a:t>
            </a:r>
            <a:r>
              <a:rPr lang="es-ES" dirty="0" err="1"/>
              <a:t>All</a:t>
            </a:r>
            <a:r>
              <a:rPr lang="es-ES" spc="-40" dirty="0"/>
              <a:t> </a:t>
            </a:r>
            <a:r>
              <a:rPr lang="es-ES" dirty="0"/>
              <a:t>rights</a:t>
            </a:r>
            <a:r>
              <a:rPr lang="es-ES" spc="-40" dirty="0"/>
              <a:t> </a:t>
            </a:r>
            <a:r>
              <a:rPr lang="es-ES" spc="-10" dirty="0" err="1"/>
              <a:t>reserved</a:t>
            </a:r>
            <a:endParaRPr lang="es-ES" spc="-10" dirty="0"/>
          </a:p>
        </p:txBody>
      </p:sp>
      <p:sp>
        <p:nvSpPr>
          <p:cNvPr id="2" name="CuadroTexto 1">
            <a:extLst>
              <a:ext uri="{FF2B5EF4-FFF2-40B4-BE49-F238E27FC236}">
                <a16:creationId xmlns:a16="http://schemas.microsoft.com/office/drawing/2014/main" id="{72E5CF79-7DA3-E21E-3060-87CB44907F25}"/>
              </a:ext>
            </a:extLst>
          </p:cNvPr>
          <p:cNvSpPr txBox="1"/>
          <p:nvPr userDrawn="1"/>
        </p:nvSpPr>
        <p:spPr>
          <a:xfrm>
            <a:off x="755650" y="10845800"/>
            <a:ext cx="7772400" cy="292388"/>
          </a:xfrm>
          <a:prstGeom prst="rect">
            <a:avLst/>
          </a:prstGeom>
          <a:noFill/>
        </p:spPr>
        <p:txBody>
          <a:bodyPr wrap="square" rtlCol="0">
            <a:spAutoFit/>
          </a:bodyPr>
          <a:lstStyle/>
          <a:p>
            <a:r>
              <a:rPr lang="es-ES" sz="1300" b="0" i="0" dirty="0">
                <a:solidFill>
                  <a:schemeClr val="bg1"/>
                </a:solidFill>
                <a:latin typeface="Ubuntu Medium" panose="020B0504030602030204" pitchFamily="34" charset="0"/>
              </a:rPr>
              <a:t>#FlourishingDigitalBusinessWithQuality </a:t>
            </a:r>
            <a:r>
              <a:rPr lang="es-ES" sz="1300" b="1" i="0" dirty="0">
                <a:solidFill>
                  <a:schemeClr val="bg1"/>
                </a:solidFill>
                <a:latin typeface="Ubuntu" panose="020B0504030602030204" pitchFamily="34" charset="0"/>
              </a:rPr>
              <a:t> </a:t>
            </a:r>
            <a:r>
              <a:rPr lang="es-ES" sz="1300" b="1" i="0" dirty="0">
                <a:solidFill>
                  <a:srgbClr val="290E3B"/>
                </a:solidFill>
                <a:latin typeface="Ubuntu" panose="020B0504030602030204" pitchFamily="34" charset="0"/>
              </a:rPr>
              <a:t>·</a:t>
            </a:r>
            <a:r>
              <a:rPr lang="es-ES" sz="1300" b="0" i="0" dirty="0">
                <a:solidFill>
                  <a:schemeClr val="tx2"/>
                </a:solidFill>
                <a:latin typeface="Ubuntu Medium" panose="020B0504030602030204" pitchFamily="34" charset="0"/>
              </a:rPr>
              <a:t>   </a:t>
            </a:r>
            <a:r>
              <a:rPr lang="es-ES" sz="1300" b="1" i="0" dirty="0">
                <a:solidFill>
                  <a:srgbClr val="12A9D8"/>
                </a:solidFill>
                <a:latin typeface="Ubuntu" panose="020B0504030602030204" pitchFamily="34" charset="0"/>
              </a:rPr>
              <a:t>Sogeti España</a:t>
            </a:r>
          </a:p>
        </p:txBody>
      </p:sp>
      <p:sp>
        <p:nvSpPr>
          <p:cNvPr id="5" name="Forma libre 4">
            <a:extLst>
              <a:ext uri="{FF2B5EF4-FFF2-40B4-BE49-F238E27FC236}">
                <a16:creationId xmlns:a16="http://schemas.microsoft.com/office/drawing/2014/main" id="{FBAABD7F-C513-9B40-6AE2-E43DB3944CCE}"/>
              </a:ext>
            </a:extLst>
          </p:cNvPr>
          <p:cNvSpPr/>
          <p:nvPr userDrawn="1"/>
        </p:nvSpPr>
        <p:spPr>
          <a:xfrm flipV="1">
            <a:off x="755650" y="10384024"/>
            <a:ext cx="2362200" cy="385576"/>
          </a:xfrm>
          <a:custGeom>
            <a:avLst/>
            <a:gdLst/>
            <a:ahLst/>
            <a:cxnLst/>
            <a:rect l="l" t="t" r="r" b="b"/>
            <a:pathLst>
              <a:path w="4876802" h="796029">
                <a:moveTo>
                  <a:pt x="2572782" y="405299"/>
                </a:moveTo>
                <a:cubicBezTo>
                  <a:pt x="2589609" y="405299"/>
                  <a:pt x="2601809" y="398820"/>
                  <a:pt x="2609382" y="385863"/>
                </a:cubicBezTo>
                <a:cubicBezTo>
                  <a:pt x="2616954" y="372906"/>
                  <a:pt x="2620740" y="355826"/>
                  <a:pt x="2620740" y="334623"/>
                </a:cubicBezTo>
                <a:cubicBezTo>
                  <a:pt x="2620740" y="313420"/>
                  <a:pt x="2616618" y="296256"/>
                  <a:pt x="2608372" y="283131"/>
                </a:cubicBezTo>
                <a:cubicBezTo>
                  <a:pt x="2600126" y="270006"/>
                  <a:pt x="2587927" y="263443"/>
                  <a:pt x="2571772" y="263443"/>
                </a:cubicBezTo>
                <a:cubicBezTo>
                  <a:pt x="2554945" y="263443"/>
                  <a:pt x="2542744" y="270006"/>
                  <a:pt x="2535172" y="283131"/>
                </a:cubicBezTo>
                <a:cubicBezTo>
                  <a:pt x="2527600" y="296256"/>
                  <a:pt x="2523814" y="313420"/>
                  <a:pt x="2523814" y="334623"/>
                </a:cubicBezTo>
                <a:cubicBezTo>
                  <a:pt x="2523814" y="355826"/>
                  <a:pt x="2527937" y="372906"/>
                  <a:pt x="2536182" y="385863"/>
                </a:cubicBezTo>
                <a:cubicBezTo>
                  <a:pt x="2544428" y="398820"/>
                  <a:pt x="2556628" y="405299"/>
                  <a:pt x="2572782" y="405299"/>
                </a:cubicBezTo>
                <a:close/>
                <a:moveTo>
                  <a:pt x="1810782" y="405299"/>
                </a:moveTo>
                <a:cubicBezTo>
                  <a:pt x="1827610" y="405299"/>
                  <a:pt x="1839810" y="398820"/>
                  <a:pt x="1847382" y="385863"/>
                </a:cubicBezTo>
                <a:cubicBezTo>
                  <a:pt x="1854954" y="372906"/>
                  <a:pt x="1858740" y="355826"/>
                  <a:pt x="1858740" y="334623"/>
                </a:cubicBezTo>
                <a:cubicBezTo>
                  <a:pt x="1858740" y="313420"/>
                  <a:pt x="1854618" y="296256"/>
                  <a:pt x="1846372" y="283131"/>
                </a:cubicBezTo>
                <a:cubicBezTo>
                  <a:pt x="1838127" y="270006"/>
                  <a:pt x="1825927" y="263443"/>
                  <a:pt x="1809772" y="263443"/>
                </a:cubicBezTo>
                <a:cubicBezTo>
                  <a:pt x="1792945" y="263443"/>
                  <a:pt x="1780745" y="270006"/>
                  <a:pt x="1773173" y="283131"/>
                </a:cubicBezTo>
                <a:cubicBezTo>
                  <a:pt x="1765600" y="296256"/>
                  <a:pt x="1761814" y="313420"/>
                  <a:pt x="1761814" y="334623"/>
                </a:cubicBezTo>
                <a:cubicBezTo>
                  <a:pt x="1761814" y="355826"/>
                  <a:pt x="1765937" y="372906"/>
                  <a:pt x="1774182" y="385863"/>
                </a:cubicBezTo>
                <a:cubicBezTo>
                  <a:pt x="1782428" y="398820"/>
                  <a:pt x="1794628" y="405299"/>
                  <a:pt x="1810782" y="405299"/>
                </a:cubicBezTo>
                <a:close/>
                <a:moveTo>
                  <a:pt x="810657" y="405299"/>
                </a:moveTo>
                <a:cubicBezTo>
                  <a:pt x="827485" y="405299"/>
                  <a:pt x="839684" y="398820"/>
                  <a:pt x="847257" y="385863"/>
                </a:cubicBezTo>
                <a:cubicBezTo>
                  <a:pt x="854829" y="372906"/>
                  <a:pt x="858615" y="355826"/>
                  <a:pt x="858616" y="334623"/>
                </a:cubicBezTo>
                <a:cubicBezTo>
                  <a:pt x="858615" y="313420"/>
                  <a:pt x="854493" y="296256"/>
                  <a:pt x="846247" y="283131"/>
                </a:cubicBezTo>
                <a:cubicBezTo>
                  <a:pt x="838002" y="270006"/>
                  <a:pt x="825802" y="263443"/>
                  <a:pt x="809647" y="263443"/>
                </a:cubicBezTo>
                <a:cubicBezTo>
                  <a:pt x="792820" y="263443"/>
                  <a:pt x="780620" y="270006"/>
                  <a:pt x="773048" y="283131"/>
                </a:cubicBezTo>
                <a:cubicBezTo>
                  <a:pt x="765475" y="296256"/>
                  <a:pt x="761689" y="313420"/>
                  <a:pt x="761689" y="334623"/>
                </a:cubicBezTo>
                <a:cubicBezTo>
                  <a:pt x="761689" y="355826"/>
                  <a:pt x="765812" y="372906"/>
                  <a:pt x="774057" y="385863"/>
                </a:cubicBezTo>
                <a:cubicBezTo>
                  <a:pt x="782303" y="398820"/>
                  <a:pt x="794503" y="405299"/>
                  <a:pt x="810657" y="405299"/>
                </a:cubicBezTo>
                <a:close/>
                <a:moveTo>
                  <a:pt x="3325256" y="411861"/>
                </a:moveTo>
                <a:cubicBezTo>
                  <a:pt x="3316506" y="411861"/>
                  <a:pt x="3309608" y="408496"/>
                  <a:pt x="3304560" y="401765"/>
                </a:cubicBezTo>
                <a:cubicBezTo>
                  <a:pt x="3299512" y="395034"/>
                  <a:pt x="3296988" y="387125"/>
                  <a:pt x="3296988" y="378038"/>
                </a:cubicBezTo>
                <a:cubicBezTo>
                  <a:pt x="3296988" y="368951"/>
                  <a:pt x="3299512" y="361126"/>
                  <a:pt x="3304560" y="354564"/>
                </a:cubicBezTo>
                <a:cubicBezTo>
                  <a:pt x="3309608" y="348001"/>
                  <a:pt x="3316506" y="344720"/>
                  <a:pt x="3325256" y="344720"/>
                </a:cubicBezTo>
                <a:cubicBezTo>
                  <a:pt x="3333334" y="344720"/>
                  <a:pt x="3339980" y="348001"/>
                  <a:pt x="3345198" y="354564"/>
                </a:cubicBezTo>
                <a:cubicBezTo>
                  <a:pt x="3350414" y="361126"/>
                  <a:pt x="3353022" y="368951"/>
                  <a:pt x="3353022" y="378038"/>
                </a:cubicBezTo>
                <a:cubicBezTo>
                  <a:pt x="3353022" y="387125"/>
                  <a:pt x="3350414" y="395034"/>
                  <a:pt x="3345198" y="401765"/>
                </a:cubicBezTo>
                <a:cubicBezTo>
                  <a:pt x="3339980" y="408496"/>
                  <a:pt x="3333334" y="411861"/>
                  <a:pt x="3325256" y="411861"/>
                </a:cubicBezTo>
                <a:close/>
                <a:moveTo>
                  <a:pt x="2207070" y="453257"/>
                </a:moveTo>
                <a:lnTo>
                  <a:pt x="2207070" y="401765"/>
                </a:lnTo>
                <a:lnTo>
                  <a:pt x="2272697" y="401765"/>
                </a:lnTo>
                <a:lnTo>
                  <a:pt x="2272697" y="314430"/>
                </a:lnTo>
                <a:cubicBezTo>
                  <a:pt x="2272697" y="297939"/>
                  <a:pt x="2274043" y="283299"/>
                  <a:pt x="2276735" y="270510"/>
                </a:cubicBezTo>
                <a:cubicBezTo>
                  <a:pt x="2279428" y="257721"/>
                  <a:pt x="2284055" y="246868"/>
                  <a:pt x="2290618" y="237949"/>
                </a:cubicBezTo>
                <a:cubicBezTo>
                  <a:pt x="2297181" y="229031"/>
                  <a:pt x="2305931" y="222215"/>
                  <a:pt x="2316869" y="217504"/>
                </a:cubicBezTo>
                <a:cubicBezTo>
                  <a:pt x="2327807" y="212792"/>
                  <a:pt x="2341353" y="210436"/>
                  <a:pt x="2357508" y="210436"/>
                </a:cubicBezTo>
                <a:cubicBezTo>
                  <a:pt x="2366931" y="210436"/>
                  <a:pt x="2377280" y="211530"/>
                  <a:pt x="2388554" y="213718"/>
                </a:cubicBezTo>
                <a:cubicBezTo>
                  <a:pt x="2399829" y="215905"/>
                  <a:pt x="2411860" y="220028"/>
                  <a:pt x="2424649" y="226086"/>
                </a:cubicBezTo>
                <a:lnTo>
                  <a:pt x="2416572" y="276063"/>
                </a:lnTo>
                <a:cubicBezTo>
                  <a:pt x="2406475" y="271352"/>
                  <a:pt x="2397388" y="268239"/>
                  <a:pt x="2389312" y="266724"/>
                </a:cubicBezTo>
                <a:cubicBezTo>
                  <a:pt x="2381234" y="265210"/>
                  <a:pt x="2374335" y="264452"/>
                  <a:pt x="2368614" y="264452"/>
                </a:cubicBezTo>
                <a:cubicBezTo>
                  <a:pt x="2356498" y="264452"/>
                  <a:pt x="2347832" y="267902"/>
                  <a:pt x="2342615" y="274801"/>
                </a:cubicBezTo>
                <a:cubicBezTo>
                  <a:pt x="2337398" y="281701"/>
                  <a:pt x="2334790" y="292218"/>
                  <a:pt x="2334790" y="306353"/>
                </a:cubicBezTo>
                <a:lnTo>
                  <a:pt x="2334790" y="453257"/>
                </a:lnTo>
                <a:close/>
                <a:moveTo>
                  <a:pt x="1088092" y="457800"/>
                </a:moveTo>
                <a:cubicBezTo>
                  <a:pt x="1064870" y="457800"/>
                  <a:pt x="1044593" y="455949"/>
                  <a:pt x="1027260" y="452247"/>
                </a:cubicBezTo>
                <a:cubicBezTo>
                  <a:pt x="1009928" y="448545"/>
                  <a:pt x="993016" y="443665"/>
                  <a:pt x="976526" y="437607"/>
                </a:cubicBezTo>
                <a:lnTo>
                  <a:pt x="976526" y="215989"/>
                </a:lnTo>
                <a:lnTo>
                  <a:pt x="1039124" y="215989"/>
                </a:lnTo>
                <a:lnTo>
                  <a:pt x="1039124" y="392173"/>
                </a:lnTo>
                <a:cubicBezTo>
                  <a:pt x="1047874" y="394529"/>
                  <a:pt x="1056456" y="396128"/>
                  <a:pt x="1064870" y="396969"/>
                </a:cubicBezTo>
                <a:cubicBezTo>
                  <a:pt x="1073284" y="397810"/>
                  <a:pt x="1081866" y="398231"/>
                  <a:pt x="1090616" y="398231"/>
                </a:cubicBezTo>
                <a:cubicBezTo>
                  <a:pt x="1094318" y="398231"/>
                  <a:pt x="1098861" y="398063"/>
                  <a:pt x="1104246" y="397726"/>
                </a:cubicBezTo>
                <a:cubicBezTo>
                  <a:pt x="1109631" y="397390"/>
                  <a:pt x="1115184" y="396801"/>
                  <a:pt x="1120905" y="395959"/>
                </a:cubicBezTo>
                <a:cubicBezTo>
                  <a:pt x="1126627" y="395118"/>
                  <a:pt x="1132264" y="394192"/>
                  <a:pt x="1137817" y="393183"/>
                </a:cubicBezTo>
                <a:cubicBezTo>
                  <a:pt x="1143370" y="392173"/>
                  <a:pt x="1148166" y="391164"/>
                  <a:pt x="1152205" y="390154"/>
                </a:cubicBezTo>
                <a:lnTo>
                  <a:pt x="1163311" y="447704"/>
                </a:lnTo>
                <a:cubicBezTo>
                  <a:pt x="1157589" y="449723"/>
                  <a:pt x="1151111" y="451322"/>
                  <a:pt x="1143875" y="452500"/>
                </a:cubicBezTo>
                <a:cubicBezTo>
                  <a:pt x="1136639" y="453678"/>
                  <a:pt x="1129487" y="454687"/>
                  <a:pt x="1122420" y="455529"/>
                </a:cubicBezTo>
                <a:cubicBezTo>
                  <a:pt x="1115352" y="456370"/>
                  <a:pt x="1108706" y="456959"/>
                  <a:pt x="1102479" y="457296"/>
                </a:cubicBezTo>
                <a:cubicBezTo>
                  <a:pt x="1096253" y="457632"/>
                  <a:pt x="1091457" y="457800"/>
                  <a:pt x="1088092" y="457800"/>
                </a:cubicBezTo>
                <a:close/>
                <a:moveTo>
                  <a:pt x="2572782" y="459315"/>
                </a:moveTo>
                <a:cubicBezTo>
                  <a:pt x="2556628" y="459315"/>
                  <a:pt x="2541651" y="456370"/>
                  <a:pt x="2527852" y="450480"/>
                </a:cubicBezTo>
                <a:cubicBezTo>
                  <a:pt x="2514054" y="444591"/>
                  <a:pt x="2502190" y="436177"/>
                  <a:pt x="2492262" y="425239"/>
                </a:cubicBezTo>
                <a:cubicBezTo>
                  <a:pt x="2482334" y="414301"/>
                  <a:pt x="2474594" y="401176"/>
                  <a:pt x="2469040" y="385863"/>
                </a:cubicBezTo>
                <a:cubicBezTo>
                  <a:pt x="2463487" y="370550"/>
                  <a:pt x="2460711" y="353638"/>
                  <a:pt x="2460711" y="335128"/>
                </a:cubicBezTo>
                <a:cubicBezTo>
                  <a:pt x="2460711" y="316281"/>
                  <a:pt x="2463403" y="299201"/>
                  <a:pt x="2468788" y="283888"/>
                </a:cubicBezTo>
                <a:cubicBezTo>
                  <a:pt x="2474173" y="268575"/>
                  <a:pt x="2481829" y="255366"/>
                  <a:pt x="2491758" y="244259"/>
                </a:cubicBezTo>
                <a:cubicBezTo>
                  <a:pt x="2501686" y="233153"/>
                  <a:pt x="2513465" y="224571"/>
                  <a:pt x="2527095" y="218513"/>
                </a:cubicBezTo>
                <a:cubicBezTo>
                  <a:pt x="2540726" y="212455"/>
                  <a:pt x="2555954" y="209427"/>
                  <a:pt x="2572782" y="209427"/>
                </a:cubicBezTo>
                <a:cubicBezTo>
                  <a:pt x="2589609" y="209427"/>
                  <a:pt x="2604838" y="212455"/>
                  <a:pt x="2618468" y="218513"/>
                </a:cubicBezTo>
                <a:cubicBezTo>
                  <a:pt x="2632098" y="224571"/>
                  <a:pt x="2643794" y="233153"/>
                  <a:pt x="2653554" y="244259"/>
                </a:cubicBezTo>
                <a:cubicBezTo>
                  <a:pt x="2663314" y="255366"/>
                  <a:pt x="2670886" y="268575"/>
                  <a:pt x="2676271" y="283888"/>
                </a:cubicBezTo>
                <a:cubicBezTo>
                  <a:pt x="2681656" y="299201"/>
                  <a:pt x="2684348" y="316281"/>
                  <a:pt x="2684348" y="335128"/>
                </a:cubicBezTo>
                <a:cubicBezTo>
                  <a:pt x="2684348" y="353638"/>
                  <a:pt x="2681656" y="370550"/>
                  <a:pt x="2676271" y="385863"/>
                </a:cubicBezTo>
                <a:cubicBezTo>
                  <a:pt x="2670886" y="401176"/>
                  <a:pt x="2663230" y="414301"/>
                  <a:pt x="2653302" y="425239"/>
                </a:cubicBezTo>
                <a:cubicBezTo>
                  <a:pt x="2643373" y="436177"/>
                  <a:pt x="2631594" y="444591"/>
                  <a:pt x="2617964" y="450480"/>
                </a:cubicBezTo>
                <a:cubicBezTo>
                  <a:pt x="2604334" y="456370"/>
                  <a:pt x="2589273" y="459315"/>
                  <a:pt x="2572782" y="459315"/>
                </a:cubicBezTo>
                <a:close/>
                <a:moveTo>
                  <a:pt x="1810782" y="459315"/>
                </a:moveTo>
                <a:cubicBezTo>
                  <a:pt x="1794628" y="459315"/>
                  <a:pt x="1779651" y="456370"/>
                  <a:pt x="1765853" y="450480"/>
                </a:cubicBezTo>
                <a:cubicBezTo>
                  <a:pt x="1752054" y="444591"/>
                  <a:pt x="1740191" y="436177"/>
                  <a:pt x="1730262" y="425239"/>
                </a:cubicBezTo>
                <a:cubicBezTo>
                  <a:pt x="1720334" y="414301"/>
                  <a:pt x="1712594" y="401176"/>
                  <a:pt x="1707040" y="385863"/>
                </a:cubicBezTo>
                <a:cubicBezTo>
                  <a:pt x="1701488" y="370550"/>
                  <a:pt x="1698711" y="353638"/>
                  <a:pt x="1698711" y="335128"/>
                </a:cubicBezTo>
                <a:cubicBezTo>
                  <a:pt x="1698711" y="316281"/>
                  <a:pt x="1701403" y="299201"/>
                  <a:pt x="1706788" y="283888"/>
                </a:cubicBezTo>
                <a:cubicBezTo>
                  <a:pt x="1712173" y="268575"/>
                  <a:pt x="1719829" y="255366"/>
                  <a:pt x="1729758" y="244259"/>
                </a:cubicBezTo>
                <a:cubicBezTo>
                  <a:pt x="1739686" y="233153"/>
                  <a:pt x="1751465" y="224571"/>
                  <a:pt x="1765095" y="218513"/>
                </a:cubicBezTo>
                <a:cubicBezTo>
                  <a:pt x="1778726" y="212455"/>
                  <a:pt x="1793954" y="209427"/>
                  <a:pt x="1810782" y="209427"/>
                </a:cubicBezTo>
                <a:cubicBezTo>
                  <a:pt x="1827610" y="209427"/>
                  <a:pt x="1842838" y="212455"/>
                  <a:pt x="1856469" y="218513"/>
                </a:cubicBezTo>
                <a:cubicBezTo>
                  <a:pt x="1870099" y="224571"/>
                  <a:pt x="1881794" y="233153"/>
                  <a:pt x="1891554" y="244259"/>
                </a:cubicBezTo>
                <a:cubicBezTo>
                  <a:pt x="1901314" y="255366"/>
                  <a:pt x="1908886" y="268575"/>
                  <a:pt x="1914271" y="283888"/>
                </a:cubicBezTo>
                <a:cubicBezTo>
                  <a:pt x="1919656" y="299201"/>
                  <a:pt x="1922348" y="316281"/>
                  <a:pt x="1922348" y="335128"/>
                </a:cubicBezTo>
                <a:cubicBezTo>
                  <a:pt x="1922348" y="353638"/>
                  <a:pt x="1919656" y="370550"/>
                  <a:pt x="1914271" y="385863"/>
                </a:cubicBezTo>
                <a:cubicBezTo>
                  <a:pt x="1908886" y="401176"/>
                  <a:pt x="1901230" y="414301"/>
                  <a:pt x="1891302" y="425239"/>
                </a:cubicBezTo>
                <a:cubicBezTo>
                  <a:pt x="1881374" y="436177"/>
                  <a:pt x="1869594" y="444591"/>
                  <a:pt x="1855964" y="450480"/>
                </a:cubicBezTo>
                <a:cubicBezTo>
                  <a:pt x="1842334" y="456370"/>
                  <a:pt x="1827273" y="459315"/>
                  <a:pt x="1810782" y="459315"/>
                </a:cubicBezTo>
                <a:close/>
                <a:moveTo>
                  <a:pt x="810657" y="459315"/>
                </a:moveTo>
                <a:cubicBezTo>
                  <a:pt x="794503" y="459315"/>
                  <a:pt x="779526" y="456370"/>
                  <a:pt x="765728" y="450480"/>
                </a:cubicBezTo>
                <a:cubicBezTo>
                  <a:pt x="751929" y="444591"/>
                  <a:pt x="740066" y="436177"/>
                  <a:pt x="730138" y="425239"/>
                </a:cubicBezTo>
                <a:cubicBezTo>
                  <a:pt x="720209" y="414301"/>
                  <a:pt x="712469" y="401176"/>
                  <a:pt x="706916" y="385863"/>
                </a:cubicBezTo>
                <a:cubicBezTo>
                  <a:pt x="701362" y="370550"/>
                  <a:pt x="698586" y="353638"/>
                  <a:pt x="698586" y="335128"/>
                </a:cubicBezTo>
                <a:cubicBezTo>
                  <a:pt x="698586" y="316281"/>
                  <a:pt x="701278" y="299201"/>
                  <a:pt x="706663" y="283888"/>
                </a:cubicBezTo>
                <a:cubicBezTo>
                  <a:pt x="712048" y="268575"/>
                  <a:pt x="719704" y="255366"/>
                  <a:pt x="729633" y="244259"/>
                </a:cubicBezTo>
                <a:cubicBezTo>
                  <a:pt x="739561" y="233153"/>
                  <a:pt x="751340" y="224571"/>
                  <a:pt x="764970" y="218513"/>
                </a:cubicBezTo>
                <a:cubicBezTo>
                  <a:pt x="778601" y="212455"/>
                  <a:pt x="793830" y="209427"/>
                  <a:pt x="810657" y="209427"/>
                </a:cubicBezTo>
                <a:cubicBezTo>
                  <a:pt x="827485" y="209427"/>
                  <a:pt x="842713" y="212455"/>
                  <a:pt x="856344" y="218513"/>
                </a:cubicBezTo>
                <a:cubicBezTo>
                  <a:pt x="869974" y="224571"/>
                  <a:pt x="881669" y="233153"/>
                  <a:pt x="891429" y="244259"/>
                </a:cubicBezTo>
                <a:cubicBezTo>
                  <a:pt x="901189" y="255366"/>
                  <a:pt x="908761" y="268575"/>
                  <a:pt x="914146" y="283888"/>
                </a:cubicBezTo>
                <a:cubicBezTo>
                  <a:pt x="919531" y="299201"/>
                  <a:pt x="922223" y="316281"/>
                  <a:pt x="922223" y="335128"/>
                </a:cubicBezTo>
                <a:cubicBezTo>
                  <a:pt x="922223" y="353638"/>
                  <a:pt x="919531" y="370550"/>
                  <a:pt x="914146" y="385863"/>
                </a:cubicBezTo>
                <a:cubicBezTo>
                  <a:pt x="908761" y="401176"/>
                  <a:pt x="901105" y="414301"/>
                  <a:pt x="891177" y="425239"/>
                </a:cubicBezTo>
                <a:cubicBezTo>
                  <a:pt x="881248" y="436177"/>
                  <a:pt x="869469" y="444591"/>
                  <a:pt x="855839" y="450480"/>
                </a:cubicBezTo>
                <a:cubicBezTo>
                  <a:pt x="842209" y="456370"/>
                  <a:pt x="827148" y="459315"/>
                  <a:pt x="810657" y="459315"/>
                </a:cubicBezTo>
                <a:close/>
                <a:moveTo>
                  <a:pt x="546919" y="477993"/>
                </a:moveTo>
                <a:cubicBezTo>
                  <a:pt x="563410" y="477993"/>
                  <a:pt x="576620" y="474207"/>
                  <a:pt x="586548" y="466635"/>
                </a:cubicBezTo>
                <a:cubicBezTo>
                  <a:pt x="596476" y="459062"/>
                  <a:pt x="601441" y="446189"/>
                  <a:pt x="601441" y="428016"/>
                </a:cubicBezTo>
                <a:cubicBezTo>
                  <a:pt x="601441" y="408832"/>
                  <a:pt x="596392" y="395286"/>
                  <a:pt x="586296" y="387377"/>
                </a:cubicBezTo>
                <a:cubicBezTo>
                  <a:pt x="576199" y="379468"/>
                  <a:pt x="561223" y="375514"/>
                  <a:pt x="541366" y="375514"/>
                </a:cubicBezTo>
                <a:lnTo>
                  <a:pt x="516125" y="375514"/>
                </a:lnTo>
                <a:lnTo>
                  <a:pt x="516125" y="476479"/>
                </a:lnTo>
                <a:cubicBezTo>
                  <a:pt x="519827" y="477152"/>
                  <a:pt x="524960" y="477573"/>
                  <a:pt x="531522" y="477741"/>
                </a:cubicBezTo>
                <a:cubicBezTo>
                  <a:pt x="538085" y="477909"/>
                  <a:pt x="543217" y="477993"/>
                  <a:pt x="546919" y="477993"/>
                </a:cubicBezTo>
                <a:close/>
                <a:moveTo>
                  <a:pt x="3324752" y="482537"/>
                </a:moveTo>
                <a:cubicBezTo>
                  <a:pt x="3341916" y="482537"/>
                  <a:pt x="3354958" y="473198"/>
                  <a:pt x="3363876" y="454519"/>
                </a:cubicBezTo>
                <a:cubicBezTo>
                  <a:pt x="3372794" y="435841"/>
                  <a:pt x="3377254" y="408664"/>
                  <a:pt x="3377254" y="372990"/>
                </a:cubicBezTo>
                <a:cubicBezTo>
                  <a:pt x="3377254" y="336979"/>
                  <a:pt x="3372794" y="309634"/>
                  <a:pt x="3363876" y="290956"/>
                </a:cubicBezTo>
                <a:cubicBezTo>
                  <a:pt x="3354958" y="272277"/>
                  <a:pt x="3341916" y="262938"/>
                  <a:pt x="3324752" y="262938"/>
                </a:cubicBezTo>
                <a:cubicBezTo>
                  <a:pt x="3307924" y="262938"/>
                  <a:pt x="3294968" y="272277"/>
                  <a:pt x="3285880" y="290956"/>
                </a:cubicBezTo>
                <a:cubicBezTo>
                  <a:pt x="3276794" y="309634"/>
                  <a:pt x="3272250" y="336979"/>
                  <a:pt x="3272250" y="372990"/>
                </a:cubicBezTo>
                <a:cubicBezTo>
                  <a:pt x="3272250" y="408664"/>
                  <a:pt x="3276794" y="435841"/>
                  <a:pt x="3285880" y="454519"/>
                </a:cubicBezTo>
                <a:cubicBezTo>
                  <a:pt x="3294968" y="473198"/>
                  <a:pt x="3307924" y="482537"/>
                  <a:pt x="3324752" y="482537"/>
                </a:cubicBezTo>
                <a:close/>
                <a:moveTo>
                  <a:pt x="1323054" y="522923"/>
                </a:moveTo>
                <a:lnTo>
                  <a:pt x="1260961" y="512826"/>
                </a:lnTo>
                <a:lnTo>
                  <a:pt x="1260961" y="453257"/>
                </a:lnTo>
                <a:lnTo>
                  <a:pt x="1206945" y="453257"/>
                </a:lnTo>
                <a:lnTo>
                  <a:pt x="1206945" y="401765"/>
                </a:lnTo>
                <a:lnTo>
                  <a:pt x="1260961" y="401765"/>
                </a:lnTo>
                <a:lnTo>
                  <a:pt x="1260961" y="304334"/>
                </a:lnTo>
                <a:cubicBezTo>
                  <a:pt x="1260961" y="284477"/>
                  <a:pt x="1262980" y="268407"/>
                  <a:pt x="1267019" y="256123"/>
                </a:cubicBezTo>
                <a:cubicBezTo>
                  <a:pt x="1271057" y="243839"/>
                  <a:pt x="1276947" y="234331"/>
                  <a:pt x="1284688" y="227600"/>
                </a:cubicBezTo>
                <a:cubicBezTo>
                  <a:pt x="1292428" y="220869"/>
                  <a:pt x="1301852" y="216326"/>
                  <a:pt x="1312958" y="213970"/>
                </a:cubicBezTo>
                <a:cubicBezTo>
                  <a:pt x="1324064" y="211614"/>
                  <a:pt x="1336853" y="210436"/>
                  <a:pt x="1351325" y="210436"/>
                </a:cubicBezTo>
                <a:cubicBezTo>
                  <a:pt x="1363777" y="210436"/>
                  <a:pt x="1376650" y="211446"/>
                  <a:pt x="1389944" y="213465"/>
                </a:cubicBezTo>
                <a:cubicBezTo>
                  <a:pt x="1403238" y="215484"/>
                  <a:pt x="1415606" y="218850"/>
                  <a:pt x="1427048" y="223562"/>
                </a:cubicBezTo>
                <a:lnTo>
                  <a:pt x="1418466" y="277073"/>
                </a:lnTo>
                <a:cubicBezTo>
                  <a:pt x="1412745" y="274381"/>
                  <a:pt x="1407444" y="272193"/>
                  <a:pt x="1402564" y="270510"/>
                </a:cubicBezTo>
                <a:cubicBezTo>
                  <a:pt x="1397684" y="268828"/>
                  <a:pt x="1392973" y="267566"/>
                  <a:pt x="1388429" y="266724"/>
                </a:cubicBezTo>
                <a:cubicBezTo>
                  <a:pt x="1383886" y="265883"/>
                  <a:pt x="1379174" y="265294"/>
                  <a:pt x="1374294" y="264957"/>
                </a:cubicBezTo>
                <a:cubicBezTo>
                  <a:pt x="1369414" y="264621"/>
                  <a:pt x="1364114" y="264452"/>
                  <a:pt x="1358392" y="264452"/>
                </a:cubicBezTo>
                <a:cubicBezTo>
                  <a:pt x="1353007" y="264452"/>
                  <a:pt x="1348127" y="264957"/>
                  <a:pt x="1343752" y="265967"/>
                </a:cubicBezTo>
                <a:cubicBezTo>
                  <a:pt x="1339377" y="266977"/>
                  <a:pt x="1335675" y="268996"/>
                  <a:pt x="1332646" y="272025"/>
                </a:cubicBezTo>
                <a:cubicBezTo>
                  <a:pt x="1329617" y="275054"/>
                  <a:pt x="1327261" y="279261"/>
                  <a:pt x="1325579" y="284645"/>
                </a:cubicBezTo>
                <a:cubicBezTo>
                  <a:pt x="1323896" y="290030"/>
                  <a:pt x="1323054" y="297098"/>
                  <a:pt x="1323054" y="305848"/>
                </a:cubicBezTo>
                <a:lnTo>
                  <a:pt x="1323054" y="401765"/>
                </a:lnTo>
                <a:lnTo>
                  <a:pt x="1422505" y="401765"/>
                </a:lnTo>
                <a:lnTo>
                  <a:pt x="1422505" y="453257"/>
                </a:lnTo>
                <a:lnTo>
                  <a:pt x="1323054" y="453257"/>
                </a:lnTo>
                <a:close/>
                <a:moveTo>
                  <a:pt x="539852" y="532010"/>
                </a:moveTo>
                <a:cubicBezTo>
                  <a:pt x="534131" y="532010"/>
                  <a:pt x="527568" y="531841"/>
                  <a:pt x="520164" y="531505"/>
                </a:cubicBezTo>
                <a:cubicBezTo>
                  <a:pt x="512760" y="531168"/>
                  <a:pt x="505187" y="530748"/>
                  <a:pt x="497447" y="530243"/>
                </a:cubicBezTo>
                <a:cubicBezTo>
                  <a:pt x="489706" y="529738"/>
                  <a:pt x="482049" y="528981"/>
                  <a:pt x="474477" y="527971"/>
                </a:cubicBezTo>
                <a:cubicBezTo>
                  <a:pt x="466905" y="526961"/>
                  <a:pt x="460090" y="525784"/>
                  <a:pt x="454032" y="524437"/>
                </a:cubicBezTo>
                <a:lnTo>
                  <a:pt x="454032" y="215989"/>
                </a:lnTo>
                <a:lnTo>
                  <a:pt x="516125" y="215989"/>
                </a:lnTo>
                <a:lnTo>
                  <a:pt x="516125" y="321498"/>
                </a:lnTo>
                <a:lnTo>
                  <a:pt x="538337" y="321498"/>
                </a:lnTo>
                <a:cubicBezTo>
                  <a:pt x="578723" y="321498"/>
                  <a:pt x="609938" y="329827"/>
                  <a:pt x="631982" y="346486"/>
                </a:cubicBezTo>
                <a:cubicBezTo>
                  <a:pt x="654026" y="363146"/>
                  <a:pt x="665048" y="390154"/>
                  <a:pt x="665048" y="427511"/>
                </a:cubicBezTo>
                <a:cubicBezTo>
                  <a:pt x="665048" y="464531"/>
                  <a:pt x="654111" y="491203"/>
                  <a:pt x="632235" y="507526"/>
                </a:cubicBezTo>
                <a:cubicBezTo>
                  <a:pt x="610359" y="523848"/>
                  <a:pt x="579565" y="532010"/>
                  <a:pt x="539852" y="532010"/>
                </a:cubicBezTo>
                <a:close/>
                <a:moveTo>
                  <a:pt x="3816452" y="535544"/>
                </a:moveTo>
                <a:cubicBezTo>
                  <a:pt x="3797604" y="535544"/>
                  <a:pt x="3780694" y="532430"/>
                  <a:pt x="3765716" y="526204"/>
                </a:cubicBezTo>
                <a:cubicBezTo>
                  <a:pt x="3750740" y="519978"/>
                  <a:pt x="3738708" y="513836"/>
                  <a:pt x="3729622" y="507778"/>
                </a:cubicBezTo>
                <a:lnTo>
                  <a:pt x="3751834" y="462344"/>
                </a:lnTo>
                <a:cubicBezTo>
                  <a:pt x="3760248" y="468065"/>
                  <a:pt x="3770260" y="472861"/>
                  <a:pt x="3781872" y="476731"/>
                </a:cubicBezTo>
                <a:cubicBezTo>
                  <a:pt x="3793482" y="480602"/>
                  <a:pt x="3805178" y="482537"/>
                  <a:pt x="3816956" y="482537"/>
                </a:cubicBezTo>
                <a:cubicBezTo>
                  <a:pt x="3829072" y="482537"/>
                  <a:pt x="3838580" y="479255"/>
                  <a:pt x="3845480" y="472693"/>
                </a:cubicBezTo>
                <a:cubicBezTo>
                  <a:pt x="3852378" y="466130"/>
                  <a:pt x="3855828" y="457127"/>
                  <a:pt x="3855828" y="445685"/>
                </a:cubicBezTo>
                <a:cubicBezTo>
                  <a:pt x="3855828" y="437944"/>
                  <a:pt x="3854230" y="431550"/>
                  <a:pt x="3851032" y="426501"/>
                </a:cubicBezTo>
                <a:cubicBezTo>
                  <a:pt x="3847836" y="421453"/>
                  <a:pt x="3843712" y="417414"/>
                  <a:pt x="3838664" y="414385"/>
                </a:cubicBezTo>
                <a:cubicBezTo>
                  <a:pt x="3833616" y="411357"/>
                  <a:pt x="3827894" y="409169"/>
                  <a:pt x="3821500" y="407823"/>
                </a:cubicBezTo>
                <a:cubicBezTo>
                  <a:pt x="3815106" y="406477"/>
                  <a:pt x="3808712" y="405803"/>
                  <a:pt x="3802316" y="405803"/>
                </a:cubicBezTo>
                <a:lnTo>
                  <a:pt x="3779094" y="405803"/>
                </a:lnTo>
                <a:lnTo>
                  <a:pt x="3779094" y="354311"/>
                </a:lnTo>
                <a:lnTo>
                  <a:pt x="3798278" y="354311"/>
                </a:lnTo>
                <a:cubicBezTo>
                  <a:pt x="3818470" y="354311"/>
                  <a:pt x="3835130" y="351030"/>
                  <a:pt x="3848256" y="344467"/>
                </a:cubicBezTo>
                <a:cubicBezTo>
                  <a:pt x="3861380" y="337904"/>
                  <a:pt x="3867944" y="326378"/>
                  <a:pt x="3867944" y="309887"/>
                </a:cubicBezTo>
                <a:cubicBezTo>
                  <a:pt x="3867944" y="296425"/>
                  <a:pt x="3863652" y="285150"/>
                  <a:pt x="3855072" y="276063"/>
                </a:cubicBezTo>
                <a:cubicBezTo>
                  <a:pt x="3846488" y="266977"/>
                  <a:pt x="3831596" y="262433"/>
                  <a:pt x="3810394" y="262433"/>
                </a:cubicBezTo>
                <a:cubicBezTo>
                  <a:pt x="3793230" y="262433"/>
                  <a:pt x="3778506" y="264284"/>
                  <a:pt x="3766222" y="267986"/>
                </a:cubicBezTo>
                <a:cubicBezTo>
                  <a:pt x="3753938" y="271688"/>
                  <a:pt x="3743924" y="275222"/>
                  <a:pt x="3736184" y="278588"/>
                </a:cubicBezTo>
                <a:lnTo>
                  <a:pt x="3724068" y="226591"/>
                </a:lnTo>
                <a:cubicBezTo>
                  <a:pt x="3727770" y="224908"/>
                  <a:pt x="3732988" y="223057"/>
                  <a:pt x="3739718" y="221037"/>
                </a:cubicBezTo>
                <a:cubicBezTo>
                  <a:pt x="3746450" y="219018"/>
                  <a:pt x="3753770" y="217167"/>
                  <a:pt x="3761678" y="215484"/>
                </a:cubicBezTo>
                <a:cubicBezTo>
                  <a:pt x="3769588" y="213802"/>
                  <a:pt x="3777832" y="212371"/>
                  <a:pt x="3786414" y="211193"/>
                </a:cubicBezTo>
                <a:cubicBezTo>
                  <a:pt x="3794996" y="210015"/>
                  <a:pt x="3803158" y="209427"/>
                  <a:pt x="3810898" y="209427"/>
                </a:cubicBezTo>
                <a:cubicBezTo>
                  <a:pt x="3831764" y="209427"/>
                  <a:pt x="3849770" y="211867"/>
                  <a:pt x="3864916" y="216746"/>
                </a:cubicBezTo>
                <a:cubicBezTo>
                  <a:pt x="3880060" y="221626"/>
                  <a:pt x="3892512" y="228526"/>
                  <a:pt x="3902272" y="237444"/>
                </a:cubicBezTo>
                <a:cubicBezTo>
                  <a:pt x="3912032" y="246363"/>
                  <a:pt x="3919268" y="256880"/>
                  <a:pt x="3923980" y="268996"/>
                </a:cubicBezTo>
                <a:cubicBezTo>
                  <a:pt x="3928692" y="281112"/>
                  <a:pt x="3931048" y="294405"/>
                  <a:pt x="3931048" y="308877"/>
                </a:cubicBezTo>
                <a:cubicBezTo>
                  <a:pt x="3931048" y="327051"/>
                  <a:pt x="3926588" y="342700"/>
                  <a:pt x="3917668" y="355826"/>
                </a:cubicBezTo>
                <a:cubicBezTo>
                  <a:pt x="3908750" y="368951"/>
                  <a:pt x="3896214" y="378879"/>
                  <a:pt x="3880060" y="385610"/>
                </a:cubicBezTo>
                <a:cubicBezTo>
                  <a:pt x="3891840" y="391668"/>
                  <a:pt x="3901262" y="400419"/>
                  <a:pt x="3908330" y="411861"/>
                </a:cubicBezTo>
                <a:cubicBezTo>
                  <a:pt x="3915398" y="423304"/>
                  <a:pt x="3918932" y="435252"/>
                  <a:pt x="3918932" y="447704"/>
                </a:cubicBezTo>
                <a:cubicBezTo>
                  <a:pt x="3918932" y="460156"/>
                  <a:pt x="3916912" y="471767"/>
                  <a:pt x="3912874" y="482537"/>
                </a:cubicBezTo>
                <a:cubicBezTo>
                  <a:pt x="3908834" y="493306"/>
                  <a:pt x="3902608" y="502646"/>
                  <a:pt x="3894196" y="510555"/>
                </a:cubicBezTo>
                <a:cubicBezTo>
                  <a:pt x="3885780" y="518464"/>
                  <a:pt x="3875096" y="524606"/>
                  <a:pt x="3862138" y="528981"/>
                </a:cubicBezTo>
                <a:cubicBezTo>
                  <a:pt x="3849180" y="533356"/>
                  <a:pt x="3833952" y="535544"/>
                  <a:pt x="3816452" y="535544"/>
                </a:cubicBezTo>
                <a:close/>
                <a:moveTo>
                  <a:pt x="3567354" y="535544"/>
                </a:moveTo>
                <a:cubicBezTo>
                  <a:pt x="3549854" y="535544"/>
                  <a:pt x="3532268" y="532178"/>
                  <a:pt x="3514600" y="525447"/>
                </a:cubicBezTo>
                <a:cubicBezTo>
                  <a:pt x="3496930" y="518716"/>
                  <a:pt x="3481366" y="508283"/>
                  <a:pt x="3467904" y="494148"/>
                </a:cubicBezTo>
                <a:lnTo>
                  <a:pt x="3498698" y="450733"/>
                </a:lnTo>
                <a:cubicBezTo>
                  <a:pt x="3509130" y="461839"/>
                  <a:pt x="3519732" y="469748"/>
                  <a:pt x="3530502" y="474460"/>
                </a:cubicBezTo>
                <a:cubicBezTo>
                  <a:pt x="3541272" y="479171"/>
                  <a:pt x="3551536" y="481527"/>
                  <a:pt x="3561296" y="481527"/>
                </a:cubicBezTo>
                <a:cubicBezTo>
                  <a:pt x="3573076" y="481527"/>
                  <a:pt x="3582836" y="478078"/>
                  <a:pt x="3590576" y="471178"/>
                </a:cubicBezTo>
                <a:cubicBezTo>
                  <a:pt x="3598316" y="464279"/>
                  <a:pt x="3602186" y="454435"/>
                  <a:pt x="3602188" y="441646"/>
                </a:cubicBezTo>
                <a:cubicBezTo>
                  <a:pt x="3602186" y="432559"/>
                  <a:pt x="3599074" y="423641"/>
                  <a:pt x="3592848" y="414890"/>
                </a:cubicBezTo>
                <a:cubicBezTo>
                  <a:pt x="3586622" y="406140"/>
                  <a:pt x="3578712" y="397053"/>
                  <a:pt x="3569120" y="387630"/>
                </a:cubicBezTo>
                <a:cubicBezTo>
                  <a:pt x="3559528" y="378206"/>
                  <a:pt x="3549264" y="368362"/>
                  <a:pt x="3538326" y="358097"/>
                </a:cubicBezTo>
                <a:cubicBezTo>
                  <a:pt x="3527388" y="347833"/>
                  <a:pt x="3517124" y="336727"/>
                  <a:pt x="3507532" y="324779"/>
                </a:cubicBezTo>
                <a:cubicBezTo>
                  <a:pt x="3497940" y="312831"/>
                  <a:pt x="3490032" y="299790"/>
                  <a:pt x="3483806" y="285655"/>
                </a:cubicBezTo>
                <a:cubicBezTo>
                  <a:pt x="3477580" y="271520"/>
                  <a:pt x="3474466" y="256039"/>
                  <a:pt x="3474466" y="239211"/>
                </a:cubicBezTo>
                <a:cubicBezTo>
                  <a:pt x="3474466" y="237192"/>
                  <a:pt x="3474382" y="233658"/>
                  <a:pt x="3474214" y="228610"/>
                </a:cubicBezTo>
                <a:cubicBezTo>
                  <a:pt x="3474046" y="223562"/>
                  <a:pt x="3474466" y="219355"/>
                  <a:pt x="3475476" y="215989"/>
                </a:cubicBezTo>
                <a:lnTo>
                  <a:pt x="3679426" y="215989"/>
                </a:lnTo>
                <a:lnTo>
                  <a:pt x="3679426" y="267481"/>
                </a:lnTo>
                <a:lnTo>
                  <a:pt x="3545142" y="267481"/>
                </a:lnTo>
                <a:cubicBezTo>
                  <a:pt x="3545142" y="272530"/>
                  <a:pt x="3546908" y="278083"/>
                  <a:pt x="3550442" y="284141"/>
                </a:cubicBezTo>
                <a:cubicBezTo>
                  <a:pt x="3553976" y="290198"/>
                  <a:pt x="3558268" y="296172"/>
                  <a:pt x="3563316" y="302062"/>
                </a:cubicBezTo>
                <a:cubicBezTo>
                  <a:pt x="3568364" y="307952"/>
                  <a:pt x="3573748" y="313673"/>
                  <a:pt x="3579470" y="319226"/>
                </a:cubicBezTo>
                <a:cubicBezTo>
                  <a:pt x="3585190" y="324779"/>
                  <a:pt x="3590240" y="329575"/>
                  <a:pt x="3594614" y="333613"/>
                </a:cubicBezTo>
                <a:cubicBezTo>
                  <a:pt x="3603364" y="341691"/>
                  <a:pt x="3611946" y="350104"/>
                  <a:pt x="3620360" y="358855"/>
                </a:cubicBezTo>
                <a:cubicBezTo>
                  <a:pt x="3628774" y="367605"/>
                  <a:pt x="3636346" y="376692"/>
                  <a:pt x="3643078" y="386115"/>
                </a:cubicBezTo>
                <a:cubicBezTo>
                  <a:pt x="3649808" y="395539"/>
                  <a:pt x="3655194" y="405214"/>
                  <a:pt x="3659232" y="415143"/>
                </a:cubicBezTo>
                <a:cubicBezTo>
                  <a:pt x="3663270" y="425071"/>
                  <a:pt x="3665290" y="435420"/>
                  <a:pt x="3665290" y="446189"/>
                </a:cubicBezTo>
                <a:cubicBezTo>
                  <a:pt x="3665290" y="460998"/>
                  <a:pt x="3662598" y="474039"/>
                  <a:pt x="3657212" y="485313"/>
                </a:cubicBezTo>
                <a:cubicBezTo>
                  <a:pt x="3651828" y="496588"/>
                  <a:pt x="3644592" y="505927"/>
                  <a:pt x="3635506" y="513331"/>
                </a:cubicBezTo>
                <a:cubicBezTo>
                  <a:pt x="3626418" y="520735"/>
                  <a:pt x="3615986" y="526288"/>
                  <a:pt x="3604206" y="529990"/>
                </a:cubicBezTo>
                <a:cubicBezTo>
                  <a:pt x="3592426" y="533692"/>
                  <a:pt x="3580142" y="535544"/>
                  <a:pt x="3567354" y="535544"/>
                </a:cubicBezTo>
                <a:close/>
                <a:moveTo>
                  <a:pt x="3324752" y="535544"/>
                </a:moveTo>
                <a:cubicBezTo>
                  <a:pt x="3290088" y="535544"/>
                  <a:pt x="3263332" y="522081"/>
                  <a:pt x="3244486" y="495157"/>
                </a:cubicBezTo>
                <a:cubicBezTo>
                  <a:pt x="3225638" y="468233"/>
                  <a:pt x="3216214" y="427511"/>
                  <a:pt x="3216214" y="372990"/>
                </a:cubicBezTo>
                <a:cubicBezTo>
                  <a:pt x="3216214" y="317796"/>
                  <a:pt x="3225470" y="276737"/>
                  <a:pt x="3243980" y="249813"/>
                </a:cubicBezTo>
                <a:cubicBezTo>
                  <a:pt x="3262490" y="222889"/>
                  <a:pt x="3289414" y="209427"/>
                  <a:pt x="3324752" y="209427"/>
                </a:cubicBezTo>
                <a:cubicBezTo>
                  <a:pt x="3360090" y="209427"/>
                  <a:pt x="3387014" y="222889"/>
                  <a:pt x="3405524" y="249813"/>
                </a:cubicBezTo>
                <a:cubicBezTo>
                  <a:pt x="3424034" y="276737"/>
                  <a:pt x="3433290" y="317796"/>
                  <a:pt x="3433290" y="372990"/>
                </a:cubicBezTo>
                <a:cubicBezTo>
                  <a:pt x="3433290" y="427847"/>
                  <a:pt x="3424034" y="468654"/>
                  <a:pt x="3405524" y="495410"/>
                </a:cubicBezTo>
                <a:cubicBezTo>
                  <a:pt x="3387014" y="522166"/>
                  <a:pt x="3360090" y="535544"/>
                  <a:pt x="3324752" y="535544"/>
                </a:cubicBezTo>
                <a:close/>
                <a:moveTo>
                  <a:pt x="3062528" y="535544"/>
                </a:moveTo>
                <a:cubicBezTo>
                  <a:pt x="3045028" y="535544"/>
                  <a:pt x="3027444" y="532178"/>
                  <a:pt x="3009774" y="525447"/>
                </a:cubicBezTo>
                <a:cubicBezTo>
                  <a:pt x="2992106" y="518716"/>
                  <a:pt x="2976540" y="508283"/>
                  <a:pt x="2963078" y="494148"/>
                </a:cubicBezTo>
                <a:lnTo>
                  <a:pt x="2993872" y="450733"/>
                </a:lnTo>
                <a:cubicBezTo>
                  <a:pt x="3004306" y="461839"/>
                  <a:pt x="3014908" y="469748"/>
                  <a:pt x="3025676" y="474460"/>
                </a:cubicBezTo>
                <a:cubicBezTo>
                  <a:pt x="3036446" y="479171"/>
                  <a:pt x="3046712" y="481527"/>
                  <a:pt x="3056472" y="481527"/>
                </a:cubicBezTo>
                <a:cubicBezTo>
                  <a:pt x="3068250" y="481527"/>
                  <a:pt x="3078010" y="478078"/>
                  <a:pt x="3085752" y="471178"/>
                </a:cubicBezTo>
                <a:cubicBezTo>
                  <a:pt x="3093492" y="464279"/>
                  <a:pt x="3097362" y="454435"/>
                  <a:pt x="3097362" y="441646"/>
                </a:cubicBezTo>
                <a:cubicBezTo>
                  <a:pt x="3097362" y="432559"/>
                  <a:pt x="3094248" y="423641"/>
                  <a:pt x="3088022" y="414890"/>
                </a:cubicBezTo>
                <a:cubicBezTo>
                  <a:pt x="3081796" y="406140"/>
                  <a:pt x="3073888" y="397053"/>
                  <a:pt x="3064296" y="387630"/>
                </a:cubicBezTo>
                <a:cubicBezTo>
                  <a:pt x="3054704" y="378206"/>
                  <a:pt x="3044440" y="368362"/>
                  <a:pt x="3033502" y="358097"/>
                </a:cubicBezTo>
                <a:cubicBezTo>
                  <a:pt x="3022564" y="347833"/>
                  <a:pt x="3012298" y="336727"/>
                  <a:pt x="3002708" y="324779"/>
                </a:cubicBezTo>
                <a:cubicBezTo>
                  <a:pt x="2993116" y="312831"/>
                  <a:pt x="2985206" y="299790"/>
                  <a:pt x="2978980" y="285655"/>
                </a:cubicBezTo>
                <a:cubicBezTo>
                  <a:pt x="2972754" y="271520"/>
                  <a:pt x="2969642" y="256039"/>
                  <a:pt x="2969642" y="239211"/>
                </a:cubicBezTo>
                <a:cubicBezTo>
                  <a:pt x="2969642" y="237192"/>
                  <a:pt x="2969558" y="233658"/>
                  <a:pt x="2969388" y="228610"/>
                </a:cubicBezTo>
                <a:cubicBezTo>
                  <a:pt x="2969220" y="223562"/>
                  <a:pt x="2969640" y="219355"/>
                  <a:pt x="2970650" y="215989"/>
                </a:cubicBezTo>
                <a:lnTo>
                  <a:pt x="3174600" y="215989"/>
                </a:lnTo>
                <a:lnTo>
                  <a:pt x="3174600" y="267481"/>
                </a:lnTo>
                <a:lnTo>
                  <a:pt x="3040316" y="267481"/>
                </a:lnTo>
                <a:cubicBezTo>
                  <a:pt x="3040316" y="272530"/>
                  <a:pt x="3042084" y="278083"/>
                  <a:pt x="3045618" y="284141"/>
                </a:cubicBezTo>
                <a:cubicBezTo>
                  <a:pt x="3049152" y="290198"/>
                  <a:pt x="3053442" y="296172"/>
                  <a:pt x="3058490" y="302062"/>
                </a:cubicBezTo>
                <a:cubicBezTo>
                  <a:pt x="3063538" y="307952"/>
                  <a:pt x="3068924" y="313673"/>
                  <a:pt x="3074644" y="319226"/>
                </a:cubicBezTo>
                <a:cubicBezTo>
                  <a:pt x="3080366" y="324779"/>
                  <a:pt x="3085414" y="329575"/>
                  <a:pt x="3089790" y="333613"/>
                </a:cubicBezTo>
                <a:cubicBezTo>
                  <a:pt x="3098540" y="341691"/>
                  <a:pt x="3107122" y="350104"/>
                  <a:pt x="3115536" y="358855"/>
                </a:cubicBezTo>
                <a:cubicBezTo>
                  <a:pt x="3123950" y="367605"/>
                  <a:pt x="3131522" y="376692"/>
                  <a:pt x="3138252" y="386115"/>
                </a:cubicBezTo>
                <a:cubicBezTo>
                  <a:pt x="3144984" y="395539"/>
                  <a:pt x="3150368" y="405214"/>
                  <a:pt x="3154408" y="415143"/>
                </a:cubicBezTo>
                <a:cubicBezTo>
                  <a:pt x="3158446" y="425071"/>
                  <a:pt x="3160464" y="435420"/>
                  <a:pt x="3160464" y="446189"/>
                </a:cubicBezTo>
                <a:cubicBezTo>
                  <a:pt x="3160464" y="460998"/>
                  <a:pt x="3157772" y="474039"/>
                  <a:pt x="3152388" y="485313"/>
                </a:cubicBezTo>
                <a:cubicBezTo>
                  <a:pt x="3147002" y="496588"/>
                  <a:pt x="3139766" y="505927"/>
                  <a:pt x="3130680" y="513331"/>
                </a:cubicBezTo>
                <a:cubicBezTo>
                  <a:pt x="3121594" y="520735"/>
                  <a:pt x="3111160" y="526288"/>
                  <a:pt x="3099382" y="529990"/>
                </a:cubicBezTo>
                <a:cubicBezTo>
                  <a:pt x="3087602" y="533692"/>
                  <a:pt x="3075318" y="535544"/>
                  <a:pt x="3062528" y="535544"/>
                </a:cubicBezTo>
                <a:close/>
                <a:moveTo>
                  <a:pt x="2292890" y="561290"/>
                </a:moveTo>
                <a:cubicBezTo>
                  <a:pt x="2282120" y="561290"/>
                  <a:pt x="2272949" y="557756"/>
                  <a:pt x="2265377" y="550688"/>
                </a:cubicBezTo>
                <a:cubicBezTo>
                  <a:pt x="2257805" y="543621"/>
                  <a:pt x="2254018" y="533861"/>
                  <a:pt x="2254018" y="521408"/>
                </a:cubicBezTo>
                <a:cubicBezTo>
                  <a:pt x="2254018" y="509293"/>
                  <a:pt x="2257805" y="499701"/>
                  <a:pt x="2265377" y="492633"/>
                </a:cubicBezTo>
                <a:cubicBezTo>
                  <a:pt x="2272949" y="485566"/>
                  <a:pt x="2282120" y="482032"/>
                  <a:pt x="2292890" y="482032"/>
                </a:cubicBezTo>
                <a:cubicBezTo>
                  <a:pt x="2303660" y="482032"/>
                  <a:pt x="2312914" y="485566"/>
                  <a:pt x="2320655" y="492633"/>
                </a:cubicBezTo>
                <a:cubicBezTo>
                  <a:pt x="2328396" y="499701"/>
                  <a:pt x="2332266" y="509293"/>
                  <a:pt x="2332266" y="521408"/>
                </a:cubicBezTo>
                <a:cubicBezTo>
                  <a:pt x="2332266" y="533861"/>
                  <a:pt x="2328396" y="543621"/>
                  <a:pt x="2320655" y="550688"/>
                </a:cubicBezTo>
                <a:cubicBezTo>
                  <a:pt x="2312914" y="557756"/>
                  <a:pt x="2303660" y="561290"/>
                  <a:pt x="2292890" y="561290"/>
                </a:cubicBezTo>
                <a:close/>
                <a:moveTo>
                  <a:pt x="1959420" y="563309"/>
                </a:moveTo>
                <a:lnTo>
                  <a:pt x="1959420" y="511817"/>
                </a:lnTo>
                <a:lnTo>
                  <a:pt x="2025047" y="511817"/>
                </a:lnTo>
                <a:lnTo>
                  <a:pt x="2025047" y="310392"/>
                </a:lnTo>
                <a:cubicBezTo>
                  <a:pt x="2025047" y="277746"/>
                  <a:pt x="2031610" y="252926"/>
                  <a:pt x="2044735" y="235930"/>
                </a:cubicBezTo>
                <a:cubicBezTo>
                  <a:pt x="2057860" y="218934"/>
                  <a:pt x="2078727" y="210436"/>
                  <a:pt x="2107333" y="210436"/>
                </a:cubicBezTo>
                <a:cubicBezTo>
                  <a:pt x="2117767" y="210436"/>
                  <a:pt x="2127106" y="211109"/>
                  <a:pt x="2135351" y="212455"/>
                </a:cubicBezTo>
                <a:cubicBezTo>
                  <a:pt x="2143597" y="213802"/>
                  <a:pt x="2150580" y="215400"/>
                  <a:pt x="2156302" y="217251"/>
                </a:cubicBezTo>
                <a:cubicBezTo>
                  <a:pt x="2162023" y="219102"/>
                  <a:pt x="2166650" y="220869"/>
                  <a:pt x="2170184" y="222552"/>
                </a:cubicBezTo>
                <a:cubicBezTo>
                  <a:pt x="2173718" y="224235"/>
                  <a:pt x="2175990" y="225413"/>
                  <a:pt x="2176999" y="226086"/>
                </a:cubicBezTo>
                <a:lnTo>
                  <a:pt x="2168922" y="276063"/>
                </a:lnTo>
                <a:cubicBezTo>
                  <a:pt x="2166230" y="275054"/>
                  <a:pt x="2160677" y="272866"/>
                  <a:pt x="2152263" y="269501"/>
                </a:cubicBezTo>
                <a:cubicBezTo>
                  <a:pt x="2143849" y="266135"/>
                  <a:pt x="2133416" y="264452"/>
                  <a:pt x="2120964" y="264452"/>
                </a:cubicBezTo>
                <a:cubicBezTo>
                  <a:pt x="2111204" y="264452"/>
                  <a:pt x="2103126" y="267313"/>
                  <a:pt x="2096732" y="273034"/>
                </a:cubicBezTo>
                <a:cubicBezTo>
                  <a:pt x="2090338" y="278756"/>
                  <a:pt x="2087140" y="289694"/>
                  <a:pt x="2087140" y="305848"/>
                </a:cubicBezTo>
                <a:lnTo>
                  <a:pt x="2087140" y="563309"/>
                </a:lnTo>
                <a:close/>
                <a:moveTo>
                  <a:pt x="1607052" y="565833"/>
                </a:moveTo>
                <a:cubicBezTo>
                  <a:pt x="1594263" y="565833"/>
                  <a:pt x="1581811" y="564234"/>
                  <a:pt x="1569695" y="561037"/>
                </a:cubicBezTo>
                <a:cubicBezTo>
                  <a:pt x="1557579" y="557840"/>
                  <a:pt x="1546810" y="552455"/>
                  <a:pt x="1537386" y="544883"/>
                </a:cubicBezTo>
                <a:cubicBezTo>
                  <a:pt x="1527963" y="537310"/>
                  <a:pt x="1520474" y="527214"/>
                  <a:pt x="1514921" y="514593"/>
                </a:cubicBezTo>
                <a:cubicBezTo>
                  <a:pt x="1509368" y="501973"/>
                  <a:pt x="1506592" y="486071"/>
                  <a:pt x="1506592" y="466887"/>
                </a:cubicBezTo>
                <a:lnTo>
                  <a:pt x="1506592" y="453257"/>
                </a:lnTo>
                <a:lnTo>
                  <a:pt x="1454595" y="453257"/>
                </a:lnTo>
                <a:lnTo>
                  <a:pt x="1454595" y="401765"/>
                </a:lnTo>
                <a:lnTo>
                  <a:pt x="1506592" y="401765"/>
                </a:lnTo>
                <a:lnTo>
                  <a:pt x="1506592" y="215989"/>
                </a:lnTo>
                <a:lnTo>
                  <a:pt x="1569190" y="215989"/>
                </a:lnTo>
                <a:lnTo>
                  <a:pt x="1569190" y="401765"/>
                </a:lnTo>
                <a:lnTo>
                  <a:pt x="1666621" y="401765"/>
                </a:lnTo>
                <a:lnTo>
                  <a:pt x="1666621" y="453257"/>
                </a:lnTo>
                <a:lnTo>
                  <a:pt x="1569190" y="453257"/>
                </a:lnTo>
                <a:lnTo>
                  <a:pt x="1569190" y="465878"/>
                </a:lnTo>
                <a:cubicBezTo>
                  <a:pt x="1569190" y="475974"/>
                  <a:pt x="1570368" y="484135"/>
                  <a:pt x="1572724" y="490362"/>
                </a:cubicBezTo>
                <a:cubicBezTo>
                  <a:pt x="1575080" y="496588"/>
                  <a:pt x="1578193" y="501384"/>
                  <a:pt x="1582063" y="504749"/>
                </a:cubicBezTo>
                <a:cubicBezTo>
                  <a:pt x="1585933" y="508115"/>
                  <a:pt x="1590477" y="510302"/>
                  <a:pt x="1595693" y="511312"/>
                </a:cubicBezTo>
                <a:cubicBezTo>
                  <a:pt x="1600910" y="512322"/>
                  <a:pt x="1606379" y="512826"/>
                  <a:pt x="1612100" y="512826"/>
                </a:cubicBezTo>
                <a:cubicBezTo>
                  <a:pt x="1622533" y="512826"/>
                  <a:pt x="1633555" y="511396"/>
                  <a:pt x="1645166" y="508535"/>
                </a:cubicBezTo>
                <a:cubicBezTo>
                  <a:pt x="1656777" y="505675"/>
                  <a:pt x="1666453" y="502898"/>
                  <a:pt x="1674194" y="500206"/>
                </a:cubicBezTo>
                <a:lnTo>
                  <a:pt x="1684795" y="550688"/>
                </a:lnTo>
                <a:cubicBezTo>
                  <a:pt x="1673689" y="556073"/>
                  <a:pt x="1661236" y="559943"/>
                  <a:pt x="1647438" y="562299"/>
                </a:cubicBezTo>
                <a:cubicBezTo>
                  <a:pt x="1633639" y="564655"/>
                  <a:pt x="1620178" y="565833"/>
                  <a:pt x="1607052" y="565833"/>
                </a:cubicBezTo>
                <a:close/>
                <a:moveTo>
                  <a:pt x="0" y="796029"/>
                </a:moveTo>
                <a:lnTo>
                  <a:pt x="4876802" y="796029"/>
                </a:lnTo>
                <a:lnTo>
                  <a:pt x="4824822" y="344498"/>
                </a:lnTo>
                <a:cubicBezTo>
                  <a:pt x="4801968" y="145891"/>
                  <a:pt x="4682292" y="207"/>
                  <a:pt x="4541980" y="155"/>
                </a:cubicBezTo>
                <a:lnTo>
                  <a:pt x="0" y="0"/>
                </a:lnTo>
                <a:close/>
              </a:path>
            </a:pathLst>
          </a:custGeom>
          <a:solidFill>
            <a:schemeClr val="bg1"/>
          </a:solidFill>
          <a:ln w="2834" cap="flat">
            <a:noFill/>
            <a:prstDash val="solid"/>
            <a:miter/>
          </a:ln>
        </p:spPr>
        <p:txBody>
          <a:bodyPr wrap="square" rtlCol="0" anchor="ctr">
            <a:noAutofit/>
          </a:bodyPr>
          <a:lstStyle/>
          <a:p>
            <a:endParaRPr lang="en-US" dirty="0"/>
          </a:p>
        </p:txBody>
      </p:sp>
      <p:pic>
        <p:nvPicPr>
          <p:cNvPr id="8" name="Imagen 7" descr="Un dibujo de una cara feliz&#10;&#10;Descripción generada automáticamente con confianza baja">
            <a:extLst>
              <a:ext uri="{FF2B5EF4-FFF2-40B4-BE49-F238E27FC236}">
                <a16:creationId xmlns:a16="http://schemas.microsoft.com/office/drawing/2014/main" id="{A82FAAE7-F450-2EFB-B470-9CA2B285AACF}"/>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7824450" y="406400"/>
            <a:ext cx="1801936" cy="934010"/>
          </a:xfrm>
          <a:prstGeom prst="rect">
            <a:avLst/>
          </a:prstGeom>
        </p:spPr>
      </p:pic>
      <p:sp>
        <p:nvSpPr>
          <p:cNvPr id="10" name="Título 9">
            <a:extLst>
              <a:ext uri="{FF2B5EF4-FFF2-40B4-BE49-F238E27FC236}">
                <a16:creationId xmlns:a16="http://schemas.microsoft.com/office/drawing/2014/main" id="{7E8DAFFC-ADDB-1273-AA91-4852BCB21C8E}"/>
              </a:ext>
            </a:extLst>
          </p:cNvPr>
          <p:cNvSpPr>
            <a:spLocks noGrp="1"/>
          </p:cNvSpPr>
          <p:nvPr>
            <p:ph type="title" hasCustomPrompt="1"/>
          </p:nvPr>
        </p:nvSpPr>
        <p:spPr>
          <a:xfrm>
            <a:off x="7104380" y="1495932"/>
            <a:ext cx="10692384" cy="646331"/>
          </a:xfrm>
        </p:spPr>
        <p:txBody>
          <a:bodyPr/>
          <a:lstStyle>
            <a:lvl1pPr>
              <a:defRPr sz="4200" b="1" i="0">
                <a:solidFill>
                  <a:schemeClr val="bg1"/>
                </a:solidFill>
                <a:latin typeface="Ubuntu" panose="020B0504030602030204" pitchFamily="34" charset="0"/>
              </a:defRPr>
            </a:lvl1pPr>
          </a:lstStyle>
          <a:p>
            <a:r>
              <a:rPr lang="es-ES" dirty="0"/>
              <a:t>ASDFASFD</a:t>
            </a:r>
          </a:p>
        </p:txBody>
      </p:sp>
      <p:sp>
        <p:nvSpPr>
          <p:cNvPr id="11" name="object 12">
            <a:extLst>
              <a:ext uri="{FF2B5EF4-FFF2-40B4-BE49-F238E27FC236}">
                <a16:creationId xmlns:a16="http://schemas.microsoft.com/office/drawing/2014/main" id="{527854C5-8C21-D1AB-7E04-F771C691CE29}"/>
              </a:ext>
            </a:extLst>
          </p:cNvPr>
          <p:cNvSpPr txBox="1"/>
          <p:nvPr userDrawn="1"/>
        </p:nvSpPr>
        <p:spPr>
          <a:xfrm>
            <a:off x="7104380" y="807573"/>
            <a:ext cx="9881870" cy="567463"/>
          </a:xfrm>
          <a:prstGeom prst="rect">
            <a:avLst/>
          </a:prstGeom>
        </p:spPr>
        <p:txBody>
          <a:bodyPr vert="horz" wrap="square" lIns="0" tIns="13335" rIns="0" bIns="0" rtlCol="0">
            <a:spAutoFit/>
          </a:bodyPr>
          <a:lstStyle/>
          <a:p>
            <a:pPr marL="12700">
              <a:lnSpc>
                <a:spcPct val="100000"/>
              </a:lnSpc>
              <a:spcBef>
                <a:spcPts val="105"/>
              </a:spcBef>
            </a:pPr>
            <a:r>
              <a:rPr lang="en-US" sz="3600" spc="-30" dirty="0">
                <a:solidFill>
                  <a:srgbClr val="12A9D8"/>
                </a:solidFill>
                <a:latin typeface="Ubuntu Mono" panose="020B0509030602030204" pitchFamily="49" charset="0"/>
                <a:cs typeface="Ubuntu"/>
              </a:rPr>
              <a:t>Thinking about…</a:t>
            </a:r>
            <a:endParaRPr lang="en-US" sz="3600" dirty="0">
              <a:solidFill>
                <a:srgbClr val="12A9D8"/>
              </a:solidFill>
              <a:latin typeface="Ubuntu"/>
              <a:cs typeface="Ubuntu"/>
            </a:endParaRPr>
          </a:p>
        </p:txBody>
      </p:sp>
      <p:sp>
        <p:nvSpPr>
          <p:cNvPr id="15" name="Marcador de texto 14">
            <a:extLst>
              <a:ext uri="{FF2B5EF4-FFF2-40B4-BE49-F238E27FC236}">
                <a16:creationId xmlns:a16="http://schemas.microsoft.com/office/drawing/2014/main" id="{894536B8-BEFF-96E8-2A83-A0B97363D840}"/>
              </a:ext>
            </a:extLst>
          </p:cNvPr>
          <p:cNvSpPr>
            <a:spLocks noGrp="1"/>
          </p:cNvSpPr>
          <p:nvPr>
            <p:ph type="body" sz="quarter" idx="10"/>
          </p:nvPr>
        </p:nvSpPr>
        <p:spPr>
          <a:xfrm>
            <a:off x="7104380" y="3225800"/>
            <a:ext cx="12244070" cy="6931641"/>
          </a:xfrm>
          <a:prstGeom prst="rect">
            <a:avLst/>
          </a:prstGeom>
        </p:spPr>
        <p:txBody>
          <a:bodyPr/>
          <a:lstStyle>
            <a:lvl1pPr>
              <a:defRPr sz="2900" b="0" i="0">
                <a:solidFill>
                  <a:schemeClr val="bg1"/>
                </a:solidFill>
                <a:latin typeface="Ubuntu Light" panose="020B0304030602030204" pitchFamily="34" charset="0"/>
              </a:defRPr>
            </a:lvl1pPr>
            <a:lvl2pPr>
              <a:defRPr sz="2900" b="0" i="0">
                <a:solidFill>
                  <a:schemeClr val="bg1"/>
                </a:solidFill>
                <a:latin typeface="Ubuntu Light" panose="020B0304030602030204" pitchFamily="34" charset="0"/>
              </a:defRPr>
            </a:lvl2pPr>
            <a:lvl3pPr>
              <a:defRPr sz="2900" b="0" i="0">
                <a:solidFill>
                  <a:schemeClr val="bg1"/>
                </a:solidFill>
                <a:latin typeface="Ubuntu Light" panose="020B0304030602030204" pitchFamily="34" charset="0"/>
              </a:defRPr>
            </a:lvl3pPr>
            <a:lvl4pPr>
              <a:defRPr sz="2900" b="0" i="0">
                <a:solidFill>
                  <a:schemeClr val="bg1"/>
                </a:solidFill>
                <a:latin typeface="Ubuntu Light" panose="020B0304030602030204" pitchFamily="34" charset="0"/>
              </a:defRPr>
            </a:lvl4pPr>
            <a:lvl5pPr>
              <a:defRPr sz="2900" b="0" i="0">
                <a:solidFill>
                  <a:schemeClr val="bg1"/>
                </a:solidFill>
                <a:latin typeface="Ubuntu Light" panose="020B0304030602030204" pitchFamily="34" charset="0"/>
              </a:defRPr>
            </a:lvl5pPr>
          </a:lstStyle>
          <a:p>
            <a:pPr lvl="0"/>
            <a:r>
              <a:rPr lang="es-ES" dirty="0"/>
              <a:t>Haga clic para modificar los estilos de texto del patrón</a:t>
            </a:r>
          </a:p>
          <a:p>
            <a:pPr lvl="1"/>
            <a:r>
              <a:rPr lang="es-ES" dirty="0"/>
              <a:t>Segundo nivel</a:t>
            </a:r>
          </a:p>
          <a:p>
            <a:pPr lvl="2"/>
            <a:r>
              <a:rPr lang="es-ES" dirty="0"/>
              <a:t> nivel</a:t>
            </a:r>
          </a:p>
          <a:p>
            <a:pPr lvl="3"/>
            <a:r>
              <a:rPr lang="es-ES" dirty="0"/>
              <a:t>Cuarto nivel</a:t>
            </a:r>
          </a:p>
          <a:p>
            <a:pPr lvl="4"/>
            <a:r>
              <a:rPr lang="es-ES" dirty="0"/>
              <a:t>Quinto nivel</a:t>
            </a:r>
          </a:p>
        </p:txBody>
      </p:sp>
      <p:sp>
        <p:nvSpPr>
          <p:cNvPr id="16" name="CuadroTexto 15">
            <a:extLst>
              <a:ext uri="{FF2B5EF4-FFF2-40B4-BE49-F238E27FC236}">
                <a16:creationId xmlns:a16="http://schemas.microsoft.com/office/drawing/2014/main" id="{9D153551-888E-2E4A-C9F1-C375C679B619}"/>
              </a:ext>
            </a:extLst>
          </p:cNvPr>
          <p:cNvSpPr txBox="1"/>
          <p:nvPr userDrawn="1"/>
        </p:nvSpPr>
        <p:spPr>
          <a:xfrm>
            <a:off x="4870450" y="-151634"/>
            <a:ext cx="3200400" cy="4508927"/>
          </a:xfrm>
          <a:prstGeom prst="rect">
            <a:avLst/>
          </a:prstGeom>
          <a:noFill/>
        </p:spPr>
        <p:txBody>
          <a:bodyPr wrap="square" rtlCol="0">
            <a:spAutoFit/>
          </a:bodyPr>
          <a:lstStyle/>
          <a:p>
            <a:r>
              <a:rPr lang="es-ES" sz="28700" b="1" i="0" dirty="0">
                <a:solidFill>
                  <a:srgbClr val="12A9D8"/>
                </a:solidFill>
                <a:latin typeface="Ubuntu" panose="020B0504030602030204" pitchFamily="34" charset="0"/>
              </a:rPr>
              <a:t>?</a:t>
            </a:r>
          </a:p>
        </p:txBody>
      </p:sp>
    </p:spTree>
    <p:extLst>
      <p:ext uri="{BB962C8B-B14F-4D97-AF65-F5344CB8AC3E}">
        <p14:creationId xmlns:p14="http://schemas.microsoft.com/office/powerpoint/2010/main" val="389973742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9_Title and Content">
    <p:spTree>
      <p:nvGrpSpPr>
        <p:cNvPr id="1" name=""/>
        <p:cNvGrpSpPr/>
        <p:nvPr/>
      </p:nvGrpSpPr>
      <p:grpSpPr>
        <a:xfrm>
          <a:off x="0" y="0"/>
          <a:ext cx="0" cy="0"/>
          <a:chOff x="0" y="0"/>
          <a:chExt cx="0" cy="0"/>
        </a:xfrm>
      </p:grpSpPr>
      <p:pic>
        <p:nvPicPr>
          <p:cNvPr id="9" name="Imagen 8" descr="Imagen que contiene persona, mujer, sostener, hombre&#10;&#10;Descripción generada automáticamente">
            <a:extLst>
              <a:ext uri="{FF2B5EF4-FFF2-40B4-BE49-F238E27FC236}">
                <a16:creationId xmlns:a16="http://schemas.microsoft.com/office/drawing/2014/main" id="{E7E060E4-DF07-FFCD-3289-E7AD10B72C6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919" y="0"/>
            <a:ext cx="7556542" cy="11328400"/>
          </a:xfrm>
          <a:prstGeom prst="rect">
            <a:avLst/>
          </a:prstGeom>
        </p:spPr>
      </p:pic>
      <p:sp>
        <p:nvSpPr>
          <p:cNvPr id="3" name="Rectángulo 2">
            <a:extLst>
              <a:ext uri="{FF2B5EF4-FFF2-40B4-BE49-F238E27FC236}">
                <a16:creationId xmlns:a16="http://schemas.microsoft.com/office/drawing/2014/main" id="{8E2A0C8C-2F63-07D5-D3ED-F129D31CE088}"/>
              </a:ext>
            </a:extLst>
          </p:cNvPr>
          <p:cNvSpPr/>
          <p:nvPr userDrawn="1"/>
        </p:nvSpPr>
        <p:spPr>
          <a:xfrm>
            <a:off x="6318250" y="-17753"/>
            <a:ext cx="13785850" cy="11346153"/>
          </a:xfrm>
          <a:prstGeom prst="rect">
            <a:avLst/>
          </a:prstGeom>
          <a:solidFill>
            <a:srgbClr val="330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4" name="Holder 4"/>
          <p:cNvSpPr>
            <a:spLocks noGrp="1"/>
          </p:cNvSpPr>
          <p:nvPr>
            <p:ph type="ftr" sz="quarter" idx="5"/>
          </p:nvPr>
        </p:nvSpPr>
        <p:spPr>
          <a:xfrm>
            <a:off x="16647741" y="10759212"/>
            <a:ext cx="2962677" cy="200055"/>
          </a:xfrm>
          <a:prstGeom prst="rect">
            <a:avLst/>
          </a:prstGeom>
        </p:spPr>
        <p:txBody>
          <a:bodyPr lIns="0" tIns="0" rIns="0" bIns="0"/>
          <a:lstStyle>
            <a:lvl1pPr>
              <a:defRPr sz="1300" b="0" i="0">
                <a:solidFill>
                  <a:schemeClr val="bg1"/>
                </a:solidFill>
                <a:latin typeface="Ubuntu Light"/>
                <a:cs typeface="Ubuntu Light"/>
              </a:defRPr>
            </a:lvl1pPr>
          </a:lstStyle>
          <a:p>
            <a:pPr marL="26034">
              <a:spcBef>
                <a:spcPts val="30"/>
              </a:spcBef>
            </a:pPr>
            <a:r>
              <a:rPr lang="es-ES" dirty="0"/>
              <a:t>Public</a:t>
            </a:r>
            <a:r>
              <a:rPr lang="es-ES" spc="-40" dirty="0"/>
              <a:t> </a:t>
            </a:r>
            <a:r>
              <a:rPr lang="es-ES" dirty="0"/>
              <a:t>©</a:t>
            </a:r>
            <a:r>
              <a:rPr lang="es-ES" spc="-40" dirty="0"/>
              <a:t> </a:t>
            </a:r>
            <a:r>
              <a:rPr lang="es-ES" dirty="0"/>
              <a:t>2023</a:t>
            </a:r>
            <a:r>
              <a:rPr lang="es-ES" spc="-40" dirty="0"/>
              <a:t> </a:t>
            </a:r>
            <a:r>
              <a:rPr lang="es-ES" spc="-10" dirty="0"/>
              <a:t>Sogeti.</a:t>
            </a:r>
            <a:r>
              <a:rPr lang="es-ES" spc="-35" dirty="0"/>
              <a:t> </a:t>
            </a:r>
            <a:r>
              <a:rPr lang="es-ES" dirty="0" err="1"/>
              <a:t>All</a:t>
            </a:r>
            <a:r>
              <a:rPr lang="es-ES" spc="-40" dirty="0"/>
              <a:t> </a:t>
            </a:r>
            <a:r>
              <a:rPr lang="es-ES" dirty="0"/>
              <a:t>rights</a:t>
            </a:r>
            <a:r>
              <a:rPr lang="es-ES" spc="-40" dirty="0"/>
              <a:t> </a:t>
            </a:r>
            <a:r>
              <a:rPr lang="es-ES" spc="-10" dirty="0" err="1"/>
              <a:t>reserved</a:t>
            </a:r>
            <a:endParaRPr lang="es-ES" spc="-10" dirty="0"/>
          </a:p>
        </p:txBody>
      </p:sp>
      <p:sp>
        <p:nvSpPr>
          <p:cNvPr id="2" name="CuadroTexto 1">
            <a:extLst>
              <a:ext uri="{FF2B5EF4-FFF2-40B4-BE49-F238E27FC236}">
                <a16:creationId xmlns:a16="http://schemas.microsoft.com/office/drawing/2014/main" id="{72E5CF79-7DA3-E21E-3060-87CB44907F25}"/>
              </a:ext>
            </a:extLst>
          </p:cNvPr>
          <p:cNvSpPr txBox="1"/>
          <p:nvPr userDrawn="1"/>
        </p:nvSpPr>
        <p:spPr>
          <a:xfrm>
            <a:off x="755650" y="10845800"/>
            <a:ext cx="7772400" cy="292388"/>
          </a:xfrm>
          <a:prstGeom prst="rect">
            <a:avLst/>
          </a:prstGeom>
          <a:noFill/>
        </p:spPr>
        <p:txBody>
          <a:bodyPr wrap="square" rtlCol="0">
            <a:spAutoFit/>
          </a:bodyPr>
          <a:lstStyle/>
          <a:p>
            <a:r>
              <a:rPr lang="es-ES" sz="1300" b="0" i="0" dirty="0">
                <a:solidFill>
                  <a:schemeClr val="bg1"/>
                </a:solidFill>
                <a:latin typeface="Ubuntu Medium" panose="020B0504030602030204" pitchFamily="34" charset="0"/>
              </a:rPr>
              <a:t>#FlourishingDigitalBusinessWithQuality </a:t>
            </a:r>
            <a:r>
              <a:rPr lang="es-ES" sz="1300" b="1" i="0" dirty="0">
                <a:solidFill>
                  <a:schemeClr val="bg1"/>
                </a:solidFill>
                <a:latin typeface="Ubuntu" panose="020B0504030602030204" pitchFamily="34" charset="0"/>
              </a:rPr>
              <a:t> </a:t>
            </a:r>
            <a:r>
              <a:rPr lang="es-ES" sz="1300" b="1" i="0" dirty="0">
                <a:solidFill>
                  <a:srgbClr val="290E3B"/>
                </a:solidFill>
                <a:latin typeface="Ubuntu" panose="020B0504030602030204" pitchFamily="34" charset="0"/>
              </a:rPr>
              <a:t>·</a:t>
            </a:r>
            <a:r>
              <a:rPr lang="es-ES" sz="1300" b="0" i="0" dirty="0">
                <a:solidFill>
                  <a:schemeClr val="tx2"/>
                </a:solidFill>
                <a:latin typeface="Ubuntu Medium" panose="020B0504030602030204" pitchFamily="34" charset="0"/>
              </a:rPr>
              <a:t>   </a:t>
            </a:r>
            <a:r>
              <a:rPr lang="es-ES" sz="1300" b="1" i="0" dirty="0">
                <a:solidFill>
                  <a:srgbClr val="12A9D8"/>
                </a:solidFill>
                <a:latin typeface="Ubuntu" panose="020B0504030602030204" pitchFamily="34" charset="0"/>
              </a:rPr>
              <a:t>Sogeti España</a:t>
            </a:r>
          </a:p>
        </p:txBody>
      </p:sp>
      <p:sp>
        <p:nvSpPr>
          <p:cNvPr id="5" name="Forma libre 4">
            <a:extLst>
              <a:ext uri="{FF2B5EF4-FFF2-40B4-BE49-F238E27FC236}">
                <a16:creationId xmlns:a16="http://schemas.microsoft.com/office/drawing/2014/main" id="{FBAABD7F-C513-9B40-6AE2-E43DB3944CCE}"/>
              </a:ext>
            </a:extLst>
          </p:cNvPr>
          <p:cNvSpPr/>
          <p:nvPr userDrawn="1"/>
        </p:nvSpPr>
        <p:spPr>
          <a:xfrm flipV="1">
            <a:off x="755650" y="10384024"/>
            <a:ext cx="2362200" cy="385576"/>
          </a:xfrm>
          <a:custGeom>
            <a:avLst/>
            <a:gdLst/>
            <a:ahLst/>
            <a:cxnLst/>
            <a:rect l="l" t="t" r="r" b="b"/>
            <a:pathLst>
              <a:path w="4876802" h="796029">
                <a:moveTo>
                  <a:pt x="2572782" y="405299"/>
                </a:moveTo>
                <a:cubicBezTo>
                  <a:pt x="2589609" y="405299"/>
                  <a:pt x="2601809" y="398820"/>
                  <a:pt x="2609382" y="385863"/>
                </a:cubicBezTo>
                <a:cubicBezTo>
                  <a:pt x="2616954" y="372906"/>
                  <a:pt x="2620740" y="355826"/>
                  <a:pt x="2620740" y="334623"/>
                </a:cubicBezTo>
                <a:cubicBezTo>
                  <a:pt x="2620740" y="313420"/>
                  <a:pt x="2616618" y="296256"/>
                  <a:pt x="2608372" y="283131"/>
                </a:cubicBezTo>
                <a:cubicBezTo>
                  <a:pt x="2600126" y="270006"/>
                  <a:pt x="2587927" y="263443"/>
                  <a:pt x="2571772" y="263443"/>
                </a:cubicBezTo>
                <a:cubicBezTo>
                  <a:pt x="2554945" y="263443"/>
                  <a:pt x="2542744" y="270006"/>
                  <a:pt x="2535172" y="283131"/>
                </a:cubicBezTo>
                <a:cubicBezTo>
                  <a:pt x="2527600" y="296256"/>
                  <a:pt x="2523814" y="313420"/>
                  <a:pt x="2523814" y="334623"/>
                </a:cubicBezTo>
                <a:cubicBezTo>
                  <a:pt x="2523814" y="355826"/>
                  <a:pt x="2527937" y="372906"/>
                  <a:pt x="2536182" y="385863"/>
                </a:cubicBezTo>
                <a:cubicBezTo>
                  <a:pt x="2544428" y="398820"/>
                  <a:pt x="2556628" y="405299"/>
                  <a:pt x="2572782" y="405299"/>
                </a:cubicBezTo>
                <a:close/>
                <a:moveTo>
                  <a:pt x="1810782" y="405299"/>
                </a:moveTo>
                <a:cubicBezTo>
                  <a:pt x="1827610" y="405299"/>
                  <a:pt x="1839810" y="398820"/>
                  <a:pt x="1847382" y="385863"/>
                </a:cubicBezTo>
                <a:cubicBezTo>
                  <a:pt x="1854954" y="372906"/>
                  <a:pt x="1858740" y="355826"/>
                  <a:pt x="1858740" y="334623"/>
                </a:cubicBezTo>
                <a:cubicBezTo>
                  <a:pt x="1858740" y="313420"/>
                  <a:pt x="1854618" y="296256"/>
                  <a:pt x="1846372" y="283131"/>
                </a:cubicBezTo>
                <a:cubicBezTo>
                  <a:pt x="1838127" y="270006"/>
                  <a:pt x="1825927" y="263443"/>
                  <a:pt x="1809772" y="263443"/>
                </a:cubicBezTo>
                <a:cubicBezTo>
                  <a:pt x="1792945" y="263443"/>
                  <a:pt x="1780745" y="270006"/>
                  <a:pt x="1773173" y="283131"/>
                </a:cubicBezTo>
                <a:cubicBezTo>
                  <a:pt x="1765600" y="296256"/>
                  <a:pt x="1761814" y="313420"/>
                  <a:pt x="1761814" y="334623"/>
                </a:cubicBezTo>
                <a:cubicBezTo>
                  <a:pt x="1761814" y="355826"/>
                  <a:pt x="1765937" y="372906"/>
                  <a:pt x="1774182" y="385863"/>
                </a:cubicBezTo>
                <a:cubicBezTo>
                  <a:pt x="1782428" y="398820"/>
                  <a:pt x="1794628" y="405299"/>
                  <a:pt x="1810782" y="405299"/>
                </a:cubicBezTo>
                <a:close/>
                <a:moveTo>
                  <a:pt x="810657" y="405299"/>
                </a:moveTo>
                <a:cubicBezTo>
                  <a:pt x="827485" y="405299"/>
                  <a:pt x="839684" y="398820"/>
                  <a:pt x="847257" y="385863"/>
                </a:cubicBezTo>
                <a:cubicBezTo>
                  <a:pt x="854829" y="372906"/>
                  <a:pt x="858615" y="355826"/>
                  <a:pt x="858616" y="334623"/>
                </a:cubicBezTo>
                <a:cubicBezTo>
                  <a:pt x="858615" y="313420"/>
                  <a:pt x="854493" y="296256"/>
                  <a:pt x="846247" y="283131"/>
                </a:cubicBezTo>
                <a:cubicBezTo>
                  <a:pt x="838002" y="270006"/>
                  <a:pt x="825802" y="263443"/>
                  <a:pt x="809647" y="263443"/>
                </a:cubicBezTo>
                <a:cubicBezTo>
                  <a:pt x="792820" y="263443"/>
                  <a:pt x="780620" y="270006"/>
                  <a:pt x="773048" y="283131"/>
                </a:cubicBezTo>
                <a:cubicBezTo>
                  <a:pt x="765475" y="296256"/>
                  <a:pt x="761689" y="313420"/>
                  <a:pt x="761689" y="334623"/>
                </a:cubicBezTo>
                <a:cubicBezTo>
                  <a:pt x="761689" y="355826"/>
                  <a:pt x="765812" y="372906"/>
                  <a:pt x="774057" y="385863"/>
                </a:cubicBezTo>
                <a:cubicBezTo>
                  <a:pt x="782303" y="398820"/>
                  <a:pt x="794503" y="405299"/>
                  <a:pt x="810657" y="405299"/>
                </a:cubicBezTo>
                <a:close/>
                <a:moveTo>
                  <a:pt x="3325256" y="411861"/>
                </a:moveTo>
                <a:cubicBezTo>
                  <a:pt x="3316506" y="411861"/>
                  <a:pt x="3309608" y="408496"/>
                  <a:pt x="3304560" y="401765"/>
                </a:cubicBezTo>
                <a:cubicBezTo>
                  <a:pt x="3299512" y="395034"/>
                  <a:pt x="3296988" y="387125"/>
                  <a:pt x="3296988" y="378038"/>
                </a:cubicBezTo>
                <a:cubicBezTo>
                  <a:pt x="3296988" y="368951"/>
                  <a:pt x="3299512" y="361126"/>
                  <a:pt x="3304560" y="354564"/>
                </a:cubicBezTo>
                <a:cubicBezTo>
                  <a:pt x="3309608" y="348001"/>
                  <a:pt x="3316506" y="344720"/>
                  <a:pt x="3325256" y="344720"/>
                </a:cubicBezTo>
                <a:cubicBezTo>
                  <a:pt x="3333334" y="344720"/>
                  <a:pt x="3339980" y="348001"/>
                  <a:pt x="3345198" y="354564"/>
                </a:cubicBezTo>
                <a:cubicBezTo>
                  <a:pt x="3350414" y="361126"/>
                  <a:pt x="3353022" y="368951"/>
                  <a:pt x="3353022" y="378038"/>
                </a:cubicBezTo>
                <a:cubicBezTo>
                  <a:pt x="3353022" y="387125"/>
                  <a:pt x="3350414" y="395034"/>
                  <a:pt x="3345198" y="401765"/>
                </a:cubicBezTo>
                <a:cubicBezTo>
                  <a:pt x="3339980" y="408496"/>
                  <a:pt x="3333334" y="411861"/>
                  <a:pt x="3325256" y="411861"/>
                </a:cubicBezTo>
                <a:close/>
                <a:moveTo>
                  <a:pt x="2207070" y="453257"/>
                </a:moveTo>
                <a:lnTo>
                  <a:pt x="2207070" y="401765"/>
                </a:lnTo>
                <a:lnTo>
                  <a:pt x="2272697" y="401765"/>
                </a:lnTo>
                <a:lnTo>
                  <a:pt x="2272697" y="314430"/>
                </a:lnTo>
                <a:cubicBezTo>
                  <a:pt x="2272697" y="297939"/>
                  <a:pt x="2274043" y="283299"/>
                  <a:pt x="2276735" y="270510"/>
                </a:cubicBezTo>
                <a:cubicBezTo>
                  <a:pt x="2279428" y="257721"/>
                  <a:pt x="2284055" y="246868"/>
                  <a:pt x="2290618" y="237949"/>
                </a:cubicBezTo>
                <a:cubicBezTo>
                  <a:pt x="2297181" y="229031"/>
                  <a:pt x="2305931" y="222215"/>
                  <a:pt x="2316869" y="217504"/>
                </a:cubicBezTo>
                <a:cubicBezTo>
                  <a:pt x="2327807" y="212792"/>
                  <a:pt x="2341353" y="210436"/>
                  <a:pt x="2357508" y="210436"/>
                </a:cubicBezTo>
                <a:cubicBezTo>
                  <a:pt x="2366931" y="210436"/>
                  <a:pt x="2377280" y="211530"/>
                  <a:pt x="2388554" y="213718"/>
                </a:cubicBezTo>
                <a:cubicBezTo>
                  <a:pt x="2399829" y="215905"/>
                  <a:pt x="2411860" y="220028"/>
                  <a:pt x="2424649" y="226086"/>
                </a:cubicBezTo>
                <a:lnTo>
                  <a:pt x="2416572" y="276063"/>
                </a:lnTo>
                <a:cubicBezTo>
                  <a:pt x="2406475" y="271352"/>
                  <a:pt x="2397388" y="268239"/>
                  <a:pt x="2389312" y="266724"/>
                </a:cubicBezTo>
                <a:cubicBezTo>
                  <a:pt x="2381234" y="265210"/>
                  <a:pt x="2374335" y="264452"/>
                  <a:pt x="2368614" y="264452"/>
                </a:cubicBezTo>
                <a:cubicBezTo>
                  <a:pt x="2356498" y="264452"/>
                  <a:pt x="2347832" y="267902"/>
                  <a:pt x="2342615" y="274801"/>
                </a:cubicBezTo>
                <a:cubicBezTo>
                  <a:pt x="2337398" y="281701"/>
                  <a:pt x="2334790" y="292218"/>
                  <a:pt x="2334790" y="306353"/>
                </a:cubicBezTo>
                <a:lnTo>
                  <a:pt x="2334790" y="453257"/>
                </a:lnTo>
                <a:close/>
                <a:moveTo>
                  <a:pt x="1088092" y="457800"/>
                </a:moveTo>
                <a:cubicBezTo>
                  <a:pt x="1064870" y="457800"/>
                  <a:pt x="1044593" y="455949"/>
                  <a:pt x="1027260" y="452247"/>
                </a:cubicBezTo>
                <a:cubicBezTo>
                  <a:pt x="1009928" y="448545"/>
                  <a:pt x="993016" y="443665"/>
                  <a:pt x="976526" y="437607"/>
                </a:cubicBezTo>
                <a:lnTo>
                  <a:pt x="976526" y="215989"/>
                </a:lnTo>
                <a:lnTo>
                  <a:pt x="1039124" y="215989"/>
                </a:lnTo>
                <a:lnTo>
                  <a:pt x="1039124" y="392173"/>
                </a:lnTo>
                <a:cubicBezTo>
                  <a:pt x="1047874" y="394529"/>
                  <a:pt x="1056456" y="396128"/>
                  <a:pt x="1064870" y="396969"/>
                </a:cubicBezTo>
                <a:cubicBezTo>
                  <a:pt x="1073284" y="397810"/>
                  <a:pt x="1081866" y="398231"/>
                  <a:pt x="1090616" y="398231"/>
                </a:cubicBezTo>
                <a:cubicBezTo>
                  <a:pt x="1094318" y="398231"/>
                  <a:pt x="1098861" y="398063"/>
                  <a:pt x="1104246" y="397726"/>
                </a:cubicBezTo>
                <a:cubicBezTo>
                  <a:pt x="1109631" y="397390"/>
                  <a:pt x="1115184" y="396801"/>
                  <a:pt x="1120905" y="395959"/>
                </a:cubicBezTo>
                <a:cubicBezTo>
                  <a:pt x="1126627" y="395118"/>
                  <a:pt x="1132264" y="394192"/>
                  <a:pt x="1137817" y="393183"/>
                </a:cubicBezTo>
                <a:cubicBezTo>
                  <a:pt x="1143370" y="392173"/>
                  <a:pt x="1148166" y="391164"/>
                  <a:pt x="1152205" y="390154"/>
                </a:cubicBezTo>
                <a:lnTo>
                  <a:pt x="1163311" y="447704"/>
                </a:lnTo>
                <a:cubicBezTo>
                  <a:pt x="1157589" y="449723"/>
                  <a:pt x="1151111" y="451322"/>
                  <a:pt x="1143875" y="452500"/>
                </a:cubicBezTo>
                <a:cubicBezTo>
                  <a:pt x="1136639" y="453678"/>
                  <a:pt x="1129487" y="454687"/>
                  <a:pt x="1122420" y="455529"/>
                </a:cubicBezTo>
                <a:cubicBezTo>
                  <a:pt x="1115352" y="456370"/>
                  <a:pt x="1108706" y="456959"/>
                  <a:pt x="1102479" y="457296"/>
                </a:cubicBezTo>
                <a:cubicBezTo>
                  <a:pt x="1096253" y="457632"/>
                  <a:pt x="1091457" y="457800"/>
                  <a:pt x="1088092" y="457800"/>
                </a:cubicBezTo>
                <a:close/>
                <a:moveTo>
                  <a:pt x="2572782" y="459315"/>
                </a:moveTo>
                <a:cubicBezTo>
                  <a:pt x="2556628" y="459315"/>
                  <a:pt x="2541651" y="456370"/>
                  <a:pt x="2527852" y="450480"/>
                </a:cubicBezTo>
                <a:cubicBezTo>
                  <a:pt x="2514054" y="444591"/>
                  <a:pt x="2502190" y="436177"/>
                  <a:pt x="2492262" y="425239"/>
                </a:cubicBezTo>
                <a:cubicBezTo>
                  <a:pt x="2482334" y="414301"/>
                  <a:pt x="2474594" y="401176"/>
                  <a:pt x="2469040" y="385863"/>
                </a:cubicBezTo>
                <a:cubicBezTo>
                  <a:pt x="2463487" y="370550"/>
                  <a:pt x="2460711" y="353638"/>
                  <a:pt x="2460711" y="335128"/>
                </a:cubicBezTo>
                <a:cubicBezTo>
                  <a:pt x="2460711" y="316281"/>
                  <a:pt x="2463403" y="299201"/>
                  <a:pt x="2468788" y="283888"/>
                </a:cubicBezTo>
                <a:cubicBezTo>
                  <a:pt x="2474173" y="268575"/>
                  <a:pt x="2481829" y="255366"/>
                  <a:pt x="2491758" y="244259"/>
                </a:cubicBezTo>
                <a:cubicBezTo>
                  <a:pt x="2501686" y="233153"/>
                  <a:pt x="2513465" y="224571"/>
                  <a:pt x="2527095" y="218513"/>
                </a:cubicBezTo>
                <a:cubicBezTo>
                  <a:pt x="2540726" y="212455"/>
                  <a:pt x="2555954" y="209427"/>
                  <a:pt x="2572782" y="209427"/>
                </a:cubicBezTo>
                <a:cubicBezTo>
                  <a:pt x="2589609" y="209427"/>
                  <a:pt x="2604838" y="212455"/>
                  <a:pt x="2618468" y="218513"/>
                </a:cubicBezTo>
                <a:cubicBezTo>
                  <a:pt x="2632098" y="224571"/>
                  <a:pt x="2643794" y="233153"/>
                  <a:pt x="2653554" y="244259"/>
                </a:cubicBezTo>
                <a:cubicBezTo>
                  <a:pt x="2663314" y="255366"/>
                  <a:pt x="2670886" y="268575"/>
                  <a:pt x="2676271" y="283888"/>
                </a:cubicBezTo>
                <a:cubicBezTo>
                  <a:pt x="2681656" y="299201"/>
                  <a:pt x="2684348" y="316281"/>
                  <a:pt x="2684348" y="335128"/>
                </a:cubicBezTo>
                <a:cubicBezTo>
                  <a:pt x="2684348" y="353638"/>
                  <a:pt x="2681656" y="370550"/>
                  <a:pt x="2676271" y="385863"/>
                </a:cubicBezTo>
                <a:cubicBezTo>
                  <a:pt x="2670886" y="401176"/>
                  <a:pt x="2663230" y="414301"/>
                  <a:pt x="2653302" y="425239"/>
                </a:cubicBezTo>
                <a:cubicBezTo>
                  <a:pt x="2643373" y="436177"/>
                  <a:pt x="2631594" y="444591"/>
                  <a:pt x="2617964" y="450480"/>
                </a:cubicBezTo>
                <a:cubicBezTo>
                  <a:pt x="2604334" y="456370"/>
                  <a:pt x="2589273" y="459315"/>
                  <a:pt x="2572782" y="459315"/>
                </a:cubicBezTo>
                <a:close/>
                <a:moveTo>
                  <a:pt x="1810782" y="459315"/>
                </a:moveTo>
                <a:cubicBezTo>
                  <a:pt x="1794628" y="459315"/>
                  <a:pt x="1779651" y="456370"/>
                  <a:pt x="1765853" y="450480"/>
                </a:cubicBezTo>
                <a:cubicBezTo>
                  <a:pt x="1752054" y="444591"/>
                  <a:pt x="1740191" y="436177"/>
                  <a:pt x="1730262" y="425239"/>
                </a:cubicBezTo>
                <a:cubicBezTo>
                  <a:pt x="1720334" y="414301"/>
                  <a:pt x="1712594" y="401176"/>
                  <a:pt x="1707040" y="385863"/>
                </a:cubicBezTo>
                <a:cubicBezTo>
                  <a:pt x="1701488" y="370550"/>
                  <a:pt x="1698711" y="353638"/>
                  <a:pt x="1698711" y="335128"/>
                </a:cubicBezTo>
                <a:cubicBezTo>
                  <a:pt x="1698711" y="316281"/>
                  <a:pt x="1701403" y="299201"/>
                  <a:pt x="1706788" y="283888"/>
                </a:cubicBezTo>
                <a:cubicBezTo>
                  <a:pt x="1712173" y="268575"/>
                  <a:pt x="1719829" y="255366"/>
                  <a:pt x="1729758" y="244259"/>
                </a:cubicBezTo>
                <a:cubicBezTo>
                  <a:pt x="1739686" y="233153"/>
                  <a:pt x="1751465" y="224571"/>
                  <a:pt x="1765095" y="218513"/>
                </a:cubicBezTo>
                <a:cubicBezTo>
                  <a:pt x="1778726" y="212455"/>
                  <a:pt x="1793954" y="209427"/>
                  <a:pt x="1810782" y="209427"/>
                </a:cubicBezTo>
                <a:cubicBezTo>
                  <a:pt x="1827610" y="209427"/>
                  <a:pt x="1842838" y="212455"/>
                  <a:pt x="1856469" y="218513"/>
                </a:cubicBezTo>
                <a:cubicBezTo>
                  <a:pt x="1870099" y="224571"/>
                  <a:pt x="1881794" y="233153"/>
                  <a:pt x="1891554" y="244259"/>
                </a:cubicBezTo>
                <a:cubicBezTo>
                  <a:pt x="1901314" y="255366"/>
                  <a:pt x="1908886" y="268575"/>
                  <a:pt x="1914271" y="283888"/>
                </a:cubicBezTo>
                <a:cubicBezTo>
                  <a:pt x="1919656" y="299201"/>
                  <a:pt x="1922348" y="316281"/>
                  <a:pt x="1922348" y="335128"/>
                </a:cubicBezTo>
                <a:cubicBezTo>
                  <a:pt x="1922348" y="353638"/>
                  <a:pt x="1919656" y="370550"/>
                  <a:pt x="1914271" y="385863"/>
                </a:cubicBezTo>
                <a:cubicBezTo>
                  <a:pt x="1908886" y="401176"/>
                  <a:pt x="1901230" y="414301"/>
                  <a:pt x="1891302" y="425239"/>
                </a:cubicBezTo>
                <a:cubicBezTo>
                  <a:pt x="1881374" y="436177"/>
                  <a:pt x="1869594" y="444591"/>
                  <a:pt x="1855964" y="450480"/>
                </a:cubicBezTo>
                <a:cubicBezTo>
                  <a:pt x="1842334" y="456370"/>
                  <a:pt x="1827273" y="459315"/>
                  <a:pt x="1810782" y="459315"/>
                </a:cubicBezTo>
                <a:close/>
                <a:moveTo>
                  <a:pt x="810657" y="459315"/>
                </a:moveTo>
                <a:cubicBezTo>
                  <a:pt x="794503" y="459315"/>
                  <a:pt x="779526" y="456370"/>
                  <a:pt x="765728" y="450480"/>
                </a:cubicBezTo>
                <a:cubicBezTo>
                  <a:pt x="751929" y="444591"/>
                  <a:pt x="740066" y="436177"/>
                  <a:pt x="730138" y="425239"/>
                </a:cubicBezTo>
                <a:cubicBezTo>
                  <a:pt x="720209" y="414301"/>
                  <a:pt x="712469" y="401176"/>
                  <a:pt x="706916" y="385863"/>
                </a:cubicBezTo>
                <a:cubicBezTo>
                  <a:pt x="701362" y="370550"/>
                  <a:pt x="698586" y="353638"/>
                  <a:pt x="698586" y="335128"/>
                </a:cubicBezTo>
                <a:cubicBezTo>
                  <a:pt x="698586" y="316281"/>
                  <a:pt x="701278" y="299201"/>
                  <a:pt x="706663" y="283888"/>
                </a:cubicBezTo>
                <a:cubicBezTo>
                  <a:pt x="712048" y="268575"/>
                  <a:pt x="719704" y="255366"/>
                  <a:pt x="729633" y="244259"/>
                </a:cubicBezTo>
                <a:cubicBezTo>
                  <a:pt x="739561" y="233153"/>
                  <a:pt x="751340" y="224571"/>
                  <a:pt x="764970" y="218513"/>
                </a:cubicBezTo>
                <a:cubicBezTo>
                  <a:pt x="778601" y="212455"/>
                  <a:pt x="793830" y="209427"/>
                  <a:pt x="810657" y="209427"/>
                </a:cubicBezTo>
                <a:cubicBezTo>
                  <a:pt x="827485" y="209427"/>
                  <a:pt x="842713" y="212455"/>
                  <a:pt x="856344" y="218513"/>
                </a:cubicBezTo>
                <a:cubicBezTo>
                  <a:pt x="869974" y="224571"/>
                  <a:pt x="881669" y="233153"/>
                  <a:pt x="891429" y="244259"/>
                </a:cubicBezTo>
                <a:cubicBezTo>
                  <a:pt x="901189" y="255366"/>
                  <a:pt x="908761" y="268575"/>
                  <a:pt x="914146" y="283888"/>
                </a:cubicBezTo>
                <a:cubicBezTo>
                  <a:pt x="919531" y="299201"/>
                  <a:pt x="922223" y="316281"/>
                  <a:pt x="922223" y="335128"/>
                </a:cubicBezTo>
                <a:cubicBezTo>
                  <a:pt x="922223" y="353638"/>
                  <a:pt x="919531" y="370550"/>
                  <a:pt x="914146" y="385863"/>
                </a:cubicBezTo>
                <a:cubicBezTo>
                  <a:pt x="908761" y="401176"/>
                  <a:pt x="901105" y="414301"/>
                  <a:pt x="891177" y="425239"/>
                </a:cubicBezTo>
                <a:cubicBezTo>
                  <a:pt x="881248" y="436177"/>
                  <a:pt x="869469" y="444591"/>
                  <a:pt x="855839" y="450480"/>
                </a:cubicBezTo>
                <a:cubicBezTo>
                  <a:pt x="842209" y="456370"/>
                  <a:pt x="827148" y="459315"/>
                  <a:pt x="810657" y="459315"/>
                </a:cubicBezTo>
                <a:close/>
                <a:moveTo>
                  <a:pt x="546919" y="477993"/>
                </a:moveTo>
                <a:cubicBezTo>
                  <a:pt x="563410" y="477993"/>
                  <a:pt x="576620" y="474207"/>
                  <a:pt x="586548" y="466635"/>
                </a:cubicBezTo>
                <a:cubicBezTo>
                  <a:pt x="596476" y="459062"/>
                  <a:pt x="601441" y="446189"/>
                  <a:pt x="601441" y="428016"/>
                </a:cubicBezTo>
                <a:cubicBezTo>
                  <a:pt x="601441" y="408832"/>
                  <a:pt x="596392" y="395286"/>
                  <a:pt x="586296" y="387377"/>
                </a:cubicBezTo>
                <a:cubicBezTo>
                  <a:pt x="576199" y="379468"/>
                  <a:pt x="561223" y="375514"/>
                  <a:pt x="541366" y="375514"/>
                </a:cubicBezTo>
                <a:lnTo>
                  <a:pt x="516125" y="375514"/>
                </a:lnTo>
                <a:lnTo>
                  <a:pt x="516125" y="476479"/>
                </a:lnTo>
                <a:cubicBezTo>
                  <a:pt x="519827" y="477152"/>
                  <a:pt x="524960" y="477573"/>
                  <a:pt x="531522" y="477741"/>
                </a:cubicBezTo>
                <a:cubicBezTo>
                  <a:pt x="538085" y="477909"/>
                  <a:pt x="543217" y="477993"/>
                  <a:pt x="546919" y="477993"/>
                </a:cubicBezTo>
                <a:close/>
                <a:moveTo>
                  <a:pt x="3324752" y="482537"/>
                </a:moveTo>
                <a:cubicBezTo>
                  <a:pt x="3341916" y="482537"/>
                  <a:pt x="3354958" y="473198"/>
                  <a:pt x="3363876" y="454519"/>
                </a:cubicBezTo>
                <a:cubicBezTo>
                  <a:pt x="3372794" y="435841"/>
                  <a:pt x="3377254" y="408664"/>
                  <a:pt x="3377254" y="372990"/>
                </a:cubicBezTo>
                <a:cubicBezTo>
                  <a:pt x="3377254" y="336979"/>
                  <a:pt x="3372794" y="309634"/>
                  <a:pt x="3363876" y="290956"/>
                </a:cubicBezTo>
                <a:cubicBezTo>
                  <a:pt x="3354958" y="272277"/>
                  <a:pt x="3341916" y="262938"/>
                  <a:pt x="3324752" y="262938"/>
                </a:cubicBezTo>
                <a:cubicBezTo>
                  <a:pt x="3307924" y="262938"/>
                  <a:pt x="3294968" y="272277"/>
                  <a:pt x="3285880" y="290956"/>
                </a:cubicBezTo>
                <a:cubicBezTo>
                  <a:pt x="3276794" y="309634"/>
                  <a:pt x="3272250" y="336979"/>
                  <a:pt x="3272250" y="372990"/>
                </a:cubicBezTo>
                <a:cubicBezTo>
                  <a:pt x="3272250" y="408664"/>
                  <a:pt x="3276794" y="435841"/>
                  <a:pt x="3285880" y="454519"/>
                </a:cubicBezTo>
                <a:cubicBezTo>
                  <a:pt x="3294968" y="473198"/>
                  <a:pt x="3307924" y="482537"/>
                  <a:pt x="3324752" y="482537"/>
                </a:cubicBezTo>
                <a:close/>
                <a:moveTo>
                  <a:pt x="1323054" y="522923"/>
                </a:moveTo>
                <a:lnTo>
                  <a:pt x="1260961" y="512826"/>
                </a:lnTo>
                <a:lnTo>
                  <a:pt x="1260961" y="453257"/>
                </a:lnTo>
                <a:lnTo>
                  <a:pt x="1206945" y="453257"/>
                </a:lnTo>
                <a:lnTo>
                  <a:pt x="1206945" y="401765"/>
                </a:lnTo>
                <a:lnTo>
                  <a:pt x="1260961" y="401765"/>
                </a:lnTo>
                <a:lnTo>
                  <a:pt x="1260961" y="304334"/>
                </a:lnTo>
                <a:cubicBezTo>
                  <a:pt x="1260961" y="284477"/>
                  <a:pt x="1262980" y="268407"/>
                  <a:pt x="1267019" y="256123"/>
                </a:cubicBezTo>
                <a:cubicBezTo>
                  <a:pt x="1271057" y="243839"/>
                  <a:pt x="1276947" y="234331"/>
                  <a:pt x="1284688" y="227600"/>
                </a:cubicBezTo>
                <a:cubicBezTo>
                  <a:pt x="1292428" y="220869"/>
                  <a:pt x="1301852" y="216326"/>
                  <a:pt x="1312958" y="213970"/>
                </a:cubicBezTo>
                <a:cubicBezTo>
                  <a:pt x="1324064" y="211614"/>
                  <a:pt x="1336853" y="210436"/>
                  <a:pt x="1351325" y="210436"/>
                </a:cubicBezTo>
                <a:cubicBezTo>
                  <a:pt x="1363777" y="210436"/>
                  <a:pt x="1376650" y="211446"/>
                  <a:pt x="1389944" y="213465"/>
                </a:cubicBezTo>
                <a:cubicBezTo>
                  <a:pt x="1403238" y="215484"/>
                  <a:pt x="1415606" y="218850"/>
                  <a:pt x="1427048" y="223562"/>
                </a:cubicBezTo>
                <a:lnTo>
                  <a:pt x="1418466" y="277073"/>
                </a:lnTo>
                <a:cubicBezTo>
                  <a:pt x="1412745" y="274381"/>
                  <a:pt x="1407444" y="272193"/>
                  <a:pt x="1402564" y="270510"/>
                </a:cubicBezTo>
                <a:cubicBezTo>
                  <a:pt x="1397684" y="268828"/>
                  <a:pt x="1392973" y="267566"/>
                  <a:pt x="1388429" y="266724"/>
                </a:cubicBezTo>
                <a:cubicBezTo>
                  <a:pt x="1383886" y="265883"/>
                  <a:pt x="1379174" y="265294"/>
                  <a:pt x="1374294" y="264957"/>
                </a:cubicBezTo>
                <a:cubicBezTo>
                  <a:pt x="1369414" y="264621"/>
                  <a:pt x="1364114" y="264452"/>
                  <a:pt x="1358392" y="264452"/>
                </a:cubicBezTo>
                <a:cubicBezTo>
                  <a:pt x="1353007" y="264452"/>
                  <a:pt x="1348127" y="264957"/>
                  <a:pt x="1343752" y="265967"/>
                </a:cubicBezTo>
                <a:cubicBezTo>
                  <a:pt x="1339377" y="266977"/>
                  <a:pt x="1335675" y="268996"/>
                  <a:pt x="1332646" y="272025"/>
                </a:cubicBezTo>
                <a:cubicBezTo>
                  <a:pt x="1329617" y="275054"/>
                  <a:pt x="1327261" y="279261"/>
                  <a:pt x="1325579" y="284645"/>
                </a:cubicBezTo>
                <a:cubicBezTo>
                  <a:pt x="1323896" y="290030"/>
                  <a:pt x="1323054" y="297098"/>
                  <a:pt x="1323054" y="305848"/>
                </a:cubicBezTo>
                <a:lnTo>
                  <a:pt x="1323054" y="401765"/>
                </a:lnTo>
                <a:lnTo>
                  <a:pt x="1422505" y="401765"/>
                </a:lnTo>
                <a:lnTo>
                  <a:pt x="1422505" y="453257"/>
                </a:lnTo>
                <a:lnTo>
                  <a:pt x="1323054" y="453257"/>
                </a:lnTo>
                <a:close/>
                <a:moveTo>
                  <a:pt x="539852" y="532010"/>
                </a:moveTo>
                <a:cubicBezTo>
                  <a:pt x="534131" y="532010"/>
                  <a:pt x="527568" y="531841"/>
                  <a:pt x="520164" y="531505"/>
                </a:cubicBezTo>
                <a:cubicBezTo>
                  <a:pt x="512760" y="531168"/>
                  <a:pt x="505187" y="530748"/>
                  <a:pt x="497447" y="530243"/>
                </a:cubicBezTo>
                <a:cubicBezTo>
                  <a:pt x="489706" y="529738"/>
                  <a:pt x="482049" y="528981"/>
                  <a:pt x="474477" y="527971"/>
                </a:cubicBezTo>
                <a:cubicBezTo>
                  <a:pt x="466905" y="526961"/>
                  <a:pt x="460090" y="525784"/>
                  <a:pt x="454032" y="524437"/>
                </a:cubicBezTo>
                <a:lnTo>
                  <a:pt x="454032" y="215989"/>
                </a:lnTo>
                <a:lnTo>
                  <a:pt x="516125" y="215989"/>
                </a:lnTo>
                <a:lnTo>
                  <a:pt x="516125" y="321498"/>
                </a:lnTo>
                <a:lnTo>
                  <a:pt x="538337" y="321498"/>
                </a:lnTo>
                <a:cubicBezTo>
                  <a:pt x="578723" y="321498"/>
                  <a:pt x="609938" y="329827"/>
                  <a:pt x="631982" y="346486"/>
                </a:cubicBezTo>
                <a:cubicBezTo>
                  <a:pt x="654026" y="363146"/>
                  <a:pt x="665048" y="390154"/>
                  <a:pt x="665048" y="427511"/>
                </a:cubicBezTo>
                <a:cubicBezTo>
                  <a:pt x="665048" y="464531"/>
                  <a:pt x="654111" y="491203"/>
                  <a:pt x="632235" y="507526"/>
                </a:cubicBezTo>
                <a:cubicBezTo>
                  <a:pt x="610359" y="523848"/>
                  <a:pt x="579565" y="532010"/>
                  <a:pt x="539852" y="532010"/>
                </a:cubicBezTo>
                <a:close/>
                <a:moveTo>
                  <a:pt x="3816452" y="535544"/>
                </a:moveTo>
                <a:cubicBezTo>
                  <a:pt x="3797604" y="535544"/>
                  <a:pt x="3780694" y="532430"/>
                  <a:pt x="3765716" y="526204"/>
                </a:cubicBezTo>
                <a:cubicBezTo>
                  <a:pt x="3750740" y="519978"/>
                  <a:pt x="3738708" y="513836"/>
                  <a:pt x="3729622" y="507778"/>
                </a:cubicBezTo>
                <a:lnTo>
                  <a:pt x="3751834" y="462344"/>
                </a:lnTo>
                <a:cubicBezTo>
                  <a:pt x="3760248" y="468065"/>
                  <a:pt x="3770260" y="472861"/>
                  <a:pt x="3781872" y="476731"/>
                </a:cubicBezTo>
                <a:cubicBezTo>
                  <a:pt x="3793482" y="480602"/>
                  <a:pt x="3805178" y="482537"/>
                  <a:pt x="3816956" y="482537"/>
                </a:cubicBezTo>
                <a:cubicBezTo>
                  <a:pt x="3829072" y="482537"/>
                  <a:pt x="3838580" y="479255"/>
                  <a:pt x="3845480" y="472693"/>
                </a:cubicBezTo>
                <a:cubicBezTo>
                  <a:pt x="3852378" y="466130"/>
                  <a:pt x="3855828" y="457127"/>
                  <a:pt x="3855828" y="445685"/>
                </a:cubicBezTo>
                <a:cubicBezTo>
                  <a:pt x="3855828" y="437944"/>
                  <a:pt x="3854230" y="431550"/>
                  <a:pt x="3851032" y="426501"/>
                </a:cubicBezTo>
                <a:cubicBezTo>
                  <a:pt x="3847836" y="421453"/>
                  <a:pt x="3843712" y="417414"/>
                  <a:pt x="3838664" y="414385"/>
                </a:cubicBezTo>
                <a:cubicBezTo>
                  <a:pt x="3833616" y="411357"/>
                  <a:pt x="3827894" y="409169"/>
                  <a:pt x="3821500" y="407823"/>
                </a:cubicBezTo>
                <a:cubicBezTo>
                  <a:pt x="3815106" y="406477"/>
                  <a:pt x="3808712" y="405803"/>
                  <a:pt x="3802316" y="405803"/>
                </a:cubicBezTo>
                <a:lnTo>
                  <a:pt x="3779094" y="405803"/>
                </a:lnTo>
                <a:lnTo>
                  <a:pt x="3779094" y="354311"/>
                </a:lnTo>
                <a:lnTo>
                  <a:pt x="3798278" y="354311"/>
                </a:lnTo>
                <a:cubicBezTo>
                  <a:pt x="3818470" y="354311"/>
                  <a:pt x="3835130" y="351030"/>
                  <a:pt x="3848256" y="344467"/>
                </a:cubicBezTo>
                <a:cubicBezTo>
                  <a:pt x="3861380" y="337904"/>
                  <a:pt x="3867944" y="326378"/>
                  <a:pt x="3867944" y="309887"/>
                </a:cubicBezTo>
                <a:cubicBezTo>
                  <a:pt x="3867944" y="296425"/>
                  <a:pt x="3863652" y="285150"/>
                  <a:pt x="3855072" y="276063"/>
                </a:cubicBezTo>
                <a:cubicBezTo>
                  <a:pt x="3846488" y="266977"/>
                  <a:pt x="3831596" y="262433"/>
                  <a:pt x="3810394" y="262433"/>
                </a:cubicBezTo>
                <a:cubicBezTo>
                  <a:pt x="3793230" y="262433"/>
                  <a:pt x="3778506" y="264284"/>
                  <a:pt x="3766222" y="267986"/>
                </a:cubicBezTo>
                <a:cubicBezTo>
                  <a:pt x="3753938" y="271688"/>
                  <a:pt x="3743924" y="275222"/>
                  <a:pt x="3736184" y="278588"/>
                </a:cubicBezTo>
                <a:lnTo>
                  <a:pt x="3724068" y="226591"/>
                </a:lnTo>
                <a:cubicBezTo>
                  <a:pt x="3727770" y="224908"/>
                  <a:pt x="3732988" y="223057"/>
                  <a:pt x="3739718" y="221037"/>
                </a:cubicBezTo>
                <a:cubicBezTo>
                  <a:pt x="3746450" y="219018"/>
                  <a:pt x="3753770" y="217167"/>
                  <a:pt x="3761678" y="215484"/>
                </a:cubicBezTo>
                <a:cubicBezTo>
                  <a:pt x="3769588" y="213802"/>
                  <a:pt x="3777832" y="212371"/>
                  <a:pt x="3786414" y="211193"/>
                </a:cubicBezTo>
                <a:cubicBezTo>
                  <a:pt x="3794996" y="210015"/>
                  <a:pt x="3803158" y="209427"/>
                  <a:pt x="3810898" y="209427"/>
                </a:cubicBezTo>
                <a:cubicBezTo>
                  <a:pt x="3831764" y="209427"/>
                  <a:pt x="3849770" y="211867"/>
                  <a:pt x="3864916" y="216746"/>
                </a:cubicBezTo>
                <a:cubicBezTo>
                  <a:pt x="3880060" y="221626"/>
                  <a:pt x="3892512" y="228526"/>
                  <a:pt x="3902272" y="237444"/>
                </a:cubicBezTo>
                <a:cubicBezTo>
                  <a:pt x="3912032" y="246363"/>
                  <a:pt x="3919268" y="256880"/>
                  <a:pt x="3923980" y="268996"/>
                </a:cubicBezTo>
                <a:cubicBezTo>
                  <a:pt x="3928692" y="281112"/>
                  <a:pt x="3931048" y="294405"/>
                  <a:pt x="3931048" y="308877"/>
                </a:cubicBezTo>
                <a:cubicBezTo>
                  <a:pt x="3931048" y="327051"/>
                  <a:pt x="3926588" y="342700"/>
                  <a:pt x="3917668" y="355826"/>
                </a:cubicBezTo>
                <a:cubicBezTo>
                  <a:pt x="3908750" y="368951"/>
                  <a:pt x="3896214" y="378879"/>
                  <a:pt x="3880060" y="385610"/>
                </a:cubicBezTo>
                <a:cubicBezTo>
                  <a:pt x="3891840" y="391668"/>
                  <a:pt x="3901262" y="400419"/>
                  <a:pt x="3908330" y="411861"/>
                </a:cubicBezTo>
                <a:cubicBezTo>
                  <a:pt x="3915398" y="423304"/>
                  <a:pt x="3918932" y="435252"/>
                  <a:pt x="3918932" y="447704"/>
                </a:cubicBezTo>
                <a:cubicBezTo>
                  <a:pt x="3918932" y="460156"/>
                  <a:pt x="3916912" y="471767"/>
                  <a:pt x="3912874" y="482537"/>
                </a:cubicBezTo>
                <a:cubicBezTo>
                  <a:pt x="3908834" y="493306"/>
                  <a:pt x="3902608" y="502646"/>
                  <a:pt x="3894196" y="510555"/>
                </a:cubicBezTo>
                <a:cubicBezTo>
                  <a:pt x="3885780" y="518464"/>
                  <a:pt x="3875096" y="524606"/>
                  <a:pt x="3862138" y="528981"/>
                </a:cubicBezTo>
                <a:cubicBezTo>
                  <a:pt x="3849180" y="533356"/>
                  <a:pt x="3833952" y="535544"/>
                  <a:pt x="3816452" y="535544"/>
                </a:cubicBezTo>
                <a:close/>
                <a:moveTo>
                  <a:pt x="3567354" y="535544"/>
                </a:moveTo>
                <a:cubicBezTo>
                  <a:pt x="3549854" y="535544"/>
                  <a:pt x="3532268" y="532178"/>
                  <a:pt x="3514600" y="525447"/>
                </a:cubicBezTo>
                <a:cubicBezTo>
                  <a:pt x="3496930" y="518716"/>
                  <a:pt x="3481366" y="508283"/>
                  <a:pt x="3467904" y="494148"/>
                </a:cubicBezTo>
                <a:lnTo>
                  <a:pt x="3498698" y="450733"/>
                </a:lnTo>
                <a:cubicBezTo>
                  <a:pt x="3509130" y="461839"/>
                  <a:pt x="3519732" y="469748"/>
                  <a:pt x="3530502" y="474460"/>
                </a:cubicBezTo>
                <a:cubicBezTo>
                  <a:pt x="3541272" y="479171"/>
                  <a:pt x="3551536" y="481527"/>
                  <a:pt x="3561296" y="481527"/>
                </a:cubicBezTo>
                <a:cubicBezTo>
                  <a:pt x="3573076" y="481527"/>
                  <a:pt x="3582836" y="478078"/>
                  <a:pt x="3590576" y="471178"/>
                </a:cubicBezTo>
                <a:cubicBezTo>
                  <a:pt x="3598316" y="464279"/>
                  <a:pt x="3602186" y="454435"/>
                  <a:pt x="3602188" y="441646"/>
                </a:cubicBezTo>
                <a:cubicBezTo>
                  <a:pt x="3602186" y="432559"/>
                  <a:pt x="3599074" y="423641"/>
                  <a:pt x="3592848" y="414890"/>
                </a:cubicBezTo>
                <a:cubicBezTo>
                  <a:pt x="3586622" y="406140"/>
                  <a:pt x="3578712" y="397053"/>
                  <a:pt x="3569120" y="387630"/>
                </a:cubicBezTo>
                <a:cubicBezTo>
                  <a:pt x="3559528" y="378206"/>
                  <a:pt x="3549264" y="368362"/>
                  <a:pt x="3538326" y="358097"/>
                </a:cubicBezTo>
                <a:cubicBezTo>
                  <a:pt x="3527388" y="347833"/>
                  <a:pt x="3517124" y="336727"/>
                  <a:pt x="3507532" y="324779"/>
                </a:cubicBezTo>
                <a:cubicBezTo>
                  <a:pt x="3497940" y="312831"/>
                  <a:pt x="3490032" y="299790"/>
                  <a:pt x="3483806" y="285655"/>
                </a:cubicBezTo>
                <a:cubicBezTo>
                  <a:pt x="3477580" y="271520"/>
                  <a:pt x="3474466" y="256039"/>
                  <a:pt x="3474466" y="239211"/>
                </a:cubicBezTo>
                <a:cubicBezTo>
                  <a:pt x="3474466" y="237192"/>
                  <a:pt x="3474382" y="233658"/>
                  <a:pt x="3474214" y="228610"/>
                </a:cubicBezTo>
                <a:cubicBezTo>
                  <a:pt x="3474046" y="223562"/>
                  <a:pt x="3474466" y="219355"/>
                  <a:pt x="3475476" y="215989"/>
                </a:cubicBezTo>
                <a:lnTo>
                  <a:pt x="3679426" y="215989"/>
                </a:lnTo>
                <a:lnTo>
                  <a:pt x="3679426" y="267481"/>
                </a:lnTo>
                <a:lnTo>
                  <a:pt x="3545142" y="267481"/>
                </a:lnTo>
                <a:cubicBezTo>
                  <a:pt x="3545142" y="272530"/>
                  <a:pt x="3546908" y="278083"/>
                  <a:pt x="3550442" y="284141"/>
                </a:cubicBezTo>
                <a:cubicBezTo>
                  <a:pt x="3553976" y="290198"/>
                  <a:pt x="3558268" y="296172"/>
                  <a:pt x="3563316" y="302062"/>
                </a:cubicBezTo>
                <a:cubicBezTo>
                  <a:pt x="3568364" y="307952"/>
                  <a:pt x="3573748" y="313673"/>
                  <a:pt x="3579470" y="319226"/>
                </a:cubicBezTo>
                <a:cubicBezTo>
                  <a:pt x="3585190" y="324779"/>
                  <a:pt x="3590240" y="329575"/>
                  <a:pt x="3594614" y="333613"/>
                </a:cubicBezTo>
                <a:cubicBezTo>
                  <a:pt x="3603364" y="341691"/>
                  <a:pt x="3611946" y="350104"/>
                  <a:pt x="3620360" y="358855"/>
                </a:cubicBezTo>
                <a:cubicBezTo>
                  <a:pt x="3628774" y="367605"/>
                  <a:pt x="3636346" y="376692"/>
                  <a:pt x="3643078" y="386115"/>
                </a:cubicBezTo>
                <a:cubicBezTo>
                  <a:pt x="3649808" y="395539"/>
                  <a:pt x="3655194" y="405214"/>
                  <a:pt x="3659232" y="415143"/>
                </a:cubicBezTo>
                <a:cubicBezTo>
                  <a:pt x="3663270" y="425071"/>
                  <a:pt x="3665290" y="435420"/>
                  <a:pt x="3665290" y="446189"/>
                </a:cubicBezTo>
                <a:cubicBezTo>
                  <a:pt x="3665290" y="460998"/>
                  <a:pt x="3662598" y="474039"/>
                  <a:pt x="3657212" y="485313"/>
                </a:cubicBezTo>
                <a:cubicBezTo>
                  <a:pt x="3651828" y="496588"/>
                  <a:pt x="3644592" y="505927"/>
                  <a:pt x="3635506" y="513331"/>
                </a:cubicBezTo>
                <a:cubicBezTo>
                  <a:pt x="3626418" y="520735"/>
                  <a:pt x="3615986" y="526288"/>
                  <a:pt x="3604206" y="529990"/>
                </a:cubicBezTo>
                <a:cubicBezTo>
                  <a:pt x="3592426" y="533692"/>
                  <a:pt x="3580142" y="535544"/>
                  <a:pt x="3567354" y="535544"/>
                </a:cubicBezTo>
                <a:close/>
                <a:moveTo>
                  <a:pt x="3324752" y="535544"/>
                </a:moveTo>
                <a:cubicBezTo>
                  <a:pt x="3290088" y="535544"/>
                  <a:pt x="3263332" y="522081"/>
                  <a:pt x="3244486" y="495157"/>
                </a:cubicBezTo>
                <a:cubicBezTo>
                  <a:pt x="3225638" y="468233"/>
                  <a:pt x="3216214" y="427511"/>
                  <a:pt x="3216214" y="372990"/>
                </a:cubicBezTo>
                <a:cubicBezTo>
                  <a:pt x="3216214" y="317796"/>
                  <a:pt x="3225470" y="276737"/>
                  <a:pt x="3243980" y="249813"/>
                </a:cubicBezTo>
                <a:cubicBezTo>
                  <a:pt x="3262490" y="222889"/>
                  <a:pt x="3289414" y="209427"/>
                  <a:pt x="3324752" y="209427"/>
                </a:cubicBezTo>
                <a:cubicBezTo>
                  <a:pt x="3360090" y="209427"/>
                  <a:pt x="3387014" y="222889"/>
                  <a:pt x="3405524" y="249813"/>
                </a:cubicBezTo>
                <a:cubicBezTo>
                  <a:pt x="3424034" y="276737"/>
                  <a:pt x="3433290" y="317796"/>
                  <a:pt x="3433290" y="372990"/>
                </a:cubicBezTo>
                <a:cubicBezTo>
                  <a:pt x="3433290" y="427847"/>
                  <a:pt x="3424034" y="468654"/>
                  <a:pt x="3405524" y="495410"/>
                </a:cubicBezTo>
                <a:cubicBezTo>
                  <a:pt x="3387014" y="522166"/>
                  <a:pt x="3360090" y="535544"/>
                  <a:pt x="3324752" y="535544"/>
                </a:cubicBezTo>
                <a:close/>
                <a:moveTo>
                  <a:pt x="3062528" y="535544"/>
                </a:moveTo>
                <a:cubicBezTo>
                  <a:pt x="3045028" y="535544"/>
                  <a:pt x="3027444" y="532178"/>
                  <a:pt x="3009774" y="525447"/>
                </a:cubicBezTo>
                <a:cubicBezTo>
                  <a:pt x="2992106" y="518716"/>
                  <a:pt x="2976540" y="508283"/>
                  <a:pt x="2963078" y="494148"/>
                </a:cubicBezTo>
                <a:lnTo>
                  <a:pt x="2993872" y="450733"/>
                </a:lnTo>
                <a:cubicBezTo>
                  <a:pt x="3004306" y="461839"/>
                  <a:pt x="3014908" y="469748"/>
                  <a:pt x="3025676" y="474460"/>
                </a:cubicBezTo>
                <a:cubicBezTo>
                  <a:pt x="3036446" y="479171"/>
                  <a:pt x="3046712" y="481527"/>
                  <a:pt x="3056472" y="481527"/>
                </a:cubicBezTo>
                <a:cubicBezTo>
                  <a:pt x="3068250" y="481527"/>
                  <a:pt x="3078010" y="478078"/>
                  <a:pt x="3085752" y="471178"/>
                </a:cubicBezTo>
                <a:cubicBezTo>
                  <a:pt x="3093492" y="464279"/>
                  <a:pt x="3097362" y="454435"/>
                  <a:pt x="3097362" y="441646"/>
                </a:cubicBezTo>
                <a:cubicBezTo>
                  <a:pt x="3097362" y="432559"/>
                  <a:pt x="3094248" y="423641"/>
                  <a:pt x="3088022" y="414890"/>
                </a:cubicBezTo>
                <a:cubicBezTo>
                  <a:pt x="3081796" y="406140"/>
                  <a:pt x="3073888" y="397053"/>
                  <a:pt x="3064296" y="387630"/>
                </a:cubicBezTo>
                <a:cubicBezTo>
                  <a:pt x="3054704" y="378206"/>
                  <a:pt x="3044440" y="368362"/>
                  <a:pt x="3033502" y="358097"/>
                </a:cubicBezTo>
                <a:cubicBezTo>
                  <a:pt x="3022564" y="347833"/>
                  <a:pt x="3012298" y="336727"/>
                  <a:pt x="3002708" y="324779"/>
                </a:cubicBezTo>
                <a:cubicBezTo>
                  <a:pt x="2993116" y="312831"/>
                  <a:pt x="2985206" y="299790"/>
                  <a:pt x="2978980" y="285655"/>
                </a:cubicBezTo>
                <a:cubicBezTo>
                  <a:pt x="2972754" y="271520"/>
                  <a:pt x="2969642" y="256039"/>
                  <a:pt x="2969642" y="239211"/>
                </a:cubicBezTo>
                <a:cubicBezTo>
                  <a:pt x="2969642" y="237192"/>
                  <a:pt x="2969558" y="233658"/>
                  <a:pt x="2969388" y="228610"/>
                </a:cubicBezTo>
                <a:cubicBezTo>
                  <a:pt x="2969220" y="223562"/>
                  <a:pt x="2969640" y="219355"/>
                  <a:pt x="2970650" y="215989"/>
                </a:cubicBezTo>
                <a:lnTo>
                  <a:pt x="3174600" y="215989"/>
                </a:lnTo>
                <a:lnTo>
                  <a:pt x="3174600" y="267481"/>
                </a:lnTo>
                <a:lnTo>
                  <a:pt x="3040316" y="267481"/>
                </a:lnTo>
                <a:cubicBezTo>
                  <a:pt x="3040316" y="272530"/>
                  <a:pt x="3042084" y="278083"/>
                  <a:pt x="3045618" y="284141"/>
                </a:cubicBezTo>
                <a:cubicBezTo>
                  <a:pt x="3049152" y="290198"/>
                  <a:pt x="3053442" y="296172"/>
                  <a:pt x="3058490" y="302062"/>
                </a:cubicBezTo>
                <a:cubicBezTo>
                  <a:pt x="3063538" y="307952"/>
                  <a:pt x="3068924" y="313673"/>
                  <a:pt x="3074644" y="319226"/>
                </a:cubicBezTo>
                <a:cubicBezTo>
                  <a:pt x="3080366" y="324779"/>
                  <a:pt x="3085414" y="329575"/>
                  <a:pt x="3089790" y="333613"/>
                </a:cubicBezTo>
                <a:cubicBezTo>
                  <a:pt x="3098540" y="341691"/>
                  <a:pt x="3107122" y="350104"/>
                  <a:pt x="3115536" y="358855"/>
                </a:cubicBezTo>
                <a:cubicBezTo>
                  <a:pt x="3123950" y="367605"/>
                  <a:pt x="3131522" y="376692"/>
                  <a:pt x="3138252" y="386115"/>
                </a:cubicBezTo>
                <a:cubicBezTo>
                  <a:pt x="3144984" y="395539"/>
                  <a:pt x="3150368" y="405214"/>
                  <a:pt x="3154408" y="415143"/>
                </a:cubicBezTo>
                <a:cubicBezTo>
                  <a:pt x="3158446" y="425071"/>
                  <a:pt x="3160464" y="435420"/>
                  <a:pt x="3160464" y="446189"/>
                </a:cubicBezTo>
                <a:cubicBezTo>
                  <a:pt x="3160464" y="460998"/>
                  <a:pt x="3157772" y="474039"/>
                  <a:pt x="3152388" y="485313"/>
                </a:cubicBezTo>
                <a:cubicBezTo>
                  <a:pt x="3147002" y="496588"/>
                  <a:pt x="3139766" y="505927"/>
                  <a:pt x="3130680" y="513331"/>
                </a:cubicBezTo>
                <a:cubicBezTo>
                  <a:pt x="3121594" y="520735"/>
                  <a:pt x="3111160" y="526288"/>
                  <a:pt x="3099382" y="529990"/>
                </a:cubicBezTo>
                <a:cubicBezTo>
                  <a:pt x="3087602" y="533692"/>
                  <a:pt x="3075318" y="535544"/>
                  <a:pt x="3062528" y="535544"/>
                </a:cubicBezTo>
                <a:close/>
                <a:moveTo>
                  <a:pt x="2292890" y="561290"/>
                </a:moveTo>
                <a:cubicBezTo>
                  <a:pt x="2282120" y="561290"/>
                  <a:pt x="2272949" y="557756"/>
                  <a:pt x="2265377" y="550688"/>
                </a:cubicBezTo>
                <a:cubicBezTo>
                  <a:pt x="2257805" y="543621"/>
                  <a:pt x="2254018" y="533861"/>
                  <a:pt x="2254018" y="521408"/>
                </a:cubicBezTo>
                <a:cubicBezTo>
                  <a:pt x="2254018" y="509293"/>
                  <a:pt x="2257805" y="499701"/>
                  <a:pt x="2265377" y="492633"/>
                </a:cubicBezTo>
                <a:cubicBezTo>
                  <a:pt x="2272949" y="485566"/>
                  <a:pt x="2282120" y="482032"/>
                  <a:pt x="2292890" y="482032"/>
                </a:cubicBezTo>
                <a:cubicBezTo>
                  <a:pt x="2303660" y="482032"/>
                  <a:pt x="2312914" y="485566"/>
                  <a:pt x="2320655" y="492633"/>
                </a:cubicBezTo>
                <a:cubicBezTo>
                  <a:pt x="2328396" y="499701"/>
                  <a:pt x="2332266" y="509293"/>
                  <a:pt x="2332266" y="521408"/>
                </a:cubicBezTo>
                <a:cubicBezTo>
                  <a:pt x="2332266" y="533861"/>
                  <a:pt x="2328396" y="543621"/>
                  <a:pt x="2320655" y="550688"/>
                </a:cubicBezTo>
                <a:cubicBezTo>
                  <a:pt x="2312914" y="557756"/>
                  <a:pt x="2303660" y="561290"/>
                  <a:pt x="2292890" y="561290"/>
                </a:cubicBezTo>
                <a:close/>
                <a:moveTo>
                  <a:pt x="1959420" y="563309"/>
                </a:moveTo>
                <a:lnTo>
                  <a:pt x="1959420" y="511817"/>
                </a:lnTo>
                <a:lnTo>
                  <a:pt x="2025047" y="511817"/>
                </a:lnTo>
                <a:lnTo>
                  <a:pt x="2025047" y="310392"/>
                </a:lnTo>
                <a:cubicBezTo>
                  <a:pt x="2025047" y="277746"/>
                  <a:pt x="2031610" y="252926"/>
                  <a:pt x="2044735" y="235930"/>
                </a:cubicBezTo>
                <a:cubicBezTo>
                  <a:pt x="2057860" y="218934"/>
                  <a:pt x="2078727" y="210436"/>
                  <a:pt x="2107333" y="210436"/>
                </a:cubicBezTo>
                <a:cubicBezTo>
                  <a:pt x="2117767" y="210436"/>
                  <a:pt x="2127106" y="211109"/>
                  <a:pt x="2135351" y="212455"/>
                </a:cubicBezTo>
                <a:cubicBezTo>
                  <a:pt x="2143597" y="213802"/>
                  <a:pt x="2150580" y="215400"/>
                  <a:pt x="2156302" y="217251"/>
                </a:cubicBezTo>
                <a:cubicBezTo>
                  <a:pt x="2162023" y="219102"/>
                  <a:pt x="2166650" y="220869"/>
                  <a:pt x="2170184" y="222552"/>
                </a:cubicBezTo>
                <a:cubicBezTo>
                  <a:pt x="2173718" y="224235"/>
                  <a:pt x="2175990" y="225413"/>
                  <a:pt x="2176999" y="226086"/>
                </a:cubicBezTo>
                <a:lnTo>
                  <a:pt x="2168922" y="276063"/>
                </a:lnTo>
                <a:cubicBezTo>
                  <a:pt x="2166230" y="275054"/>
                  <a:pt x="2160677" y="272866"/>
                  <a:pt x="2152263" y="269501"/>
                </a:cubicBezTo>
                <a:cubicBezTo>
                  <a:pt x="2143849" y="266135"/>
                  <a:pt x="2133416" y="264452"/>
                  <a:pt x="2120964" y="264452"/>
                </a:cubicBezTo>
                <a:cubicBezTo>
                  <a:pt x="2111204" y="264452"/>
                  <a:pt x="2103126" y="267313"/>
                  <a:pt x="2096732" y="273034"/>
                </a:cubicBezTo>
                <a:cubicBezTo>
                  <a:pt x="2090338" y="278756"/>
                  <a:pt x="2087140" y="289694"/>
                  <a:pt x="2087140" y="305848"/>
                </a:cubicBezTo>
                <a:lnTo>
                  <a:pt x="2087140" y="563309"/>
                </a:lnTo>
                <a:close/>
                <a:moveTo>
                  <a:pt x="1607052" y="565833"/>
                </a:moveTo>
                <a:cubicBezTo>
                  <a:pt x="1594263" y="565833"/>
                  <a:pt x="1581811" y="564234"/>
                  <a:pt x="1569695" y="561037"/>
                </a:cubicBezTo>
                <a:cubicBezTo>
                  <a:pt x="1557579" y="557840"/>
                  <a:pt x="1546810" y="552455"/>
                  <a:pt x="1537386" y="544883"/>
                </a:cubicBezTo>
                <a:cubicBezTo>
                  <a:pt x="1527963" y="537310"/>
                  <a:pt x="1520474" y="527214"/>
                  <a:pt x="1514921" y="514593"/>
                </a:cubicBezTo>
                <a:cubicBezTo>
                  <a:pt x="1509368" y="501973"/>
                  <a:pt x="1506592" y="486071"/>
                  <a:pt x="1506592" y="466887"/>
                </a:cubicBezTo>
                <a:lnTo>
                  <a:pt x="1506592" y="453257"/>
                </a:lnTo>
                <a:lnTo>
                  <a:pt x="1454595" y="453257"/>
                </a:lnTo>
                <a:lnTo>
                  <a:pt x="1454595" y="401765"/>
                </a:lnTo>
                <a:lnTo>
                  <a:pt x="1506592" y="401765"/>
                </a:lnTo>
                <a:lnTo>
                  <a:pt x="1506592" y="215989"/>
                </a:lnTo>
                <a:lnTo>
                  <a:pt x="1569190" y="215989"/>
                </a:lnTo>
                <a:lnTo>
                  <a:pt x="1569190" y="401765"/>
                </a:lnTo>
                <a:lnTo>
                  <a:pt x="1666621" y="401765"/>
                </a:lnTo>
                <a:lnTo>
                  <a:pt x="1666621" y="453257"/>
                </a:lnTo>
                <a:lnTo>
                  <a:pt x="1569190" y="453257"/>
                </a:lnTo>
                <a:lnTo>
                  <a:pt x="1569190" y="465878"/>
                </a:lnTo>
                <a:cubicBezTo>
                  <a:pt x="1569190" y="475974"/>
                  <a:pt x="1570368" y="484135"/>
                  <a:pt x="1572724" y="490362"/>
                </a:cubicBezTo>
                <a:cubicBezTo>
                  <a:pt x="1575080" y="496588"/>
                  <a:pt x="1578193" y="501384"/>
                  <a:pt x="1582063" y="504749"/>
                </a:cubicBezTo>
                <a:cubicBezTo>
                  <a:pt x="1585933" y="508115"/>
                  <a:pt x="1590477" y="510302"/>
                  <a:pt x="1595693" y="511312"/>
                </a:cubicBezTo>
                <a:cubicBezTo>
                  <a:pt x="1600910" y="512322"/>
                  <a:pt x="1606379" y="512826"/>
                  <a:pt x="1612100" y="512826"/>
                </a:cubicBezTo>
                <a:cubicBezTo>
                  <a:pt x="1622533" y="512826"/>
                  <a:pt x="1633555" y="511396"/>
                  <a:pt x="1645166" y="508535"/>
                </a:cubicBezTo>
                <a:cubicBezTo>
                  <a:pt x="1656777" y="505675"/>
                  <a:pt x="1666453" y="502898"/>
                  <a:pt x="1674194" y="500206"/>
                </a:cubicBezTo>
                <a:lnTo>
                  <a:pt x="1684795" y="550688"/>
                </a:lnTo>
                <a:cubicBezTo>
                  <a:pt x="1673689" y="556073"/>
                  <a:pt x="1661236" y="559943"/>
                  <a:pt x="1647438" y="562299"/>
                </a:cubicBezTo>
                <a:cubicBezTo>
                  <a:pt x="1633639" y="564655"/>
                  <a:pt x="1620178" y="565833"/>
                  <a:pt x="1607052" y="565833"/>
                </a:cubicBezTo>
                <a:close/>
                <a:moveTo>
                  <a:pt x="0" y="796029"/>
                </a:moveTo>
                <a:lnTo>
                  <a:pt x="4876802" y="796029"/>
                </a:lnTo>
                <a:lnTo>
                  <a:pt x="4824822" y="344498"/>
                </a:lnTo>
                <a:cubicBezTo>
                  <a:pt x="4801968" y="145891"/>
                  <a:pt x="4682292" y="207"/>
                  <a:pt x="4541980" y="155"/>
                </a:cubicBezTo>
                <a:lnTo>
                  <a:pt x="0" y="0"/>
                </a:lnTo>
                <a:close/>
              </a:path>
            </a:pathLst>
          </a:custGeom>
          <a:solidFill>
            <a:schemeClr val="bg1"/>
          </a:solidFill>
          <a:ln w="2834" cap="flat">
            <a:noFill/>
            <a:prstDash val="solid"/>
            <a:miter/>
          </a:ln>
        </p:spPr>
        <p:txBody>
          <a:bodyPr wrap="square" rtlCol="0" anchor="ctr">
            <a:noAutofit/>
          </a:bodyPr>
          <a:lstStyle/>
          <a:p>
            <a:endParaRPr lang="en-US" dirty="0"/>
          </a:p>
        </p:txBody>
      </p:sp>
      <p:pic>
        <p:nvPicPr>
          <p:cNvPr id="8" name="Imagen 7" descr="Un dibujo de una cara feliz&#10;&#10;Descripción generada automáticamente con confianza baja">
            <a:extLst>
              <a:ext uri="{FF2B5EF4-FFF2-40B4-BE49-F238E27FC236}">
                <a16:creationId xmlns:a16="http://schemas.microsoft.com/office/drawing/2014/main" id="{A82FAAE7-F450-2EFB-B470-9CA2B285AACF}"/>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7824450" y="406400"/>
            <a:ext cx="1801936" cy="934010"/>
          </a:xfrm>
          <a:prstGeom prst="rect">
            <a:avLst/>
          </a:prstGeom>
        </p:spPr>
      </p:pic>
      <p:sp>
        <p:nvSpPr>
          <p:cNvPr id="10" name="Título 9">
            <a:extLst>
              <a:ext uri="{FF2B5EF4-FFF2-40B4-BE49-F238E27FC236}">
                <a16:creationId xmlns:a16="http://schemas.microsoft.com/office/drawing/2014/main" id="{7E8DAFFC-ADDB-1273-AA91-4852BCB21C8E}"/>
              </a:ext>
            </a:extLst>
          </p:cNvPr>
          <p:cNvSpPr>
            <a:spLocks noGrp="1"/>
          </p:cNvSpPr>
          <p:nvPr>
            <p:ph type="title" hasCustomPrompt="1"/>
          </p:nvPr>
        </p:nvSpPr>
        <p:spPr>
          <a:xfrm>
            <a:off x="7104380" y="1495932"/>
            <a:ext cx="10692384" cy="646331"/>
          </a:xfrm>
        </p:spPr>
        <p:txBody>
          <a:bodyPr/>
          <a:lstStyle>
            <a:lvl1pPr>
              <a:defRPr sz="4200" b="1" i="0">
                <a:solidFill>
                  <a:schemeClr val="bg1"/>
                </a:solidFill>
                <a:latin typeface="Ubuntu" panose="020B0504030602030204" pitchFamily="34" charset="0"/>
              </a:defRPr>
            </a:lvl1pPr>
          </a:lstStyle>
          <a:p>
            <a:r>
              <a:rPr lang="es-ES" dirty="0"/>
              <a:t>ASDFASFD</a:t>
            </a:r>
          </a:p>
        </p:txBody>
      </p:sp>
      <p:sp>
        <p:nvSpPr>
          <p:cNvPr id="11" name="object 12">
            <a:extLst>
              <a:ext uri="{FF2B5EF4-FFF2-40B4-BE49-F238E27FC236}">
                <a16:creationId xmlns:a16="http://schemas.microsoft.com/office/drawing/2014/main" id="{527854C5-8C21-D1AB-7E04-F771C691CE29}"/>
              </a:ext>
            </a:extLst>
          </p:cNvPr>
          <p:cNvSpPr txBox="1"/>
          <p:nvPr userDrawn="1"/>
        </p:nvSpPr>
        <p:spPr>
          <a:xfrm>
            <a:off x="7104380" y="807573"/>
            <a:ext cx="9881870" cy="567463"/>
          </a:xfrm>
          <a:prstGeom prst="rect">
            <a:avLst/>
          </a:prstGeom>
        </p:spPr>
        <p:txBody>
          <a:bodyPr vert="horz" wrap="square" lIns="0" tIns="13335" rIns="0" bIns="0" rtlCol="0">
            <a:spAutoFit/>
          </a:bodyPr>
          <a:lstStyle/>
          <a:p>
            <a:pPr marL="12700">
              <a:lnSpc>
                <a:spcPct val="100000"/>
              </a:lnSpc>
              <a:spcBef>
                <a:spcPts val="105"/>
              </a:spcBef>
            </a:pPr>
            <a:r>
              <a:rPr lang="en-US" sz="3600" spc="-30" dirty="0">
                <a:solidFill>
                  <a:srgbClr val="12A9D8"/>
                </a:solidFill>
                <a:latin typeface="Ubuntu Mono" panose="020B0509030602030204" pitchFamily="49" charset="0"/>
                <a:cs typeface="Ubuntu"/>
              </a:rPr>
              <a:t>Thinking about…</a:t>
            </a:r>
            <a:endParaRPr lang="en-US" sz="3600" dirty="0">
              <a:solidFill>
                <a:srgbClr val="12A9D8"/>
              </a:solidFill>
              <a:latin typeface="Ubuntu"/>
              <a:cs typeface="Ubuntu"/>
            </a:endParaRPr>
          </a:p>
        </p:txBody>
      </p:sp>
      <p:sp>
        <p:nvSpPr>
          <p:cNvPr id="15" name="Marcador de texto 14">
            <a:extLst>
              <a:ext uri="{FF2B5EF4-FFF2-40B4-BE49-F238E27FC236}">
                <a16:creationId xmlns:a16="http://schemas.microsoft.com/office/drawing/2014/main" id="{894536B8-BEFF-96E8-2A83-A0B97363D840}"/>
              </a:ext>
            </a:extLst>
          </p:cNvPr>
          <p:cNvSpPr>
            <a:spLocks noGrp="1"/>
          </p:cNvSpPr>
          <p:nvPr>
            <p:ph type="body" sz="quarter" idx="10"/>
          </p:nvPr>
        </p:nvSpPr>
        <p:spPr>
          <a:xfrm>
            <a:off x="7104380" y="3225800"/>
            <a:ext cx="12244070" cy="6931641"/>
          </a:xfrm>
          <a:prstGeom prst="rect">
            <a:avLst/>
          </a:prstGeom>
        </p:spPr>
        <p:txBody>
          <a:bodyPr/>
          <a:lstStyle>
            <a:lvl1pPr>
              <a:defRPr sz="2900" b="0" i="0">
                <a:solidFill>
                  <a:schemeClr val="bg1"/>
                </a:solidFill>
                <a:latin typeface="Ubuntu Light" panose="020B0304030602030204" pitchFamily="34" charset="0"/>
              </a:defRPr>
            </a:lvl1pPr>
            <a:lvl2pPr>
              <a:defRPr sz="2900" b="0" i="0">
                <a:solidFill>
                  <a:schemeClr val="bg1"/>
                </a:solidFill>
                <a:latin typeface="Ubuntu Light" panose="020B0304030602030204" pitchFamily="34" charset="0"/>
              </a:defRPr>
            </a:lvl2pPr>
            <a:lvl3pPr>
              <a:defRPr sz="2900" b="0" i="0">
                <a:solidFill>
                  <a:schemeClr val="bg1"/>
                </a:solidFill>
                <a:latin typeface="Ubuntu Light" panose="020B0304030602030204" pitchFamily="34" charset="0"/>
              </a:defRPr>
            </a:lvl3pPr>
            <a:lvl4pPr>
              <a:defRPr sz="2900" b="0" i="0">
                <a:solidFill>
                  <a:schemeClr val="bg1"/>
                </a:solidFill>
                <a:latin typeface="Ubuntu Light" panose="020B0304030602030204" pitchFamily="34" charset="0"/>
              </a:defRPr>
            </a:lvl4pPr>
            <a:lvl5pPr>
              <a:defRPr sz="2900" b="0" i="0">
                <a:solidFill>
                  <a:schemeClr val="bg1"/>
                </a:solidFill>
                <a:latin typeface="Ubuntu Light" panose="020B0304030602030204" pitchFamily="34" charset="0"/>
              </a:defRPr>
            </a:lvl5pPr>
          </a:lstStyle>
          <a:p>
            <a:pPr lvl="0"/>
            <a:r>
              <a:rPr lang="es-ES" dirty="0"/>
              <a:t>Haga clic para modificar los estilos de texto del patrón</a:t>
            </a:r>
          </a:p>
          <a:p>
            <a:pPr lvl="1"/>
            <a:r>
              <a:rPr lang="es-ES" dirty="0"/>
              <a:t>Segundo nivel</a:t>
            </a:r>
          </a:p>
          <a:p>
            <a:pPr lvl="2"/>
            <a:r>
              <a:rPr lang="es-ES" dirty="0"/>
              <a:t> nivel</a:t>
            </a:r>
          </a:p>
          <a:p>
            <a:pPr lvl="3"/>
            <a:r>
              <a:rPr lang="es-ES" dirty="0"/>
              <a:t>Cuarto nivel</a:t>
            </a:r>
          </a:p>
          <a:p>
            <a:pPr lvl="4"/>
            <a:r>
              <a:rPr lang="es-ES" dirty="0"/>
              <a:t>Quinto nivel</a:t>
            </a:r>
          </a:p>
        </p:txBody>
      </p:sp>
      <p:sp>
        <p:nvSpPr>
          <p:cNvPr id="16" name="CuadroTexto 15">
            <a:extLst>
              <a:ext uri="{FF2B5EF4-FFF2-40B4-BE49-F238E27FC236}">
                <a16:creationId xmlns:a16="http://schemas.microsoft.com/office/drawing/2014/main" id="{9D153551-888E-2E4A-C9F1-C375C679B619}"/>
              </a:ext>
            </a:extLst>
          </p:cNvPr>
          <p:cNvSpPr txBox="1"/>
          <p:nvPr userDrawn="1"/>
        </p:nvSpPr>
        <p:spPr>
          <a:xfrm>
            <a:off x="4870450" y="-151634"/>
            <a:ext cx="3200400" cy="4508927"/>
          </a:xfrm>
          <a:prstGeom prst="rect">
            <a:avLst/>
          </a:prstGeom>
          <a:noFill/>
        </p:spPr>
        <p:txBody>
          <a:bodyPr wrap="square" rtlCol="0">
            <a:spAutoFit/>
          </a:bodyPr>
          <a:lstStyle/>
          <a:p>
            <a:r>
              <a:rPr lang="es-ES" sz="28700" b="1" i="0" dirty="0">
                <a:solidFill>
                  <a:srgbClr val="12A9D8"/>
                </a:solidFill>
                <a:latin typeface="Ubuntu" panose="020B0504030602030204" pitchFamily="34" charset="0"/>
              </a:rPr>
              <a:t>?</a:t>
            </a:r>
          </a:p>
        </p:txBody>
      </p:sp>
    </p:spTree>
    <p:extLst>
      <p:ext uri="{BB962C8B-B14F-4D97-AF65-F5344CB8AC3E}">
        <p14:creationId xmlns:p14="http://schemas.microsoft.com/office/powerpoint/2010/main" val="337838357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5_Title and Content">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D6955343-C5D4-8EEB-D799-D22B8823300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2524" t="191" r="21796" b="-191"/>
          <a:stretch/>
        </p:blipFill>
        <p:spPr>
          <a:xfrm>
            <a:off x="0" y="-17753"/>
            <a:ext cx="6318250" cy="11347450"/>
          </a:xfrm>
          <a:prstGeom prst="rect">
            <a:avLst/>
          </a:prstGeom>
        </p:spPr>
      </p:pic>
      <p:sp>
        <p:nvSpPr>
          <p:cNvPr id="3" name="Rectángulo 2">
            <a:extLst>
              <a:ext uri="{FF2B5EF4-FFF2-40B4-BE49-F238E27FC236}">
                <a16:creationId xmlns:a16="http://schemas.microsoft.com/office/drawing/2014/main" id="{8E2A0C8C-2F63-07D5-D3ED-F129D31CE088}"/>
              </a:ext>
            </a:extLst>
          </p:cNvPr>
          <p:cNvSpPr/>
          <p:nvPr userDrawn="1"/>
        </p:nvSpPr>
        <p:spPr>
          <a:xfrm>
            <a:off x="6318250" y="-17753"/>
            <a:ext cx="13785850" cy="11346153"/>
          </a:xfrm>
          <a:prstGeom prst="rect">
            <a:avLst/>
          </a:prstGeom>
          <a:solidFill>
            <a:srgbClr val="330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4" name="Holder 4"/>
          <p:cNvSpPr>
            <a:spLocks noGrp="1"/>
          </p:cNvSpPr>
          <p:nvPr>
            <p:ph type="ftr" sz="quarter" idx="5"/>
          </p:nvPr>
        </p:nvSpPr>
        <p:spPr>
          <a:xfrm>
            <a:off x="16647741" y="10759212"/>
            <a:ext cx="2962677" cy="200055"/>
          </a:xfrm>
          <a:prstGeom prst="rect">
            <a:avLst/>
          </a:prstGeom>
        </p:spPr>
        <p:txBody>
          <a:bodyPr lIns="0" tIns="0" rIns="0" bIns="0"/>
          <a:lstStyle>
            <a:lvl1pPr>
              <a:defRPr sz="1300" b="0" i="0">
                <a:solidFill>
                  <a:schemeClr val="bg1"/>
                </a:solidFill>
                <a:latin typeface="Ubuntu Light"/>
                <a:cs typeface="Ubuntu Light"/>
              </a:defRPr>
            </a:lvl1pPr>
          </a:lstStyle>
          <a:p>
            <a:pPr marL="26034">
              <a:spcBef>
                <a:spcPts val="30"/>
              </a:spcBef>
            </a:pPr>
            <a:r>
              <a:rPr lang="es-ES" dirty="0"/>
              <a:t>Public</a:t>
            </a:r>
            <a:r>
              <a:rPr lang="es-ES" spc="-40" dirty="0"/>
              <a:t> </a:t>
            </a:r>
            <a:r>
              <a:rPr lang="es-ES" dirty="0"/>
              <a:t>©</a:t>
            </a:r>
            <a:r>
              <a:rPr lang="es-ES" spc="-40" dirty="0"/>
              <a:t> </a:t>
            </a:r>
            <a:r>
              <a:rPr lang="es-ES" dirty="0"/>
              <a:t>2023</a:t>
            </a:r>
            <a:r>
              <a:rPr lang="es-ES" spc="-40" dirty="0"/>
              <a:t> </a:t>
            </a:r>
            <a:r>
              <a:rPr lang="es-ES" spc="-10" dirty="0"/>
              <a:t>Sogeti.</a:t>
            </a:r>
            <a:r>
              <a:rPr lang="es-ES" spc="-35" dirty="0"/>
              <a:t> </a:t>
            </a:r>
            <a:r>
              <a:rPr lang="es-ES" dirty="0" err="1"/>
              <a:t>All</a:t>
            </a:r>
            <a:r>
              <a:rPr lang="es-ES" spc="-40" dirty="0"/>
              <a:t> </a:t>
            </a:r>
            <a:r>
              <a:rPr lang="es-ES" dirty="0"/>
              <a:t>rights</a:t>
            </a:r>
            <a:r>
              <a:rPr lang="es-ES" spc="-40" dirty="0"/>
              <a:t> </a:t>
            </a:r>
            <a:r>
              <a:rPr lang="es-ES" spc="-10" dirty="0" err="1"/>
              <a:t>reserved</a:t>
            </a:r>
            <a:endParaRPr lang="es-ES" spc="-10" dirty="0"/>
          </a:p>
        </p:txBody>
      </p:sp>
      <p:sp>
        <p:nvSpPr>
          <p:cNvPr id="2" name="CuadroTexto 1">
            <a:extLst>
              <a:ext uri="{FF2B5EF4-FFF2-40B4-BE49-F238E27FC236}">
                <a16:creationId xmlns:a16="http://schemas.microsoft.com/office/drawing/2014/main" id="{72E5CF79-7DA3-E21E-3060-87CB44907F25}"/>
              </a:ext>
            </a:extLst>
          </p:cNvPr>
          <p:cNvSpPr txBox="1"/>
          <p:nvPr userDrawn="1"/>
        </p:nvSpPr>
        <p:spPr>
          <a:xfrm>
            <a:off x="755650" y="10845800"/>
            <a:ext cx="7772400" cy="292388"/>
          </a:xfrm>
          <a:prstGeom prst="rect">
            <a:avLst/>
          </a:prstGeom>
          <a:noFill/>
        </p:spPr>
        <p:txBody>
          <a:bodyPr wrap="square" rtlCol="0">
            <a:spAutoFit/>
          </a:bodyPr>
          <a:lstStyle/>
          <a:p>
            <a:r>
              <a:rPr lang="es-ES" sz="1300" b="0" i="0" dirty="0">
                <a:solidFill>
                  <a:schemeClr val="bg1"/>
                </a:solidFill>
                <a:latin typeface="Ubuntu Medium" panose="020B0504030602030204" pitchFamily="34" charset="0"/>
              </a:rPr>
              <a:t>#FlourishingDigitalBusinessWithQuality </a:t>
            </a:r>
            <a:r>
              <a:rPr lang="es-ES" sz="1300" b="1" i="0" dirty="0">
                <a:solidFill>
                  <a:schemeClr val="bg1"/>
                </a:solidFill>
                <a:latin typeface="Ubuntu" panose="020B0504030602030204" pitchFamily="34" charset="0"/>
              </a:rPr>
              <a:t> </a:t>
            </a:r>
            <a:r>
              <a:rPr lang="es-ES" sz="1300" b="1" i="0" dirty="0">
                <a:solidFill>
                  <a:srgbClr val="290E3B"/>
                </a:solidFill>
                <a:latin typeface="Ubuntu" panose="020B0504030602030204" pitchFamily="34" charset="0"/>
              </a:rPr>
              <a:t>·</a:t>
            </a:r>
            <a:r>
              <a:rPr lang="es-ES" sz="1300" b="0" i="0" dirty="0">
                <a:solidFill>
                  <a:schemeClr val="tx2"/>
                </a:solidFill>
                <a:latin typeface="Ubuntu Medium" panose="020B0504030602030204" pitchFamily="34" charset="0"/>
              </a:rPr>
              <a:t>   </a:t>
            </a:r>
            <a:r>
              <a:rPr lang="es-ES" sz="1300" b="1" i="0" dirty="0">
                <a:solidFill>
                  <a:srgbClr val="12A9D8"/>
                </a:solidFill>
                <a:latin typeface="Ubuntu" panose="020B0504030602030204" pitchFamily="34" charset="0"/>
              </a:rPr>
              <a:t>Sogeti España</a:t>
            </a:r>
          </a:p>
        </p:txBody>
      </p:sp>
      <p:sp>
        <p:nvSpPr>
          <p:cNvPr id="5" name="Forma libre 4">
            <a:extLst>
              <a:ext uri="{FF2B5EF4-FFF2-40B4-BE49-F238E27FC236}">
                <a16:creationId xmlns:a16="http://schemas.microsoft.com/office/drawing/2014/main" id="{FBAABD7F-C513-9B40-6AE2-E43DB3944CCE}"/>
              </a:ext>
            </a:extLst>
          </p:cNvPr>
          <p:cNvSpPr/>
          <p:nvPr userDrawn="1"/>
        </p:nvSpPr>
        <p:spPr>
          <a:xfrm flipV="1">
            <a:off x="755650" y="10384024"/>
            <a:ext cx="2362200" cy="385576"/>
          </a:xfrm>
          <a:custGeom>
            <a:avLst/>
            <a:gdLst/>
            <a:ahLst/>
            <a:cxnLst/>
            <a:rect l="l" t="t" r="r" b="b"/>
            <a:pathLst>
              <a:path w="4876802" h="796029">
                <a:moveTo>
                  <a:pt x="2572782" y="405299"/>
                </a:moveTo>
                <a:cubicBezTo>
                  <a:pt x="2589609" y="405299"/>
                  <a:pt x="2601809" y="398820"/>
                  <a:pt x="2609382" y="385863"/>
                </a:cubicBezTo>
                <a:cubicBezTo>
                  <a:pt x="2616954" y="372906"/>
                  <a:pt x="2620740" y="355826"/>
                  <a:pt x="2620740" y="334623"/>
                </a:cubicBezTo>
                <a:cubicBezTo>
                  <a:pt x="2620740" y="313420"/>
                  <a:pt x="2616618" y="296256"/>
                  <a:pt x="2608372" y="283131"/>
                </a:cubicBezTo>
                <a:cubicBezTo>
                  <a:pt x="2600126" y="270006"/>
                  <a:pt x="2587927" y="263443"/>
                  <a:pt x="2571772" y="263443"/>
                </a:cubicBezTo>
                <a:cubicBezTo>
                  <a:pt x="2554945" y="263443"/>
                  <a:pt x="2542744" y="270006"/>
                  <a:pt x="2535172" y="283131"/>
                </a:cubicBezTo>
                <a:cubicBezTo>
                  <a:pt x="2527600" y="296256"/>
                  <a:pt x="2523814" y="313420"/>
                  <a:pt x="2523814" y="334623"/>
                </a:cubicBezTo>
                <a:cubicBezTo>
                  <a:pt x="2523814" y="355826"/>
                  <a:pt x="2527937" y="372906"/>
                  <a:pt x="2536182" y="385863"/>
                </a:cubicBezTo>
                <a:cubicBezTo>
                  <a:pt x="2544428" y="398820"/>
                  <a:pt x="2556628" y="405299"/>
                  <a:pt x="2572782" y="405299"/>
                </a:cubicBezTo>
                <a:close/>
                <a:moveTo>
                  <a:pt x="1810782" y="405299"/>
                </a:moveTo>
                <a:cubicBezTo>
                  <a:pt x="1827610" y="405299"/>
                  <a:pt x="1839810" y="398820"/>
                  <a:pt x="1847382" y="385863"/>
                </a:cubicBezTo>
                <a:cubicBezTo>
                  <a:pt x="1854954" y="372906"/>
                  <a:pt x="1858740" y="355826"/>
                  <a:pt x="1858740" y="334623"/>
                </a:cubicBezTo>
                <a:cubicBezTo>
                  <a:pt x="1858740" y="313420"/>
                  <a:pt x="1854618" y="296256"/>
                  <a:pt x="1846372" y="283131"/>
                </a:cubicBezTo>
                <a:cubicBezTo>
                  <a:pt x="1838127" y="270006"/>
                  <a:pt x="1825927" y="263443"/>
                  <a:pt x="1809772" y="263443"/>
                </a:cubicBezTo>
                <a:cubicBezTo>
                  <a:pt x="1792945" y="263443"/>
                  <a:pt x="1780745" y="270006"/>
                  <a:pt x="1773173" y="283131"/>
                </a:cubicBezTo>
                <a:cubicBezTo>
                  <a:pt x="1765600" y="296256"/>
                  <a:pt x="1761814" y="313420"/>
                  <a:pt x="1761814" y="334623"/>
                </a:cubicBezTo>
                <a:cubicBezTo>
                  <a:pt x="1761814" y="355826"/>
                  <a:pt x="1765937" y="372906"/>
                  <a:pt x="1774182" y="385863"/>
                </a:cubicBezTo>
                <a:cubicBezTo>
                  <a:pt x="1782428" y="398820"/>
                  <a:pt x="1794628" y="405299"/>
                  <a:pt x="1810782" y="405299"/>
                </a:cubicBezTo>
                <a:close/>
                <a:moveTo>
                  <a:pt x="810657" y="405299"/>
                </a:moveTo>
                <a:cubicBezTo>
                  <a:pt x="827485" y="405299"/>
                  <a:pt x="839684" y="398820"/>
                  <a:pt x="847257" y="385863"/>
                </a:cubicBezTo>
                <a:cubicBezTo>
                  <a:pt x="854829" y="372906"/>
                  <a:pt x="858615" y="355826"/>
                  <a:pt x="858616" y="334623"/>
                </a:cubicBezTo>
                <a:cubicBezTo>
                  <a:pt x="858615" y="313420"/>
                  <a:pt x="854493" y="296256"/>
                  <a:pt x="846247" y="283131"/>
                </a:cubicBezTo>
                <a:cubicBezTo>
                  <a:pt x="838002" y="270006"/>
                  <a:pt x="825802" y="263443"/>
                  <a:pt x="809647" y="263443"/>
                </a:cubicBezTo>
                <a:cubicBezTo>
                  <a:pt x="792820" y="263443"/>
                  <a:pt x="780620" y="270006"/>
                  <a:pt x="773048" y="283131"/>
                </a:cubicBezTo>
                <a:cubicBezTo>
                  <a:pt x="765475" y="296256"/>
                  <a:pt x="761689" y="313420"/>
                  <a:pt x="761689" y="334623"/>
                </a:cubicBezTo>
                <a:cubicBezTo>
                  <a:pt x="761689" y="355826"/>
                  <a:pt x="765812" y="372906"/>
                  <a:pt x="774057" y="385863"/>
                </a:cubicBezTo>
                <a:cubicBezTo>
                  <a:pt x="782303" y="398820"/>
                  <a:pt x="794503" y="405299"/>
                  <a:pt x="810657" y="405299"/>
                </a:cubicBezTo>
                <a:close/>
                <a:moveTo>
                  <a:pt x="3325256" y="411861"/>
                </a:moveTo>
                <a:cubicBezTo>
                  <a:pt x="3316506" y="411861"/>
                  <a:pt x="3309608" y="408496"/>
                  <a:pt x="3304560" y="401765"/>
                </a:cubicBezTo>
                <a:cubicBezTo>
                  <a:pt x="3299512" y="395034"/>
                  <a:pt x="3296988" y="387125"/>
                  <a:pt x="3296988" y="378038"/>
                </a:cubicBezTo>
                <a:cubicBezTo>
                  <a:pt x="3296988" y="368951"/>
                  <a:pt x="3299512" y="361126"/>
                  <a:pt x="3304560" y="354564"/>
                </a:cubicBezTo>
                <a:cubicBezTo>
                  <a:pt x="3309608" y="348001"/>
                  <a:pt x="3316506" y="344720"/>
                  <a:pt x="3325256" y="344720"/>
                </a:cubicBezTo>
                <a:cubicBezTo>
                  <a:pt x="3333334" y="344720"/>
                  <a:pt x="3339980" y="348001"/>
                  <a:pt x="3345198" y="354564"/>
                </a:cubicBezTo>
                <a:cubicBezTo>
                  <a:pt x="3350414" y="361126"/>
                  <a:pt x="3353022" y="368951"/>
                  <a:pt x="3353022" y="378038"/>
                </a:cubicBezTo>
                <a:cubicBezTo>
                  <a:pt x="3353022" y="387125"/>
                  <a:pt x="3350414" y="395034"/>
                  <a:pt x="3345198" y="401765"/>
                </a:cubicBezTo>
                <a:cubicBezTo>
                  <a:pt x="3339980" y="408496"/>
                  <a:pt x="3333334" y="411861"/>
                  <a:pt x="3325256" y="411861"/>
                </a:cubicBezTo>
                <a:close/>
                <a:moveTo>
                  <a:pt x="2207070" y="453257"/>
                </a:moveTo>
                <a:lnTo>
                  <a:pt x="2207070" y="401765"/>
                </a:lnTo>
                <a:lnTo>
                  <a:pt x="2272697" y="401765"/>
                </a:lnTo>
                <a:lnTo>
                  <a:pt x="2272697" y="314430"/>
                </a:lnTo>
                <a:cubicBezTo>
                  <a:pt x="2272697" y="297939"/>
                  <a:pt x="2274043" y="283299"/>
                  <a:pt x="2276735" y="270510"/>
                </a:cubicBezTo>
                <a:cubicBezTo>
                  <a:pt x="2279428" y="257721"/>
                  <a:pt x="2284055" y="246868"/>
                  <a:pt x="2290618" y="237949"/>
                </a:cubicBezTo>
                <a:cubicBezTo>
                  <a:pt x="2297181" y="229031"/>
                  <a:pt x="2305931" y="222215"/>
                  <a:pt x="2316869" y="217504"/>
                </a:cubicBezTo>
                <a:cubicBezTo>
                  <a:pt x="2327807" y="212792"/>
                  <a:pt x="2341353" y="210436"/>
                  <a:pt x="2357508" y="210436"/>
                </a:cubicBezTo>
                <a:cubicBezTo>
                  <a:pt x="2366931" y="210436"/>
                  <a:pt x="2377280" y="211530"/>
                  <a:pt x="2388554" y="213718"/>
                </a:cubicBezTo>
                <a:cubicBezTo>
                  <a:pt x="2399829" y="215905"/>
                  <a:pt x="2411860" y="220028"/>
                  <a:pt x="2424649" y="226086"/>
                </a:cubicBezTo>
                <a:lnTo>
                  <a:pt x="2416572" y="276063"/>
                </a:lnTo>
                <a:cubicBezTo>
                  <a:pt x="2406475" y="271352"/>
                  <a:pt x="2397388" y="268239"/>
                  <a:pt x="2389312" y="266724"/>
                </a:cubicBezTo>
                <a:cubicBezTo>
                  <a:pt x="2381234" y="265210"/>
                  <a:pt x="2374335" y="264452"/>
                  <a:pt x="2368614" y="264452"/>
                </a:cubicBezTo>
                <a:cubicBezTo>
                  <a:pt x="2356498" y="264452"/>
                  <a:pt x="2347832" y="267902"/>
                  <a:pt x="2342615" y="274801"/>
                </a:cubicBezTo>
                <a:cubicBezTo>
                  <a:pt x="2337398" y="281701"/>
                  <a:pt x="2334790" y="292218"/>
                  <a:pt x="2334790" y="306353"/>
                </a:cubicBezTo>
                <a:lnTo>
                  <a:pt x="2334790" y="453257"/>
                </a:lnTo>
                <a:close/>
                <a:moveTo>
                  <a:pt x="1088092" y="457800"/>
                </a:moveTo>
                <a:cubicBezTo>
                  <a:pt x="1064870" y="457800"/>
                  <a:pt x="1044593" y="455949"/>
                  <a:pt x="1027260" y="452247"/>
                </a:cubicBezTo>
                <a:cubicBezTo>
                  <a:pt x="1009928" y="448545"/>
                  <a:pt x="993016" y="443665"/>
                  <a:pt x="976526" y="437607"/>
                </a:cubicBezTo>
                <a:lnTo>
                  <a:pt x="976526" y="215989"/>
                </a:lnTo>
                <a:lnTo>
                  <a:pt x="1039124" y="215989"/>
                </a:lnTo>
                <a:lnTo>
                  <a:pt x="1039124" y="392173"/>
                </a:lnTo>
                <a:cubicBezTo>
                  <a:pt x="1047874" y="394529"/>
                  <a:pt x="1056456" y="396128"/>
                  <a:pt x="1064870" y="396969"/>
                </a:cubicBezTo>
                <a:cubicBezTo>
                  <a:pt x="1073284" y="397810"/>
                  <a:pt x="1081866" y="398231"/>
                  <a:pt x="1090616" y="398231"/>
                </a:cubicBezTo>
                <a:cubicBezTo>
                  <a:pt x="1094318" y="398231"/>
                  <a:pt x="1098861" y="398063"/>
                  <a:pt x="1104246" y="397726"/>
                </a:cubicBezTo>
                <a:cubicBezTo>
                  <a:pt x="1109631" y="397390"/>
                  <a:pt x="1115184" y="396801"/>
                  <a:pt x="1120905" y="395959"/>
                </a:cubicBezTo>
                <a:cubicBezTo>
                  <a:pt x="1126627" y="395118"/>
                  <a:pt x="1132264" y="394192"/>
                  <a:pt x="1137817" y="393183"/>
                </a:cubicBezTo>
                <a:cubicBezTo>
                  <a:pt x="1143370" y="392173"/>
                  <a:pt x="1148166" y="391164"/>
                  <a:pt x="1152205" y="390154"/>
                </a:cubicBezTo>
                <a:lnTo>
                  <a:pt x="1163311" y="447704"/>
                </a:lnTo>
                <a:cubicBezTo>
                  <a:pt x="1157589" y="449723"/>
                  <a:pt x="1151111" y="451322"/>
                  <a:pt x="1143875" y="452500"/>
                </a:cubicBezTo>
                <a:cubicBezTo>
                  <a:pt x="1136639" y="453678"/>
                  <a:pt x="1129487" y="454687"/>
                  <a:pt x="1122420" y="455529"/>
                </a:cubicBezTo>
                <a:cubicBezTo>
                  <a:pt x="1115352" y="456370"/>
                  <a:pt x="1108706" y="456959"/>
                  <a:pt x="1102479" y="457296"/>
                </a:cubicBezTo>
                <a:cubicBezTo>
                  <a:pt x="1096253" y="457632"/>
                  <a:pt x="1091457" y="457800"/>
                  <a:pt x="1088092" y="457800"/>
                </a:cubicBezTo>
                <a:close/>
                <a:moveTo>
                  <a:pt x="2572782" y="459315"/>
                </a:moveTo>
                <a:cubicBezTo>
                  <a:pt x="2556628" y="459315"/>
                  <a:pt x="2541651" y="456370"/>
                  <a:pt x="2527852" y="450480"/>
                </a:cubicBezTo>
                <a:cubicBezTo>
                  <a:pt x="2514054" y="444591"/>
                  <a:pt x="2502190" y="436177"/>
                  <a:pt x="2492262" y="425239"/>
                </a:cubicBezTo>
                <a:cubicBezTo>
                  <a:pt x="2482334" y="414301"/>
                  <a:pt x="2474594" y="401176"/>
                  <a:pt x="2469040" y="385863"/>
                </a:cubicBezTo>
                <a:cubicBezTo>
                  <a:pt x="2463487" y="370550"/>
                  <a:pt x="2460711" y="353638"/>
                  <a:pt x="2460711" y="335128"/>
                </a:cubicBezTo>
                <a:cubicBezTo>
                  <a:pt x="2460711" y="316281"/>
                  <a:pt x="2463403" y="299201"/>
                  <a:pt x="2468788" y="283888"/>
                </a:cubicBezTo>
                <a:cubicBezTo>
                  <a:pt x="2474173" y="268575"/>
                  <a:pt x="2481829" y="255366"/>
                  <a:pt x="2491758" y="244259"/>
                </a:cubicBezTo>
                <a:cubicBezTo>
                  <a:pt x="2501686" y="233153"/>
                  <a:pt x="2513465" y="224571"/>
                  <a:pt x="2527095" y="218513"/>
                </a:cubicBezTo>
                <a:cubicBezTo>
                  <a:pt x="2540726" y="212455"/>
                  <a:pt x="2555954" y="209427"/>
                  <a:pt x="2572782" y="209427"/>
                </a:cubicBezTo>
                <a:cubicBezTo>
                  <a:pt x="2589609" y="209427"/>
                  <a:pt x="2604838" y="212455"/>
                  <a:pt x="2618468" y="218513"/>
                </a:cubicBezTo>
                <a:cubicBezTo>
                  <a:pt x="2632098" y="224571"/>
                  <a:pt x="2643794" y="233153"/>
                  <a:pt x="2653554" y="244259"/>
                </a:cubicBezTo>
                <a:cubicBezTo>
                  <a:pt x="2663314" y="255366"/>
                  <a:pt x="2670886" y="268575"/>
                  <a:pt x="2676271" y="283888"/>
                </a:cubicBezTo>
                <a:cubicBezTo>
                  <a:pt x="2681656" y="299201"/>
                  <a:pt x="2684348" y="316281"/>
                  <a:pt x="2684348" y="335128"/>
                </a:cubicBezTo>
                <a:cubicBezTo>
                  <a:pt x="2684348" y="353638"/>
                  <a:pt x="2681656" y="370550"/>
                  <a:pt x="2676271" y="385863"/>
                </a:cubicBezTo>
                <a:cubicBezTo>
                  <a:pt x="2670886" y="401176"/>
                  <a:pt x="2663230" y="414301"/>
                  <a:pt x="2653302" y="425239"/>
                </a:cubicBezTo>
                <a:cubicBezTo>
                  <a:pt x="2643373" y="436177"/>
                  <a:pt x="2631594" y="444591"/>
                  <a:pt x="2617964" y="450480"/>
                </a:cubicBezTo>
                <a:cubicBezTo>
                  <a:pt x="2604334" y="456370"/>
                  <a:pt x="2589273" y="459315"/>
                  <a:pt x="2572782" y="459315"/>
                </a:cubicBezTo>
                <a:close/>
                <a:moveTo>
                  <a:pt x="1810782" y="459315"/>
                </a:moveTo>
                <a:cubicBezTo>
                  <a:pt x="1794628" y="459315"/>
                  <a:pt x="1779651" y="456370"/>
                  <a:pt x="1765853" y="450480"/>
                </a:cubicBezTo>
                <a:cubicBezTo>
                  <a:pt x="1752054" y="444591"/>
                  <a:pt x="1740191" y="436177"/>
                  <a:pt x="1730262" y="425239"/>
                </a:cubicBezTo>
                <a:cubicBezTo>
                  <a:pt x="1720334" y="414301"/>
                  <a:pt x="1712594" y="401176"/>
                  <a:pt x="1707040" y="385863"/>
                </a:cubicBezTo>
                <a:cubicBezTo>
                  <a:pt x="1701488" y="370550"/>
                  <a:pt x="1698711" y="353638"/>
                  <a:pt x="1698711" y="335128"/>
                </a:cubicBezTo>
                <a:cubicBezTo>
                  <a:pt x="1698711" y="316281"/>
                  <a:pt x="1701403" y="299201"/>
                  <a:pt x="1706788" y="283888"/>
                </a:cubicBezTo>
                <a:cubicBezTo>
                  <a:pt x="1712173" y="268575"/>
                  <a:pt x="1719829" y="255366"/>
                  <a:pt x="1729758" y="244259"/>
                </a:cubicBezTo>
                <a:cubicBezTo>
                  <a:pt x="1739686" y="233153"/>
                  <a:pt x="1751465" y="224571"/>
                  <a:pt x="1765095" y="218513"/>
                </a:cubicBezTo>
                <a:cubicBezTo>
                  <a:pt x="1778726" y="212455"/>
                  <a:pt x="1793954" y="209427"/>
                  <a:pt x="1810782" y="209427"/>
                </a:cubicBezTo>
                <a:cubicBezTo>
                  <a:pt x="1827610" y="209427"/>
                  <a:pt x="1842838" y="212455"/>
                  <a:pt x="1856469" y="218513"/>
                </a:cubicBezTo>
                <a:cubicBezTo>
                  <a:pt x="1870099" y="224571"/>
                  <a:pt x="1881794" y="233153"/>
                  <a:pt x="1891554" y="244259"/>
                </a:cubicBezTo>
                <a:cubicBezTo>
                  <a:pt x="1901314" y="255366"/>
                  <a:pt x="1908886" y="268575"/>
                  <a:pt x="1914271" y="283888"/>
                </a:cubicBezTo>
                <a:cubicBezTo>
                  <a:pt x="1919656" y="299201"/>
                  <a:pt x="1922348" y="316281"/>
                  <a:pt x="1922348" y="335128"/>
                </a:cubicBezTo>
                <a:cubicBezTo>
                  <a:pt x="1922348" y="353638"/>
                  <a:pt x="1919656" y="370550"/>
                  <a:pt x="1914271" y="385863"/>
                </a:cubicBezTo>
                <a:cubicBezTo>
                  <a:pt x="1908886" y="401176"/>
                  <a:pt x="1901230" y="414301"/>
                  <a:pt x="1891302" y="425239"/>
                </a:cubicBezTo>
                <a:cubicBezTo>
                  <a:pt x="1881374" y="436177"/>
                  <a:pt x="1869594" y="444591"/>
                  <a:pt x="1855964" y="450480"/>
                </a:cubicBezTo>
                <a:cubicBezTo>
                  <a:pt x="1842334" y="456370"/>
                  <a:pt x="1827273" y="459315"/>
                  <a:pt x="1810782" y="459315"/>
                </a:cubicBezTo>
                <a:close/>
                <a:moveTo>
                  <a:pt x="810657" y="459315"/>
                </a:moveTo>
                <a:cubicBezTo>
                  <a:pt x="794503" y="459315"/>
                  <a:pt x="779526" y="456370"/>
                  <a:pt x="765728" y="450480"/>
                </a:cubicBezTo>
                <a:cubicBezTo>
                  <a:pt x="751929" y="444591"/>
                  <a:pt x="740066" y="436177"/>
                  <a:pt x="730138" y="425239"/>
                </a:cubicBezTo>
                <a:cubicBezTo>
                  <a:pt x="720209" y="414301"/>
                  <a:pt x="712469" y="401176"/>
                  <a:pt x="706916" y="385863"/>
                </a:cubicBezTo>
                <a:cubicBezTo>
                  <a:pt x="701362" y="370550"/>
                  <a:pt x="698586" y="353638"/>
                  <a:pt x="698586" y="335128"/>
                </a:cubicBezTo>
                <a:cubicBezTo>
                  <a:pt x="698586" y="316281"/>
                  <a:pt x="701278" y="299201"/>
                  <a:pt x="706663" y="283888"/>
                </a:cubicBezTo>
                <a:cubicBezTo>
                  <a:pt x="712048" y="268575"/>
                  <a:pt x="719704" y="255366"/>
                  <a:pt x="729633" y="244259"/>
                </a:cubicBezTo>
                <a:cubicBezTo>
                  <a:pt x="739561" y="233153"/>
                  <a:pt x="751340" y="224571"/>
                  <a:pt x="764970" y="218513"/>
                </a:cubicBezTo>
                <a:cubicBezTo>
                  <a:pt x="778601" y="212455"/>
                  <a:pt x="793830" y="209427"/>
                  <a:pt x="810657" y="209427"/>
                </a:cubicBezTo>
                <a:cubicBezTo>
                  <a:pt x="827485" y="209427"/>
                  <a:pt x="842713" y="212455"/>
                  <a:pt x="856344" y="218513"/>
                </a:cubicBezTo>
                <a:cubicBezTo>
                  <a:pt x="869974" y="224571"/>
                  <a:pt x="881669" y="233153"/>
                  <a:pt x="891429" y="244259"/>
                </a:cubicBezTo>
                <a:cubicBezTo>
                  <a:pt x="901189" y="255366"/>
                  <a:pt x="908761" y="268575"/>
                  <a:pt x="914146" y="283888"/>
                </a:cubicBezTo>
                <a:cubicBezTo>
                  <a:pt x="919531" y="299201"/>
                  <a:pt x="922223" y="316281"/>
                  <a:pt x="922223" y="335128"/>
                </a:cubicBezTo>
                <a:cubicBezTo>
                  <a:pt x="922223" y="353638"/>
                  <a:pt x="919531" y="370550"/>
                  <a:pt x="914146" y="385863"/>
                </a:cubicBezTo>
                <a:cubicBezTo>
                  <a:pt x="908761" y="401176"/>
                  <a:pt x="901105" y="414301"/>
                  <a:pt x="891177" y="425239"/>
                </a:cubicBezTo>
                <a:cubicBezTo>
                  <a:pt x="881248" y="436177"/>
                  <a:pt x="869469" y="444591"/>
                  <a:pt x="855839" y="450480"/>
                </a:cubicBezTo>
                <a:cubicBezTo>
                  <a:pt x="842209" y="456370"/>
                  <a:pt x="827148" y="459315"/>
                  <a:pt x="810657" y="459315"/>
                </a:cubicBezTo>
                <a:close/>
                <a:moveTo>
                  <a:pt x="546919" y="477993"/>
                </a:moveTo>
                <a:cubicBezTo>
                  <a:pt x="563410" y="477993"/>
                  <a:pt x="576620" y="474207"/>
                  <a:pt x="586548" y="466635"/>
                </a:cubicBezTo>
                <a:cubicBezTo>
                  <a:pt x="596476" y="459062"/>
                  <a:pt x="601441" y="446189"/>
                  <a:pt x="601441" y="428016"/>
                </a:cubicBezTo>
                <a:cubicBezTo>
                  <a:pt x="601441" y="408832"/>
                  <a:pt x="596392" y="395286"/>
                  <a:pt x="586296" y="387377"/>
                </a:cubicBezTo>
                <a:cubicBezTo>
                  <a:pt x="576199" y="379468"/>
                  <a:pt x="561223" y="375514"/>
                  <a:pt x="541366" y="375514"/>
                </a:cubicBezTo>
                <a:lnTo>
                  <a:pt x="516125" y="375514"/>
                </a:lnTo>
                <a:lnTo>
                  <a:pt x="516125" y="476479"/>
                </a:lnTo>
                <a:cubicBezTo>
                  <a:pt x="519827" y="477152"/>
                  <a:pt x="524960" y="477573"/>
                  <a:pt x="531522" y="477741"/>
                </a:cubicBezTo>
                <a:cubicBezTo>
                  <a:pt x="538085" y="477909"/>
                  <a:pt x="543217" y="477993"/>
                  <a:pt x="546919" y="477993"/>
                </a:cubicBezTo>
                <a:close/>
                <a:moveTo>
                  <a:pt x="3324752" y="482537"/>
                </a:moveTo>
                <a:cubicBezTo>
                  <a:pt x="3341916" y="482537"/>
                  <a:pt x="3354958" y="473198"/>
                  <a:pt x="3363876" y="454519"/>
                </a:cubicBezTo>
                <a:cubicBezTo>
                  <a:pt x="3372794" y="435841"/>
                  <a:pt x="3377254" y="408664"/>
                  <a:pt x="3377254" y="372990"/>
                </a:cubicBezTo>
                <a:cubicBezTo>
                  <a:pt x="3377254" y="336979"/>
                  <a:pt x="3372794" y="309634"/>
                  <a:pt x="3363876" y="290956"/>
                </a:cubicBezTo>
                <a:cubicBezTo>
                  <a:pt x="3354958" y="272277"/>
                  <a:pt x="3341916" y="262938"/>
                  <a:pt x="3324752" y="262938"/>
                </a:cubicBezTo>
                <a:cubicBezTo>
                  <a:pt x="3307924" y="262938"/>
                  <a:pt x="3294968" y="272277"/>
                  <a:pt x="3285880" y="290956"/>
                </a:cubicBezTo>
                <a:cubicBezTo>
                  <a:pt x="3276794" y="309634"/>
                  <a:pt x="3272250" y="336979"/>
                  <a:pt x="3272250" y="372990"/>
                </a:cubicBezTo>
                <a:cubicBezTo>
                  <a:pt x="3272250" y="408664"/>
                  <a:pt x="3276794" y="435841"/>
                  <a:pt x="3285880" y="454519"/>
                </a:cubicBezTo>
                <a:cubicBezTo>
                  <a:pt x="3294968" y="473198"/>
                  <a:pt x="3307924" y="482537"/>
                  <a:pt x="3324752" y="482537"/>
                </a:cubicBezTo>
                <a:close/>
                <a:moveTo>
                  <a:pt x="1323054" y="522923"/>
                </a:moveTo>
                <a:lnTo>
                  <a:pt x="1260961" y="512826"/>
                </a:lnTo>
                <a:lnTo>
                  <a:pt x="1260961" y="453257"/>
                </a:lnTo>
                <a:lnTo>
                  <a:pt x="1206945" y="453257"/>
                </a:lnTo>
                <a:lnTo>
                  <a:pt x="1206945" y="401765"/>
                </a:lnTo>
                <a:lnTo>
                  <a:pt x="1260961" y="401765"/>
                </a:lnTo>
                <a:lnTo>
                  <a:pt x="1260961" y="304334"/>
                </a:lnTo>
                <a:cubicBezTo>
                  <a:pt x="1260961" y="284477"/>
                  <a:pt x="1262980" y="268407"/>
                  <a:pt x="1267019" y="256123"/>
                </a:cubicBezTo>
                <a:cubicBezTo>
                  <a:pt x="1271057" y="243839"/>
                  <a:pt x="1276947" y="234331"/>
                  <a:pt x="1284688" y="227600"/>
                </a:cubicBezTo>
                <a:cubicBezTo>
                  <a:pt x="1292428" y="220869"/>
                  <a:pt x="1301852" y="216326"/>
                  <a:pt x="1312958" y="213970"/>
                </a:cubicBezTo>
                <a:cubicBezTo>
                  <a:pt x="1324064" y="211614"/>
                  <a:pt x="1336853" y="210436"/>
                  <a:pt x="1351325" y="210436"/>
                </a:cubicBezTo>
                <a:cubicBezTo>
                  <a:pt x="1363777" y="210436"/>
                  <a:pt x="1376650" y="211446"/>
                  <a:pt x="1389944" y="213465"/>
                </a:cubicBezTo>
                <a:cubicBezTo>
                  <a:pt x="1403238" y="215484"/>
                  <a:pt x="1415606" y="218850"/>
                  <a:pt x="1427048" y="223562"/>
                </a:cubicBezTo>
                <a:lnTo>
                  <a:pt x="1418466" y="277073"/>
                </a:lnTo>
                <a:cubicBezTo>
                  <a:pt x="1412745" y="274381"/>
                  <a:pt x="1407444" y="272193"/>
                  <a:pt x="1402564" y="270510"/>
                </a:cubicBezTo>
                <a:cubicBezTo>
                  <a:pt x="1397684" y="268828"/>
                  <a:pt x="1392973" y="267566"/>
                  <a:pt x="1388429" y="266724"/>
                </a:cubicBezTo>
                <a:cubicBezTo>
                  <a:pt x="1383886" y="265883"/>
                  <a:pt x="1379174" y="265294"/>
                  <a:pt x="1374294" y="264957"/>
                </a:cubicBezTo>
                <a:cubicBezTo>
                  <a:pt x="1369414" y="264621"/>
                  <a:pt x="1364114" y="264452"/>
                  <a:pt x="1358392" y="264452"/>
                </a:cubicBezTo>
                <a:cubicBezTo>
                  <a:pt x="1353007" y="264452"/>
                  <a:pt x="1348127" y="264957"/>
                  <a:pt x="1343752" y="265967"/>
                </a:cubicBezTo>
                <a:cubicBezTo>
                  <a:pt x="1339377" y="266977"/>
                  <a:pt x="1335675" y="268996"/>
                  <a:pt x="1332646" y="272025"/>
                </a:cubicBezTo>
                <a:cubicBezTo>
                  <a:pt x="1329617" y="275054"/>
                  <a:pt x="1327261" y="279261"/>
                  <a:pt x="1325579" y="284645"/>
                </a:cubicBezTo>
                <a:cubicBezTo>
                  <a:pt x="1323896" y="290030"/>
                  <a:pt x="1323054" y="297098"/>
                  <a:pt x="1323054" y="305848"/>
                </a:cubicBezTo>
                <a:lnTo>
                  <a:pt x="1323054" y="401765"/>
                </a:lnTo>
                <a:lnTo>
                  <a:pt x="1422505" y="401765"/>
                </a:lnTo>
                <a:lnTo>
                  <a:pt x="1422505" y="453257"/>
                </a:lnTo>
                <a:lnTo>
                  <a:pt x="1323054" y="453257"/>
                </a:lnTo>
                <a:close/>
                <a:moveTo>
                  <a:pt x="539852" y="532010"/>
                </a:moveTo>
                <a:cubicBezTo>
                  <a:pt x="534131" y="532010"/>
                  <a:pt x="527568" y="531841"/>
                  <a:pt x="520164" y="531505"/>
                </a:cubicBezTo>
                <a:cubicBezTo>
                  <a:pt x="512760" y="531168"/>
                  <a:pt x="505187" y="530748"/>
                  <a:pt x="497447" y="530243"/>
                </a:cubicBezTo>
                <a:cubicBezTo>
                  <a:pt x="489706" y="529738"/>
                  <a:pt x="482049" y="528981"/>
                  <a:pt x="474477" y="527971"/>
                </a:cubicBezTo>
                <a:cubicBezTo>
                  <a:pt x="466905" y="526961"/>
                  <a:pt x="460090" y="525784"/>
                  <a:pt x="454032" y="524437"/>
                </a:cubicBezTo>
                <a:lnTo>
                  <a:pt x="454032" y="215989"/>
                </a:lnTo>
                <a:lnTo>
                  <a:pt x="516125" y="215989"/>
                </a:lnTo>
                <a:lnTo>
                  <a:pt x="516125" y="321498"/>
                </a:lnTo>
                <a:lnTo>
                  <a:pt x="538337" y="321498"/>
                </a:lnTo>
                <a:cubicBezTo>
                  <a:pt x="578723" y="321498"/>
                  <a:pt x="609938" y="329827"/>
                  <a:pt x="631982" y="346486"/>
                </a:cubicBezTo>
                <a:cubicBezTo>
                  <a:pt x="654026" y="363146"/>
                  <a:pt x="665048" y="390154"/>
                  <a:pt x="665048" y="427511"/>
                </a:cubicBezTo>
                <a:cubicBezTo>
                  <a:pt x="665048" y="464531"/>
                  <a:pt x="654111" y="491203"/>
                  <a:pt x="632235" y="507526"/>
                </a:cubicBezTo>
                <a:cubicBezTo>
                  <a:pt x="610359" y="523848"/>
                  <a:pt x="579565" y="532010"/>
                  <a:pt x="539852" y="532010"/>
                </a:cubicBezTo>
                <a:close/>
                <a:moveTo>
                  <a:pt x="3816452" y="535544"/>
                </a:moveTo>
                <a:cubicBezTo>
                  <a:pt x="3797604" y="535544"/>
                  <a:pt x="3780694" y="532430"/>
                  <a:pt x="3765716" y="526204"/>
                </a:cubicBezTo>
                <a:cubicBezTo>
                  <a:pt x="3750740" y="519978"/>
                  <a:pt x="3738708" y="513836"/>
                  <a:pt x="3729622" y="507778"/>
                </a:cubicBezTo>
                <a:lnTo>
                  <a:pt x="3751834" y="462344"/>
                </a:lnTo>
                <a:cubicBezTo>
                  <a:pt x="3760248" y="468065"/>
                  <a:pt x="3770260" y="472861"/>
                  <a:pt x="3781872" y="476731"/>
                </a:cubicBezTo>
                <a:cubicBezTo>
                  <a:pt x="3793482" y="480602"/>
                  <a:pt x="3805178" y="482537"/>
                  <a:pt x="3816956" y="482537"/>
                </a:cubicBezTo>
                <a:cubicBezTo>
                  <a:pt x="3829072" y="482537"/>
                  <a:pt x="3838580" y="479255"/>
                  <a:pt x="3845480" y="472693"/>
                </a:cubicBezTo>
                <a:cubicBezTo>
                  <a:pt x="3852378" y="466130"/>
                  <a:pt x="3855828" y="457127"/>
                  <a:pt x="3855828" y="445685"/>
                </a:cubicBezTo>
                <a:cubicBezTo>
                  <a:pt x="3855828" y="437944"/>
                  <a:pt x="3854230" y="431550"/>
                  <a:pt x="3851032" y="426501"/>
                </a:cubicBezTo>
                <a:cubicBezTo>
                  <a:pt x="3847836" y="421453"/>
                  <a:pt x="3843712" y="417414"/>
                  <a:pt x="3838664" y="414385"/>
                </a:cubicBezTo>
                <a:cubicBezTo>
                  <a:pt x="3833616" y="411357"/>
                  <a:pt x="3827894" y="409169"/>
                  <a:pt x="3821500" y="407823"/>
                </a:cubicBezTo>
                <a:cubicBezTo>
                  <a:pt x="3815106" y="406477"/>
                  <a:pt x="3808712" y="405803"/>
                  <a:pt x="3802316" y="405803"/>
                </a:cubicBezTo>
                <a:lnTo>
                  <a:pt x="3779094" y="405803"/>
                </a:lnTo>
                <a:lnTo>
                  <a:pt x="3779094" y="354311"/>
                </a:lnTo>
                <a:lnTo>
                  <a:pt x="3798278" y="354311"/>
                </a:lnTo>
                <a:cubicBezTo>
                  <a:pt x="3818470" y="354311"/>
                  <a:pt x="3835130" y="351030"/>
                  <a:pt x="3848256" y="344467"/>
                </a:cubicBezTo>
                <a:cubicBezTo>
                  <a:pt x="3861380" y="337904"/>
                  <a:pt x="3867944" y="326378"/>
                  <a:pt x="3867944" y="309887"/>
                </a:cubicBezTo>
                <a:cubicBezTo>
                  <a:pt x="3867944" y="296425"/>
                  <a:pt x="3863652" y="285150"/>
                  <a:pt x="3855072" y="276063"/>
                </a:cubicBezTo>
                <a:cubicBezTo>
                  <a:pt x="3846488" y="266977"/>
                  <a:pt x="3831596" y="262433"/>
                  <a:pt x="3810394" y="262433"/>
                </a:cubicBezTo>
                <a:cubicBezTo>
                  <a:pt x="3793230" y="262433"/>
                  <a:pt x="3778506" y="264284"/>
                  <a:pt x="3766222" y="267986"/>
                </a:cubicBezTo>
                <a:cubicBezTo>
                  <a:pt x="3753938" y="271688"/>
                  <a:pt x="3743924" y="275222"/>
                  <a:pt x="3736184" y="278588"/>
                </a:cubicBezTo>
                <a:lnTo>
                  <a:pt x="3724068" y="226591"/>
                </a:lnTo>
                <a:cubicBezTo>
                  <a:pt x="3727770" y="224908"/>
                  <a:pt x="3732988" y="223057"/>
                  <a:pt x="3739718" y="221037"/>
                </a:cubicBezTo>
                <a:cubicBezTo>
                  <a:pt x="3746450" y="219018"/>
                  <a:pt x="3753770" y="217167"/>
                  <a:pt x="3761678" y="215484"/>
                </a:cubicBezTo>
                <a:cubicBezTo>
                  <a:pt x="3769588" y="213802"/>
                  <a:pt x="3777832" y="212371"/>
                  <a:pt x="3786414" y="211193"/>
                </a:cubicBezTo>
                <a:cubicBezTo>
                  <a:pt x="3794996" y="210015"/>
                  <a:pt x="3803158" y="209427"/>
                  <a:pt x="3810898" y="209427"/>
                </a:cubicBezTo>
                <a:cubicBezTo>
                  <a:pt x="3831764" y="209427"/>
                  <a:pt x="3849770" y="211867"/>
                  <a:pt x="3864916" y="216746"/>
                </a:cubicBezTo>
                <a:cubicBezTo>
                  <a:pt x="3880060" y="221626"/>
                  <a:pt x="3892512" y="228526"/>
                  <a:pt x="3902272" y="237444"/>
                </a:cubicBezTo>
                <a:cubicBezTo>
                  <a:pt x="3912032" y="246363"/>
                  <a:pt x="3919268" y="256880"/>
                  <a:pt x="3923980" y="268996"/>
                </a:cubicBezTo>
                <a:cubicBezTo>
                  <a:pt x="3928692" y="281112"/>
                  <a:pt x="3931048" y="294405"/>
                  <a:pt x="3931048" y="308877"/>
                </a:cubicBezTo>
                <a:cubicBezTo>
                  <a:pt x="3931048" y="327051"/>
                  <a:pt x="3926588" y="342700"/>
                  <a:pt x="3917668" y="355826"/>
                </a:cubicBezTo>
                <a:cubicBezTo>
                  <a:pt x="3908750" y="368951"/>
                  <a:pt x="3896214" y="378879"/>
                  <a:pt x="3880060" y="385610"/>
                </a:cubicBezTo>
                <a:cubicBezTo>
                  <a:pt x="3891840" y="391668"/>
                  <a:pt x="3901262" y="400419"/>
                  <a:pt x="3908330" y="411861"/>
                </a:cubicBezTo>
                <a:cubicBezTo>
                  <a:pt x="3915398" y="423304"/>
                  <a:pt x="3918932" y="435252"/>
                  <a:pt x="3918932" y="447704"/>
                </a:cubicBezTo>
                <a:cubicBezTo>
                  <a:pt x="3918932" y="460156"/>
                  <a:pt x="3916912" y="471767"/>
                  <a:pt x="3912874" y="482537"/>
                </a:cubicBezTo>
                <a:cubicBezTo>
                  <a:pt x="3908834" y="493306"/>
                  <a:pt x="3902608" y="502646"/>
                  <a:pt x="3894196" y="510555"/>
                </a:cubicBezTo>
                <a:cubicBezTo>
                  <a:pt x="3885780" y="518464"/>
                  <a:pt x="3875096" y="524606"/>
                  <a:pt x="3862138" y="528981"/>
                </a:cubicBezTo>
                <a:cubicBezTo>
                  <a:pt x="3849180" y="533356"/>
                  <a:pt x="3833952" y="535544"/>
                  <a:pt x="3816452" y="535544"/>
                </a:cubicBezTo>
                <a:close/>
                <a:moveTo>
                  <a:pt x="3567354" y="535544"/>
                </a:moveTo>
                <a:cubicBezTo>
                  <a:pt x="3549854" y="535544"/>
                  <a:pt x="3532268" y="532178"/>
                  <a:pt x="3514600" y="525447"/>
                </a:cubicBezTo>
                <a:cubicBezTo>
                  <a:pt x="3496930" y="518716"/>
                  <a:pt x="3481366" y="508283"/>
                  <a:pt x="3467904" y="494148"/>
                </a:cubicBezTo>
                <a:lnTo>
                  <a:pt x="3498698" y="450733"/>
                </a:lnTo>
                <a:cubicBezTo>
                  <a:pt x="3509130" y="461839"/>
                  <a:pt x="3519732" y="469748"/>
                  <a:pt x="3530502" y="474460"/>
                </a:cubicBezTo>
                <a:cubicBezTo>
                  <a:pt x="3541272" y="479171"/>
                  <a:pt x="3551536" y="481527"/>
                  <a:pt x="3561296" y="481527"/>
                </a:cubicBezTo>
                <a:cubicBezTo>
                  <a:pt x="3573076" y="481527"/>
                  <a:pt x="3582836" y="478078"/>
                  <a:pt x="3590576" y="471178"/>
                </a:cubicBezTo>
                <a:cubicBezTo>
                  <a:pt x="3598316" y="464279"/>
                  <a:pt x="3602186" y="454435"/>
                  <a:pt x="3602188" y="441646"/>
                </a:cubicBezTo>
                <a:cubicBezTo>
                  <a:pt x="3602186" y="432559"/>
                  <a:pt x="3599074" y="423641"/>
                  <a:pt x="3592848" y="414890"/>
                </a:cubicBezTo>
                <a:cubicBezTo>
                  <a:pt x="3586622" y="406140"/>
                  <a:pt x="3578712" y="397053"/>
                  <a:pt x="3569120" y="387630"/>
                </a:cubicBezTo>
                <a:cubicBezTo>
                  <a:pt x="3559528" y="378206"/>
                  <a:pt x="3549264" y="368362"/>
                  <a:pt x="3538326" y="358097"/>
                </a:cubicBezTo>
                <a:cubicBezTo>
                  <a:pt x="3527388" y="347833"/>
                  <a:pt x="3517124" y="336727"/>
                  <a:pt x="3507532" y="324779"/>
                </a:cubicBezTo>
                <a:cubicBezTo>
                  <a:pt x="3497940" y="312831"/>
                  <a:pt x="3490032" y="299790"/>
                  <a:pt x="3483806" y="285655"/>
                </a:cubicBezTo>
                <a:cubicBezTo>
                  <a:pt x="3477580" y="271520"/>
                  <a:pt x="3474466" y="256039"/>
                  <a:pt x="3474466" y="239211"/>
                </a:cubicBezTo>
                <a:cubicBezTo>
                  <a:pt x="3474466" y="237192"/>
                  <a:pt x="3474382" y="233658"/>
                  <a:pt x="3474214" y="228610"/>
                </a:cubicBezTo>
                <a:cubicBezTo>
                  <a:pt x="3474046" y="223562"/>
                  <a:pt x="3474466" y="219355"/>
                  <a:pt x="3475476" y="215989"/>
                </a:cubicBezTo>
                <a:lnTo>
                  <a:pt x="3679426" y="215989"/>
                </a:lnTo>
                <a:lnTo>
                  <a:pt x="3679426" y="267481"/>
                </a:lnTo>
                <a:lnTo>
                  <a:pt x="3545142" y="267481"/>
                </a:lnTo>
                <a:cubicBezTo>
                  <a:pt x="3545142" y="272530"/>
                  <a:pt x="3546908" y="278083"/>
                  <a:pt x="3550442" y="284141"/>
                </a:cubicBezTo>
                <a:cubicBezTo>
                  <a:pt x="3553976" y="290198"/>
                  <a:pt x="3558268" y="296172"/>
                  <a:pt x="3563316" y="302062"/>
                </a:cubicBezTo>
                <a:cubicBezTo>
                  <a:pt x="3568364" y="307952"/>
                  <a:pt x="3573748" y="313673"/>
                  <a:pt x="3579470" y="319226"/>
                </a:cubicBezTo>
                <a:cubicBezTo>
                  <a:pt x="3585190" y="324779"/>
                  <a:pt x="3590240" y="329575"/>
                  <a:pt x="3594614" y="333613"/>
                </a:cubicBezTo>
                <a:cubicBezTo>
                  <a:pt x="3603364" y="341691"/>
                  <a:pt x="3611946" y="350104"/>
                  <a:pt x="3620360" y="358855"/>
                </a:cubicBezTo>
                <a:cubicBezTo>
                  <a:pt x="3628774" y="367605"/>
                  <a:pt x="3636346" y="376692"/>
                  <a:pt x="3643078" y="386115"/>
                </a:cubicBezTo>
                <a:cubicBezTo>
                  <a:pt x="3649808" y="395539"/>
                  <a:pt x="3655194" y="405214"/>
                  <a:pt x="3659232" y="415143"/>
                </a:cubicBezTo>
                <a:cubicBezTo>
                  <a:pt x="3663270" y="425071"/>
                  <a:pt x="3665290" y="435420"/>
                  <a:pt x="3665290" y="446189"/>
                </a:cubicBezTo>
                <a:cubicBezTo>
                  <a:pt x="3665290" y="460998"/>
                  <a:pt x="3662598" y="474039"/>
                  <a:pt x="3657212" y="485313"/>
                </a:cubicBezTo>
                <a:cubicBezTo>
                  <a:pt x="3651828" y="496588"/>
                  <a:pt x="3644592" y="505927"/>
                  <a:pt x="3635506" y="513331"/>
                </a:cubicBezTo>
                <a:cubicBezTo>
                  <a:pt x="3626418" y="520735"/>
                  <a:pt x="3615986" y="526288"/>
                  <a:pt x="3604206" y="529990"/>
                </a:cubicBezTo>
                <a:cubicBezTo>
                  <a:pt x="3592426" y="533692"/>
                  <a:pt x="3580142" y="535544"/>
                  <a:pt x="3567354" y="535544"/>
                </a:cubicBezTo>
                <a:close/>
                <a:moveTo>
                  <a:pt x="3324752" y="535544"/>
                </a:moveTo>
                <a:cubicBezTo>
                  <a:pt x="3290088" y="535544"/>
                  <a:pt x="3263332" y="522081"/>
                  <a:pt x="3244486" y="495157"/>
                </a:cubicBezTo>
                <a:cubicBezTo>
                  <a:pt x="3225638" y="468233"/>
                  <a:pt x="3216214" y="427511"/>
                  <a:pt x="3216214" y="372990"/>
                </a:cubicBezTo>
                <a:cubicBezTo>
                  <a:pt x="3216214" y="317796"/>
                  <a:pt x="3225470" y="276737"/>
                  <a:pt x="3243980" y="249813"/>
                </a:cubicBezTo>
                <a:cubicBezTo>
                  <a:pt x="3262490" y="222889"/>
                  <a:pt x="3289414" y="209427"/>
                  <a:pt x="3324752" y="209427"/>
                </a:cubicBezTo>
                <a:cubicBezTo>
                  <a:pt x="3360090" y="209427"/>
                  <a:pt x="3387014" y="222889"/>
                  <a:pt x="3405524" y="249813"/>
                </a:cubicBezTo>
                <a:cubicBezTo>
                  <a:pt x="3424034" y="276737"/>
                  <a:pt x="3433290" y="317796"/>
                  <a:pt x="3433290" y="372990"/>
                </a:cubicBezTo>
                <a:cubicBezTo>
                  <a:pt x="3433290" y="427847"/>
                  <a:pt x="3424034" y="468654"/>
                  <a:pt x="3405524" y="495410"/>
                </a:cubicBezTo>
                <a:cubicBezTo>
                  <a:pt x="3387014" y="522166"/>
                  <a:pt x="3360090" y="535544"/>
                  <a:pt x="3324752" y="535544"/>
                </a:cubicBezTo>
                <a:close/>
                <a:moveTo>
                  <a:pt x="3062528" y="535544"/>
                </a:moveTo>
                <a:cubicBezTo>
                  <a:pt x="3045028" y="535544"/>
                  <a:pt x="3027444" y="532178"/>
                  <a:pt x="3009774" y="525447"/>
                </a:cubicBezTo>
                <a:cubicBezTo>
                  <a:pt x="2992106" y="518716"/>
                  <a:pt x="2976540" y="508283"/>
                  <a:pt x="2963078" y="494148"/>
                </a:cubicBezTo>
                <a:lnTo>
                  <a:pt x="2993872" y="450733"/>
                </a:lnTo>
                <a:cubicBezTo>
                  <a:pt x="3004306" y="461839"/>
                  <a:pt x="3014908" y="469748"/>
                  <a:pt x="3025676" y="474460"/>
                </a:cubicBezTo>
                <a:cubicBezTo>
                  <a:pt x="3036446" y="479171"/>
                  <a:pt x="3046712" y="481527"/>
                  <a:pt x="3056472" y="481527"/>
                </a:cubicBezTo>
                <a:cubicBezTo>
                  <a:pt x="3068250" y="481527"/>
                  <a:pt x="3078010" y="478078"/>
                  <a:pt x="3085752" y="471178"/>
                </a:cubicBezTo>
                <a:cubicBezTo>
                  <a:pt x="3093492" y="464279"/>
                  <a:pt x="3097362" y="454435"/>
                  <a:pt x="3097362" y="441646"/>
                </a:cubicBezTo>
                <a:cubicBezTo>
                  <a:pt x="3097362" y="432559"/>
                  <a:pt x="3094248" y="423641"/>
                  <a:pt x="3088022" y="414890"/>
                </a:cubicBezTo>
                <a:cubicBezTo>
                  <a:pt x="3081796" y="406140"/>
                  <a:pt x="3073888" y="397053"/>
                  <a:pt x="3064296" y="387630"/>
                </a:cubicBezTo>
                <a:cubicBezTo>
                  <a:pt x="3054704" y="378206"/>
                  <a:pt x="3044440" y="368362"/>
                  <a:pt x="3033502" y="358097"/>
                </a:cubicBezTo>
                <a:cubicBezTo>
                  <a:pt x="3022564" y="347833"/>
                  <a:pt x="3012298" y="336727"/>
                  <a:pt x="3002708" y="324779"/>
                </a:cubicBezTo>
                <a:cubicBezTo>
                  <a:pt x="2993116" y="312831"/>
                  <a:pt x="2985206" y="299790"/>
                  <a:pt x="2978980" y="285655"/>
                </a:cubicBezTo>
                <a:cubicBezTo>
                  <a:pt x="2972754" y="271520"/>
                  <a:pt x="2969642" y="256039"/>
                  <a:pt x="2969642" y="239211"/>
                </a:cubicBezTo>
                <a:cubicBezTo>
                  <a:pt x="2969642" y="237192"/>
                  <a:pt x="2969558" y="233658"/>
                  <a:pt x="2969388" y="228610"/>
                </a:cubicBezTo>
                <a:cubicBezTo>
                  <a:pt x="2969220" y="223562"/>
                  <a:pt x="2969640" y="219355"/>
                  <a:pt x="2970650" y="215989"/>
                </a:cubicBezTo>
                <a:lnTo>
                  <a:pt x="3174600" y="215989"/>
                </a:lnTo>
                <a:lnTo>
                  <a:pt x="3174600" y="267481"/>
                </a:lnTo>
                <a:lnTo>
                  <a:pt x="3040316" y="267481"/>
                </a:lnTo>
                <a:cubicBezTo>
                  <a:pt x="3040316" y="272530"/>
                  <a:pt x="3042084" y="278083"/>
                  <a:pt x="3045618" y="284141"/>
                </a:cubicBezTo>
                <a:cubicBezTo>
                  <a:pt x="3049152" y="290198"/>
                  <a:pt x="3053442" y="296172"/>
                  <a:pt x="3058490" y="302062"/>
                </a:cubicBezTo>
                <a:cubicBezTo>
                  <a:pt x="3063538" y="307952"/>
                  <a:pt x="3068924" y="313673"/>
                  <a:pt x="3074644" y="319226"/>
                </a:cubicBezTo>
                <a:cubicBezTo>
                  <a:pt x="3080366" y="324779"/>
                  <a:pt x="3085414" y="329575"/>
                  <a:pt x="3089790" y="333613"/>
                </a:cubicBezTo>
                <a:cubicBezTo>
                  <a:pt x="3098540" y="341691"/>
                  <a:pt x="3107122" y="350104"/>
                  <a:pt x="3115536" y="358855"/>
                </a:cubicBezTo>
                <a:cubicBezTo>
                  <a:pt x="3123950" y="367605"/>
                  <a:pt x="3131522" y="376692"/>
                  <a:pt x="3138252" y="386115"/>
                </a:cubicBezTo>
                <a:cubicBezTo>
                  <a:pt x="3144984" y="395539"/>
                  <a:pt x="3150368" y="405214"/>
                  <a:pt x="3154408" y="415143"/>
                </a:cubicBezTo>
                <a:cubicBezTo>
                  <a:pt x="3158446" y="425071"/>
                  <a:pt x="3160464" y="435420"/>
                  <a:pt x="3160464" y="446189"/>
                </a:cubicBezTo>
                <a:cubicBezTo>
                  <a:pt x="3160464" y="460998"/>
                  <a:pt x="3157772" y="474039"/>
                  <a:pt x="3152388" y="485313"/>
                </a:cubicBezTo>
                <a:cubicBezTo>
                  <a:pt x="3147002" y="496588"/>
                  <a:pt x="3139766" y="505927"/>
                  <a:pt x="3130680" y="513331"/>
                </a:cubicBezTo>
                <a:cubicBezTo>
                  <a:pt x="3121594" y="520735"/>
                  <a:pt x="3111160" y="526288"/>
                  <a:pt x="3099382" y="529990"/>
                </a:cubicBezTo>
                <a:cubicBezTo>
                  <a:pt x="3087602" y="533692"/>
                  <a:pt x="3075318" y="535544"/>
                  <a:pt x="3062528" y="535544"/>
                </a:cubicBezTo>
                <a:close/>
                <a:moveTo>
                  <a:pt x="2292890" y="561290"/>
                </a:moveTo>
                <a:cubicBezTo>
                  <a:pt x="2282120" y="561290"/>
                  <a:pt x="2272949" y="557756"/>
                  <a:pt x="2265377" y="550688"/>
                </a:cubicBezTo>
                <a:cubicBezTo>
                  <a:pt x="2257805" y="543621"/>
                  <a:pt x="2254018" y="533861"/>
                  <a:pt x="2254018" y="521408"/>
                </a:cubicBezTo>
                <a:cubicBezTo>
                  <a:pt x="2254018" y="509293"/>
                  <a:pt x="2257805" y="499701"/>
                  <a:pt x="2265377" y="492633"/>
                </a:cubicBezTo>
                <a:cubicBezTo>
                  <a:pt x="2272949" y="485566"/>
                  <a:pt x="2282120" y="482032"/>
                  <a:pt x="2292890" y="482032"/>
                </a:cubicBezTo>
                <a:cubicBezTo>
                  <a:pt x="2303660" y="482032"/>
                  <a:pt x="2312914" y="485566"/>
                  <a:pt x="2320655" y="492633"/>
                </a:cubicBezTo>
                <a:cubicBezTo>
                  <a:pt x="2328396" y="499701"/>
                  <a:pt x="2332266" y="509293"/>
                  <a:pt x="2332266" y="521408"/>
                </a:cubicBezTo>
                <a:cubicBezTo>
                  <a:pt x="2332266" y="533861"/>
                  <a:pt x="2328396" y="543621"/>
                  <a:pt x="2320655" y="550688"/>
                </a:cubicBezTo>
                <a:cubicBezTo>
                  <a:pt x="2312914" y="557756"/>
                  <a:pt x="2303660" y="561290"/>
                  <a:pt x="2292890" y="561290"/>
                </a:cubicBezTo>
                <a:close/>
                <a:moveTo>
                  <a:pt x="1959420" y="563309"/>
                </a:moveTo>
                <a:lnTo>
                  <a:pt x="1959420" y="511817"/>
                </a:lnTo>
                <a:lnTo>
                  <a:pt x="2025047" y="511817"/>
                </a:lnTo>
                <a:lnTo>
                  <a:pt x="2025047" y="310392"/>
                </a:lnTo>
                <a:cubicBezTo>
                  <a:pt x="2025047" y="277746"/>
                  <a:pt x="2031610" y="252926"/>
                  <a:pt x="2044735" y="235930"/>
                </a:cubicBezTo>
                <a:cubicBezTo>
                  <a:pt x="2057860" y="218934"/>
                  <a:pt x="2078727" y="210436"/>
                  <a:pt x="2107333" y="210436"/>
                </a:cubicBezTo>
                <a:cubicBezTo>
                  <a:pt x="2117767" y="210436"/>
                  <a:pt x="2127106" y="211109"/>
                  <a:pt x="2135351" y="212455"/>
                </a:cubicBezTo>
                <a:cubicBezTo>
                  <a:pt x="2143597" y="213802"/>
                  <a:pt x="2150580" y="215400"/>
                  <a:pt x="2156302" y="217251"/>
                </a:cubicBezTo>
                <a:cubicBezTo>
                  <a:pt x="2162023" y="219102"/>
                  <a:pt x="2166650" y="220869"/>
                  <a:pt x="2170184" y="222552"/>
                </a:cubicBezTo>
                <a:cubicBezTo>
                  <a:pt x="2173718" y="224235"/>
                  <a:pt x="2175990" y="225413"/>
                  <a:pt x="2176999" y="226086"/>
                </a:cubicBezTo>
                <a:lnTo>
                  <a:pt x="2168922" y="276063"/>
                </a:lnTo>
                <a:cubicBezTo>
                  <a:pt x="2166230" y="275054"/>
                  <a:pt x="2160677" y="272866"/>
                  <a:pt x="2152263" y="269501"/>
                </a:cubicBezTo>
                <a:cubicBezTo>
                  <a:pt x="2143849" y="266135"/>
                  <a:pt x="2133416" y="264452"/>
                  <a:pt x="2120964" y="264452"/>
                </a:cubicBezTo>
                <a:cubicBezTo>
                  <a:pt x="2111204" y="264452"/>
                  <a:pt x="2103126" y="267313"/>
                  <a:pt x="2096732" y="273034"/>
                </a:cubicBezTo>
                <a:cubicBezTo>
                  <a:pt x="2090338" y="278756"/>
                  <a:pt x="2087140" y="289694"/>
                  <a:pt x="2087140" y="305848"/>
                </a:cubicBezTo>
                <a:lnTo>
                  <a:pt x="2087140" y="563309"/>
                </a:lnTo>
                <a:close/>
                <a:moveTo>
                  <a:pt x="1607052" y="565833"/>
                </a:moveTo>
                <a:cubicBezTo>
                  <a:pt x="1594263" y="565833"/>
                  <a:pt x="1581811" y="564234"/>
                  <a:pt x="1569695" y="561037"/>
                </a:cubicBezTo>
                <a:cubicBezTo>
                  <a:pt x="1557579" y="557840"/>
                  <a:pt x="1546810" y="552455"/>
                  <a:pt x="1537386" y="544883"/>
                </a:cubicBezTo>
                <a:cubicBezTo>
                  <a:pt x="1527963" y="537310"/>
                  <a:pt x="1520474" y="527214"/>
                  <a:pt x="1514921" y="514593"/>
                </a:cubicBezTo>
                <a:cubicBezTo>
                  <a:pt x="1509368" y="501973"/>
                  <a:pt x="1506592" y="486071"/>
                  <a:pt x="1506592" y="466887"/>
                </a:cubicBezTo>
                <a:lnTo>
                  <a:pt x="1506592" y="453257"/>
                </a:lnTo>
                <a:lnTo>
                  <a:pt x="1454595" y="453257"/>
                </a:lnTo>
                <a:lnTo>
                  <a:pt x="1454595" y="401765"/>
                </a:lnTo>
                <a:lnTo>
                  <a:pt x="1506592" y="401765"/>
                </a:lnTo>
                <a:lnTo>
                  <a:pt x="1506592" y="215989"/>
                </a:lnTo>
                <a:lnTo>
                  <a:pt x="1569190" y="215989"/>
                </a:lnTo>
                <a:lnTo>
                  <a:pt x="1569190" y="401765"/>
                </a:lnTo>
                <a:lnTo>
                  <a:pt x="1666621" y="401765"/>
                </a:lnTo>
                <a:lnTo>
                  <a:pt x="1666621" y="453257"/>
                </a:lnTo>
                <a:lnTo>
                  <a:pt x="1569190" y="453257"/>
                </a:lnTo>
                <a:lnTo>
                  <a:pt x="1569190" y="465878"/>
                </a:lnTo>
                <a:cubicBezTo>
                  <a:pt x="1569190" y="475974"/>
                  <a:pt x="1570368" y="484135"/>
                  <a:pt x="1572724" y="490362"/>
                </a:cubicBezTo>
                <a:cubicBezTo>
                  <a:pt x="1575080" y="496588"/>
                  <a:pt x="1578193" y="501384"/>
                  <a:pt x="1582063" y="504749"/>
                </a:cubicBezTo>
                <a:cubicBezTo>
                  <a:pt x="1585933" y="508115"/>
                  <a:pt x="1590477" y="510302"/>
                  <a:pt x="1595693" y="511312"/>
                </a:cubicBezTo>
                <a:cubicBezTo>
                  <a:pt x="1600910" y="512322"/>
                  <a:pt x="1606379" y="512826"/>
                  <a:pt x="1612100" y="512826"/>
                </a:cubicBezTo>
                <a:cubicBezTo>
                  <a:pt x="1622533" y="512826"/>
                  <a:pt x="1633555" y="511396"/>
                  <a:pt x="1645166" y="508535"/>
                </a:cubicBezTo>
                <a:cubicBezTo>
                  <a:pt x="1656777" y="505675"/>
                  <a:pt x="1666453" y="502898"/>
                  <a:pt x="1674194" y="500206"/>
                </a:cubicBezTo>
                <a:lnTo>
                  <a:pt x="1684795" y="550688"/>
                </a:lnTo>
                <a:cubicBezTo>
                  <a:pt x="1673689" y="556073"/>
                  <a:pt x="1661236" y="559943"/>
                  <a:pt x="1647438" y="562299"/>
                </a:cubicBezTo>
                <a:cubicBezTo>
                  <a:pt x="1633639" y="564655"/>
                  <a:pt x="1620178" y="565833"/>
                  <a:pt x="1607052" y="565833"/>
                </a:cubicBezTo>
                <a:close/>
                <a:moveTo>
                  <a:pt x="0" y="796029"/>
                </a:moveTo>
                <a:lnTo>
                  <a:pt x="4876802" y="796029"/>
                </a:lnTo>
                <a:lnTo>
                  <a:pt x="4824822" y="344498"/>
                </a:lnTo>
                <a:cubicBezTo>
                  <a:pt x="4801968" y="145891"/>
                  <a:pt x="4682292" y="207"/>
                  <a:pt x="4541980" y="155"/>
                </a:cubicBezTo>
                <a:lnTo>
                  <a:pt x="0" y="0"/>
                </a:lnTo>
                <a:close/>
              </a:path>
            </a:pathLst>
          </a:custGeom>
          <a:solidFill>
            <a:schemeClr val="bg1"/>
          </a:solidFill>
          <a:ln w="2834" cap="flat">
            <a:noFill/>
            <a:prstDash val="solid"/>
            <a:miter/>
          </a:ln>
        </p:spPr>
        <p:txBody>
          <a:bodyPr wrap="square" rtlCol="0" anchor="ctr">
            <a:noAutofit/>
          </a:bodyPr>
          <a:lstStyle/>
          <a:p>
            <a:endParaRPr lang="en-US" dirty="0"/>
          </a:p>
        </p:txBody>
      </p:sp>
      <p:pic>
        <p:nvPicPr>
          <p:cNvPr id="8" name="Imagen 7" descr="Un dibujo de una cara feliz&#10;&#10;Descripción generada automáticamente con confianza baja">
            <a:extLst>
              <a:ext uri="{FF2B5EF4-FFF2-40B4-BE49-F238E27FC236}">
                <a16:creationId xmlns:a16="http://schemas.microsoft.com/office/drawing/2014/main" id="{A82FAAE7-F450-2EFB-B470-9CA2B285AACF}"/>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7824450" y="406400"/>
            <a:ext cx="1801936" cy="934010"/>
          </a:xfrm>
          <a:prstGeom prst="rect">
            <a:avLst/>
          </a:prstGeom>
        </p:spPr>
      </p:pic>
      <p:sp>
        <p:nvSpPr>
          <p:cNvPr id="10" name="Título 9">
            <a:extLst>
              <a:ext uri="{FF2B5EF4-FFF2-40B4-BE49-F238E27FC236}">
                <a16:creationId xmlns:a16="http://schemas.microsoft.com/office/drawing/2014/main" id="{7E8DAFFC-ADDB-1273-AA91-4852BCB21C8E}"/>
              </a:ext>
            </a:extLst>
          </p:cNvPr>
          <p:cNvSpPr>
            <a:spLocks noGrp="1"/>
          </p:cNvSpPr>
          <p:nvPr>
            <p:ph type="title" hasCustomPrompt="1"/>
          </p:nvPr>
        </p:nvSpPr>
        <p:spPr>
          <a:xfrm>
            <a:off x="7104380" y="1495932"/>
            <a:ext cx="10692384" cy="646331"/>
          </a:xfrm>
        </p:spPr>
        <p:txBody>
          <a:bodyPr/>
          <a:lstStyle>
            <a:lvl1pPr>
              <a:defRPr sz="4200" b="1" i="0">
                <a:solidFill>
                  <a:schemeClr val="bg1"/>
                </a:solidFill>
                <a:latin typeface="Ubuntu" panose="020B0504030602030204" pitchFamily="34" charset="0"/>
              </a:defRPr>
            </a:lvl1pPr>
          </a:lstStyle>
          <a:p>
            <a:r>
              <a:rPr lang="es-ES" dirty="0"/>
              <a:t>ASDFASFD</a:t>
            </a:r>
          </a:p>
        </p:txBody>
      </p:sp>
      <p:sp>
        <p:nvSpPr>
          <p:cNvPr id="11" name="object 12">
            <a:extLst>
              <a:ext uri="{FF2B5EF4-FFF2-40B4-BE49-F238E27FC236}">
                <a16:creationId xmlns:a16="http://schemas.microsoft.com/office/drawing/2014/main" id="{527854C5-8C21-D1AB-7E04-F771C691CE29}"/>
              </a:ext>
            </a:extLst>
          </p:cNvPr>
          <p:cNvSpPr txBox="1"/>
          <p:nvPr userDrawn="1"/>
        </p:nvSpPr>
        <p:spPr>
          <a:xfrm>
            <a:off x="7104380" y="807573"/>
            <a:ext cx="9881870" cy="567463"/>
          </a:xfrm>
          <a:prstGeom prst="rect">
            <a:avLst/>
          </a:prstGeom>
        </p:spPr>
        <p:txBody>
          <a:bodyPr vert="horz" wrap="square" lIns="0" tIns="13335" rIns="0" bIns="0" rtlCol="0">
            <a:spAutoFit/>
          </a:bodyPr>
          <a:lstStyle/>
          <a:p>
            <a:pPr marL="12700">
              <a:lnSpc>
                <a:spcPct val="100000"/>
              </a:lnSpc>
              <a:spcBef>
                <a:spcPts val="105"/>
              </a:spcBef>
            </a:pPr>
            <a:r>
              <a:rPr lang="en-US" sz="3600" spc="-30" dirty="0">
                <a:solidFill>
                  <a:srgbClr val="12A9D8"/>
                </a:solidFill>
                <a:latin typeface="Ubuntu Mono" panose="020B0509030602030204" pitchFamily="49" charset="0"/>
                <a:cs typeface="Ubuntu"/>
              </a:rPr>
              <a:t>Thinking about…</a:t>
            </a:r>
            <a:endParaRPr lang="en-US" sz="3600" dirty="0">
              <a:solidFill>
                <a:srgbClr val="12A9D8"/>
              </a:solidFill>
              <a:latin typeface="Ubuntu"/>
              <a:cs typeface="Ubuntu"/>
            </a:endParaRPr>
          </a:p>
        </p:txBody>
      </p:sp>
      <p:sp>
        <p:nvSpPr>
          <p:cNvPr id="15" name="Marcador de texto 14">
            <a:extLst>
              <a:ext uri="{FF2B5EF4-FFF2-40B4-BE49-F238E27FC236}">
                <a16:creationId xmlns:a16="http://schemas.microsoft.com/office/drawing/2014/main" id="{894536B8-BEFF-96E8-2A83-A0B97363D840}"/>
              </a:ext>
            </a:extLst>
          </p:cNvPr>
          <p:cNvSpPr>
            <a:spLocks noGrp="1"/>
          </p:cNvSpPr>
          <p:nvPr>
            <p:ph type="body" sz="quarter" idx="10"/>
          </p:nvPr>
        </p:nvSpPr>
        <p:spPr>
          <a:xfrm>
            <a:off x="7104380" y="3225800"/>
            <a:ext cx="12244070" cy="6931641"/>
          </a:xfrm>
          <a:prstGeom prst="rect">
            <a:avLst/>
          </a:prstGeom>
        </p:spPr>
        <p:txBody>
          <a:bodyPr/>
          <a:lstStyle>
            <a:lvl1pPr>
              <a:defRPr sz="2900" b="0" i="0">
                <a:solidFill>
                  <a:schemeClr val="bg1"/>
                </a:solidFill>
                <a:latin typeface="Ubuntu Light" panose="020B0304030602030204" pitchFamily="34" charset="0"/>
              </a:defRPr>
            </a:lvl1pPr>
            <a:lvl2pPr>
              <a:defRPr sz="2900" b="0" i="0">
                <a:solidFill>
                  <a:schemeClr val="bg1"/>
                </a:solidFill>
                <a:latin typeface="Ubuntu Light" panose="020B0304030602030204" pitchFamily="34" charset="0"/>
              </a:defRPr>
            </a:lvl2pPr>
            <a:lvl3pPr>
              <a:defRPr sz="2900" b="0" i="0">
                <a:solidFill>
                  <a:schemeClr val="bg1"/>
                </a:solidFill>
                <a:latin typeface="Ubuntu Light" panose="020B0304030602030204" pitchFamily="34" charset="0"/>
              </a:defRPr>
            </a:lvl3pPr>
            <a:lvl4pPr>
              <a:defRPr sz="2900" b="0" i="0">
                <a:solidFill>
                  <a:schemeClr val="bg1"/>
                </a:solidFill>
                <a:latin typeface="Ubuntu Light" panose="020B0304030602030204" pitchFamily="34" charset="0"/>
              </a:defRPr>
            </a:lvl4pPr>
            <a:lvl5pPr>
              <a:defRPr sz="2900" b="0" i="0">
                <a:solidFill>
                  <a:schemeClr val="bg1"/>
                </a:solidFill>
                <a:latin typeface="Ubuntu Light" panose="020B0304030602030204" pitchFamily="34" charset="0"/>
              </a:defRPr>
            </a:lvl5pPr>
          </a:lstStyle>
          <a:p>
            <a:pPr lvl="0"/>
            <a:r>
              <a:rPr lang="es-ES" dirty="0"/>
              <a:t>Haga clic para modificar los estilos de texto del patrón</a:t>
            </a:r>
          </a:p>
          <a:p>
            <a:pPr lvl="1"/>
            <a:r>
              <a:rPr lang="es-ES" dirty="0"/>
              <a:t>Segundo nivel</a:t>
            </a:r>
          </a:p>
          <a:p>
            <a:pPr lvl="2"/>
            <a:r>
              <a:rPr lang="es-ES" dirty="0"/>
              <a:t> nivel</a:t>
            </a:r>
          </a:p>
          <a:p>
            <a:pPr lvl="3"/>
            <a:r>
              <a:rPr lang="es-ES" dirty="0"/>
              <a:t>Cuarto nivel</a:t>
            </a:r>
          </a:p>
          <a:p>
            <a:pPr lvl="4"/>
            <a:r>
              <a:rPr lang="es-ES" dirty="0"/>
              <a:t>Quinto nivel</a:t>
            </a:r>
          </a:p>
        </p:txBody>
      </p:sp>
      <p:sp>
        <p:nvSpPr>
          <p:cNvPr id="16" name="CuadroTexto 15">
            <a:extLst>
              <a:ext uri="{FF2B5EF4-FFF2-40B4-BE49-F238E27FC236}">
                <a16:creationId xmlns:a16="http://schemas.microsoft.com/office/drawing/2014/main" id="{9D153551-888E-2E4A-C9F1-C375C679B619}"/>
              </a:ext>
            </a:extLst>
          </p:cNvPr>
          <p:cNvSpPr txBox="1"/>
          <p:nvPr userDrawn="1"/>
        </p:nvSpPr>
        <p:spPr>
          <a:xfrm>
            <a:off x="4870450" y="-151634"/>
            <a:ext cx="3200400" cy="4508927"/>
          </a:xfrm>
          <a:prstGeom prst="rect">
            <a:avLst/>
          </a:prstGeom>
          <a:noFill/>
        </p:spPr>
        <p:txBody>
          <a:bodyPr wrap="square" rtlCol="0">
            <a:spAutoFit/>
          </a:bodyPr>
          <a:lstStyle/>
          <a:p>
            <a:r>
              <a:rPr lang="es-ES" sz="28700" b="1" i="0" dirty="0">
                <a:solidFill>
                  <a:srgbClr val="12A9D8"/>
                </a:solidFill>
                <a:latin typeface="Ubuntu" panose="020B0504030602030204" pitchFamily="34" charset="0"/>
              </a:rPr>
              <a:t>?</a:t>
            </a:r>
          </a:p>
        </p:txBody>
      </p:sp>
    </p:spTree>
    <p:extLst>
      <p:ext uri="{BB962C8B-B14F-4D97-AF65-F5344CB8AC3E}">
        <p14:creationId xmlns:p14="http://schemas.microsoft.com/office/powerpoint/2010/main" val="364033647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1_Title and Content">
    <p:spTree>
      <p:nvGrpSpPr>
        <p:cNvPr id="1" name=""/>
        <p:cNvGrpSpPr/>
        <p:nvPr/>
      </p:nvGrpSpPr>
      <p:grpSpPr>
        <a:xfrm>
          <a:off x="0" y="0"/>
          <a:ext cx="0" cy="0"/>
          <a:chOff x="0" y="0"/>
          <a:chExt cx="0" cy="0"/>
        </a:xfrm>
      </p:grpSpPr>
      <p:pic>
        <p:nvPicPr>
          <p:cNvPr id="7" name="Imagen 6" descr="Imagen que contiene agua, pastel, tabla, hombre&#10;&#10;Descripción generada automáticamente">
            <a:extLst>
              <a:ext uri="{FF2B5EF4-FFF2-40B4-BE49-F238E27FC236}">
                <a16:creationId xmlns:a16="http://schemas.microsoft.com/office/drawing/2014/main" id="{DDDF92AE-973A-44F1-8C1E-0821C63C913F}"/>
              </a:ext>
            </a:extLst>
          </p:cNvPr>
          <p:cNvPicPr>
            <a:picLocks noChangeAspect="1"/>
          </p:cNvPicPr>
          <p:nvPr userDrawn="1"/>
        </p:nvPicPr>
        <p:blipFill rotWithShape="1">
          <a:blip r:embed="rId2">
            <a:extLst>
              <a:ext uri="{28A0092B-C50C-407E-A947-70E740481C1C}">
                <a14:useLocalDpi xmlns:a14="http://schemas.microsoft.com/office/drawing/2010/main"/>
              </a:ext>
            </a:extLst>
          </a:blip>
          <a:srcRect b="-246"/>
          <a:stretch/>
        </p:blipFill>
        <p:spPr>
          <a:xfrm>
            <a:off x="0" y="9922"/>
            <a:ext cx="6348730" cy="11318478"/>
          </a:xfrm>
          <a:prstGeom prst="rect">
            <a:avLst/>
          </a:prstGeom>
        </p:spPr>
      </p:pic>
      <p:sp>
        <p:nvSpPr>
          <p:cNvPr id="3" name="Rectángulo 2">
            <a:extLst>
              <a:ext uri="{FF2B5EF4-FFF2-40B4-BE49-F238E27FC236}">
                <a16:creationId xmlns:a16="http://schemas.microsoft.com/office/drawing/2014/main" id="{8E2A0C8C-2F63-07D5-D3ED-F129D31CE088}"/>
              </a:ext>
            </a:extLst>
          </p:cNvPr>
          <p:cNvSpPr/>
          <p:nvPr userDrawn="1"/>
        </p:nvSpPr>
        <p:spPr>
          <a:xfrm>
            <a:off x="6318250" y="-17753"/>
            <a:ext cx="13785850" cy="11346153"/>
          </a:xfrm>
          <a:prstGeom prst="rect">
            <a:avLst/>
          </a:prstGeom>
          <a:solidFill>
            <a:srgbClr val="330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4" name="Holder 4"/>
          <p:cNvSpPr>
            <a:spLocks noGrp="1"/>
          </p:cNvSpPr>
          <p:nvPr>
            <p:ph type="ftr" sz="quarter" idx="5"/>
          </p:nvPr>
        </p:nvSpPr>
        <p:spPr>
          <a:xfrm>
            <a:off x="16647741" y="10759212"/>
            <a:ext cx="2962677" cy="200055"/>
          </a:xfrm>
          <a:prstGeom prst="rect">
            <a:avLst/>
          </a:prstGeom>
        </p:spPr>
        <p:txBody>
          <a:bodyPr lIns="0" tIns="0" rIns="0" bIns="0"/>
          <a:lstStyle>
            <a:lvl1pPr>
              <a:defRPr sz="1300" b="0" i="0">
                <a:solidFill>
                  <a:schemeClr val="bg1"/>
                </a:solidFill>
                <a:latin typeface="Ubuntu Light"/>
                <a:cs typeface="Ubuntu Light"/>
              </a:defRPr>
            </a:lvl1pPr>
          </a:lstStyle>
          <a:p>
            <a:pPr marL="26034">
              <a:spcBef>
                <a:spcPts val="30"/>
              </a:spcBef>
            </a:pPr>
            <a:r>
              <a:rPr lang="es-ES" dirty="0"/>
              <a:t>Public</a:t>
            </a:r>
            <a:r>
              <a:rPr lang="es-ES" spc="-40" dirty="0"/>
              <a:t> </a:t>
            </a:r>
            <a:r>
              <a:rPr lang="es-ES" dirty="0"/>
              <a:t>©</a:t>
            </a:r>
            <a:r>
              <a:rPr lang="es-ES" spc="-40" dirty="0"/>
              <a:t> </a:t>
            </a:r>
            <a:r>
              <a:rPr lang="es-ES" dirty="0"/>
              <a:t>2023</a:t>
            </a:r>
            <a:r>
              <a:rPr lang="es-ES" spc="-40" dirty="0"/>
              <a:t> </a:t>
            </a:r>
            <a:r>
              <a:rPr lang="es-ES" spc="-10" dirty="0"/>
              <a:t>Sogeti.</a:t>
            </a:r>
            <a:r>
              <a:rPr lang="es-ES" spc="-35" dirty="0"/>
              <a:t> </a:t>
            </a:r>
            <a:r>
              <a:rPr lang="es-ES" dirty="0" err="1"/>
              <a:t>All</a:t>
            </a:r>
            <a:r>
              <a:rPr lang="es-ES" spc="-40" dirty="0"/>
              <a:t> </a:t>
            </a:r>
            <a:r>
              <a:rPr lang="es-ES" dirty="0"/>
              <a:t>rights</a:t>
            </a:r>
            <a:r>
              <a:rPr lang="es-ES" spc="-40" dirty="0"/>
              <a:t> </a:t>
            </a:r>
            <a:r>
              <a:rPr lang="es-ES" spc="-10" dirty="0" err="1"/>
              <a:t>reserved</a:t>
            </a:r>
            <a:endParaRPr lang="es-ES" spc="-10" dirty="0"/>
          </a:p>
        </p:txBody>
      </p:sp>
      <p:sp>
        <p:nvSpPr>
          <p:cNvPr id="2" name="CuadroTexto 1">
            <a:extLst>
              <a:ext uri="{FF2B5EF4-FFF2-40B4-BE49-F238E27FC236}">
                <a16:creationId xmlns:a16="http://schemas.microsoft.com/office/drawing/2014/main" id="{72E5CF79-7DA3-E21E-3060-87CB44907F25}"/>
              </a:ext>
            </a:extLst>
          </p:cNvPr>
          <p:cNvSpPr txBox="1"/>
          <p:nvPr userDrawn="1"/>
        </p:nvSpPr>
        <p:spPr>
          <a:xfrm>
            <a:off x="755650" y="10845800"/>
            <a:ext cx="7772400" cy="292388"/>
          </a:xfrm>
          <a:prstGeom prst="rect">
            <a:avLst/>
          </a:prstGeom>
          <a:noFill/>
        </p:spPr>
        <p:txBody>
          <a:bodyPr wrap="square" rtlCol="0">
            <a:spAutoFit/>
          </a:bodyPr>
          <a:lstStyle/>
          <a:p>
            <a:r>
              <a:rPr lang="es-ES" sz="1300" b="0" i="0" dirty="0">
                <a:solidFill>
                  <a:schemeClr val="bg1"/>
                </a:solidFill>
                <a:latin typeface="Ubuntu Medium" panose="020B0504030602030204" pitchFamily="34" charset="0"/>
              </a:rPr>
              <a:t>#FlourishingDigitalBusinessWithQuality </a:t>
            </a:r>
            <a:r>
              <a:rPr lang="es-ES" sz="1300" b="1" i="0" dirty="0">
                <a:solidFill>
                  <a:schemeClr val="bg1"/>
                </a:solidFill>
                <a:latin typeface="Ubuntu" panose="020B0504030602030204" pitchFamily="34" charset="0"/>
              </a:rPr>
              <a:t> </a:t>
            </a:r>
            <a:r>
              <a:rPr lang="es-ES" sz="1300" b="1" i="0" dirty="0">
                <a:solidFill>
                  <a:srgbClr val="290E3B"/>
                </a:solidFill>
                <a:latin typeface="Ubuntu" panose="020B0504030602030204" pitchFamily="34" charset="0"/>
              </a:rPr>
              <a:t>·</a:t>
            </a:r>
            <a:r>
              <a:rPr lang="es-ES" sz="1300" b="0" i="0" dirty="0">
                <a:solidFill>
                  <a:schemeClr val="tx2"/>
                </a:solidFill>
                <a:latin typeface="Ubuntu Medium" panose="020B0504030602030204" pitchFamily="34" charset="0"/>
              </a:rPr>
              <a:t>   </a:t>
            </a:r>
            <a:r>
              <a:rPr lang="es-ES" sz="1300" b="1" i="0" dirty="0">
                <a:solidFill>
                  <a:srgbClr val="12A9D8"/>
                </a:solidFill>
                <a:latin typeface="Ubuntu" panose="020B0504030602030204" pitchFamily="34" charset="0"/>
              </a:rPr>
              <a:t>Sogeti España</a:t>
            </a:r>
          </a:p>
        </p:txBody>
      </p:sp>
      <p:sp>
        <p:nvSpPr>
          <p:cNvPr id="5" name="Forma libre 4">
            <a:extLst>
              <a:ext uri="{FF2B5EF4-FFF2-40B4-BE49-F238E27FC236}">
                <a16:creationId xmlns:a16="http://schemas.microsoft.com/office/drawing/2014/main" id="{FBAABD7F-C513-9B40-6AE2-E43DB3944CCE}"/>
              </a:ext>
            </a:extLst>
          </p:cNvPr>
          <p:cNvSpPr/>
          <p:nvPr userDrawn="1"/>
        </p:nvSpPr>
        <p:spPr>
          <a:xfrm flipV="1">
            <a:off x="755650" y="10384024"/>
            <a:ext cx="2362200" cy="385576"/>
          </a:xfrm>
          <a:custGeom>
            <a:avLst/>
            <a:gdLst/>
            <a:ahLst/>
            <a:cxnLst/>
            <a:rect l="l" t="t" r="r" b="b"/>
            <a:pathLst>
              <a:path w="4876802" h="796029">
                <a:moveTo>
                  <a:pt x="2572782" y="405299"/>
                </a:moveTo>
                <a:cubicBezTo>
                  <a:pt x="2589609" y="405299"/>
                  <a:pt x="2601809" y="398820"/>
                  <a:pt x="2609382" y="385863"/>
                </a:cubicBezTo>
                <a:cubicBezTo>
                  <a:pt x="2616954" y="372906"/>
                  <a:pt x="2620740" y="355826"/>
                  <a:pt x="2620740" y="334623"/>
                </a:cubicBezTo>
                <a:cubicBezTo>
                  <a:pt x="2620740" y="313420"/>
                  <a:pt x="2616618" y="296256"/>
                  <a:pt x="2608372" y="283131"/>
                </a:cubicBezTo>
                <a:cubicBezTo>
                  <a:pt x="2600126" y="270006"/>
                  <a:pt x="2587927" y="263443"/>
                  <a:pt x="2571772" y="263443"/>
                </a:cubicBezTo>
                <a:cubicBezTo>
                  <a:pt x="2554945" y="263443"/>
                  <a:pt x="2542744" y="270006"/>
                  <a:pt x="2535172" y="283131"/>
                </a:cubicBezTo>
                <a:cubicBezTo>
                  <a:pt x="2527600" y="296256"/>
                  <a:pt x="2523814" y="313420"/>
                  <a:pt x="2523814" y="334623"/>
                </a:cubicBezTo>
                <a:cubicBezTo>
                  <a:pt x="2523814" y="355826"/>
                  <a:pt x="2527937" y="372906"/>
                  <a:pt x="2536182" y="385863"/>
                </a:cubicBezTo>
                <a:cubicBezTo>
                  <a:pt x="2544428" y="398820"/>
                  <a:pt x="2556628" y="405299"/>
                  <a:pt x="2572782" y="405299"/>
                </a:cubicBezTo>
                <a:close/>
                <a:moveTo>
                  <a:pt x="1810782" y="405299"/>
                </a:moveTo>
                <a:cubicBezTo>
                  <a:pt x="1827610" y="405299"/>
                  <a:pt x="1839810" y="398820"/>
                  <a:pt x="1847382" y="385863"/>
                </a:cubicBezTo>
                <a:cubicBezTo>
                  <a:pt x="1854954" y="372906"/>
                  <a:pt x="1858740" y="355826"/>
                  <a:pt x="1858740" y="334623"/>
                </a:cubicBezTo>
                <a:cubicBezTo>
                  <a:pt x="1858740" y="313420"/>
                  <a:pt x="1854618" y="296256"/>
                  <a:pt x="1846372" y="283131"/>
                </a:cubicBezTo>
                <a:cubicBezTo>
                  <a:pt x="1838127" y="270006"/>
                  <a:pt x="1825927" y="263443"/>
                  <a:pt x="1809772" y="263443"/>
                </a:cubicBezTo>
                <a:cubicBezTo>
                  <a:pt x="1792945" y="263443"/>
                  <a:pt x="1780745" y="270006"/>
                  <a:pt x="1773173" y="283131"/>
                </a:cubicBezTo>
                <a:cubicBezTo>
                  <a:pt x="1765600" y="296256"/>
                  <a:pt x="1761814" y="313420"/>
                  <a:pt x="1761814" y="334623"/>
                </a:cubicBezTo>
                <a:cubicBezTo>
                  <a:pt x="1761814" y="355826"/>
                  <a:pt x="1765937" y="372906"/>
                  <a:pt x="1774182" y="385863"/>
                </a:cubicBezTo>
                <a:cubicBezTo>
                  <a:pt x="1782428" y="398820"/>
                  <a:pt x="1794628" y="405299"/>
                  <a:pt x="1810782" y="405299"/>
                </a:cubicBezTo>
                <a:close/>
                <a:moveTo>
                  <a:pt x="810657" y="405299"/>
                </a:moveTo>
                <a:cubicBezTo>
                  <a:pt x="827485" y="405299"/>
                  <a:pt x="839684" y="398820"/>
                  <a:pt x="847257" y="385863"/>
                </a:cubicBezTo>
                <a:cubicBezTo>
                  <a:pt x="854829" y="372906"/>
                  <a:pt x="858615" y="355826"/>
                  <a:pt x="858616" y="334623"/>
                </a:cubicBezTo>
                <a:cubicBezTo>
                  <a:pt x="858615" y="313420"/>
                  <a:pt x="854493" y="296256"/>
                  <a:pt x="846247" y="283131"/>
                </a:cubicBezTo>
                <a:cubicBezTo>
                  <a:pt x="838002" y="270006"/>
                  <a:pt x="825802" y="263443"/>
                  <a:pt x="809647" y="263443"/>
                </a:cubicBezTo>
                <a:cubicBezTo>
                  <a:pt x="792820" y="263443"/>
                  <a:pt x="780620" y="270006"/>
                  <a:pt x="773048" y="283131"/>
                </a:cubicBezTo>
                <a:cubicBezTo>
                  <a:pt x="765475" y="296256"/>
                  <a:pt x="761689" y="313420"/>
                  <a:pt x="761689" y="334623"/>
                </a:cubicBezTo>
                <a:cubicBezTo>
                  <a:pt x="761689" y="355826"/>
                  <a:pt x="765812" y="372906"/>
                  <a:pt x="774057" y="385863"/>
                </a:cubicBezTo>
                <a:cubicBezTo>
                  <a:pt x="782303" y="398820"/>
                  <a:pt x="794503" y="405299"/>
                  <a:pt x="810657" y="405299"/>
                </a:cubicBezTo>
                <a:close/>
                <a:moveTo>
                  <a:pt x="3325256" y="411861"/>
                </a:moveTo>
                <a:cubicBezTo>
                  <a:pt x="3316506" y="411861"/>
                  <a:pt x="3309608" y="408496"/>
                  <a:pt x="3304560" y="401765"/>
                </a:cubicBezTo>
                <a:cubicBezTo>
                  <a:pt x="3299512" y="395034"/>
                  <a:pt x="3296988" y="387125"/>
                  <a:pt x="3296988" y="378038"/>
                </a:cubicBezTo>
                <a:cubicBezTo>
                  <a:pt x="3296988" y="368951"/>
                  <a:pt x="3299512" y="361126"/>
                  <a:pt x="3304560" y="354564"/>
                </a:cubicBezTo>
                <a:cubicBezTo>
                  <a:pt x="3309608" y="348001"/>
                  <a:pt x="3316506" y="344720"/>
                  <a:pt x="3325256" y="344720"/>
                </a:cubicBezTo>
                <a:cubicBezTo>
                  <a:pt x="3333334" y="344720"/>
                  <a:pt x="3339980" y="348001"/>
                  <a:pt x="3345198" y="354564"/>
                </a:cubicBezTo>
                <a:cubicBezTo>
                  <a:pt x="3350414" y="361126"/>
                  <a:pt x="3353022" y="368951"/>
                  <a:pt x="3353022" y="378038"/>
                </a:cubicBezTo>
                <a:cubicBezTo>
                  <a:pt x="3353022" y="387125"/>
                  <a:pt x="3350414" y="395034"/>
                  <a:pt x="3345198" y="401765"/>
                </a:cubicBezTo>
                <a:cubicBezTo>
                  <a:pt x="3339980" y="408496"/>
                  <a:pt x="3333334" y="411861"/>
                  <a:pt x="3325256" y="411861"/>
                </a:cubicBezTo>
                <a:close/>
                <a:moveTo>
                  <a:pt x="2207070" y="453257"/>
                </a:moveTo>
                <a:lnTo>
                  <a:pt x="2207070" y="401765"/>
                </a:lnTo>
                <a:lnTo>
                  <a:pt x="2272697" y="401765"/>
                </a:lnTo>
                <a:lnTo>
                  <a:pt x="2272697" y="314430"/>
                </a:lnTo>
                <a:cubicBezTo>
                  <a:pt x="2272697" y="297939"/>
                  <a:pt x="2274043" y="283299"/>
                  <a:pt x="2276735" y="270510"/>
                </a:cubicBezTo>
                <a:cubicBezTo>
                  <a:pt x="2279428" y="257721"/>
                  <a:pt x="2284055" y="246868"/>
                  <a:pt x="2290618" y="237949"/>
                </a:cubicBezTo>
                <a:cubicBezTo>
                  <a:pt x="2297181" y="229031"/>
                  <a:pt x="2305931" y="222215"/>
                  <a:pt x="2316869" y="217504"/>
                </a:cubicBezTo>
                <a:cubicBezTo>
                  <a:pt x="2327807" y="212792"/>
                  <a:pt x="2341353" y="210436"/>
                  <a:pt x="2357508" y="210436"/>
                </a:cubicBezTo>
                <a:cubicBezTo>
                  <a:pt x="2366931" y="210436"/>
                  <a:pt x="2377280" y="211530"/>
                  <a:pt x="2388554" y="213718"/>
                </a:cubicBezTo>
                <a:cubicBezTo>
                  <a:pt x="2399829" y="215905"/>
                  <a:pt x="2411860" y="220028"/>
                  <a:pt x="2424649" y="226086"/>
                </a:cubicBezTo>
                <a:lnTo>
                  <a:pt x="2416572" y="276063"/>
                </a:lnTo>
                <a:cubicBezTo>
                  <a:pt x="2406475" y="271352"/>
                  <a:pt x="2397388" y="268239"/>
                  <a:pt x="2389312" y="266724"/>
                </a:cubicBezTo>
                <a:cubicBezTo>
                  <a:pt x="2381234" y="265210"/>
                  <a:pt x="2374335" y="264452"/>
                  <a:pt x="2368614" y="264452"/>
                </a:cubicBezTo>
                <a:cubicBezTo>
                  <a:pt x="2356498" y="264452"/>
                  <a:pt x="2347832" y="267902"/>
                  <a:pt x="2342615" y="274801"/>
                </a:cubicBezTo>
                <a:cubicBezTo>
                  <a:pt x="2337398" y="281701"/>
                  <a:pt x="2334790" y="292218"/>
                  <a:pt x="2334790" y="306353"/>
                </a:cubicBezTo>
                <a:lnTo>
                  <a:pt x="2334790" y="453257"/>
                </a:lnTo>
                <a:close/>
                <a:moveTo>
                  <a:pt x="1088092" y="457800"/>
                </a:moveTo>
                <a:cubicBezTo>
                  <a:pt x="1064870" y="457800"/>
                  <a:pt x="1044593" y="455949"/>
                  <a:pt x="1027260" y="452247"/>
                </a:cubicBezTo>
                <a:cubicBezTo>
                  <a:pt x="1009928" y="448545"/>
                  <a:pt x="993016" y="443665"/>
                  <a:pt x="976526" y="437607"/>
                </a:cubicBezTo>
                <a:lnTo>
                  <a:pt x="976526" y="215989"/>
                </a:lnTo>
                <a:lnTo>
                  <a:pt x="1039124" y="215989"/>
                </a:lnTo>
                <a:lnTo>
                  <a:pt x="1039124" y="392173"/>
                </a:lnTo>
                <a:cubicBezTo>
                  <a:pt x="1047874" y="394529"/>
                  <a:pt x="1056456" y="396128"/>
                  <a:pt x="1064870" y="396969"/>
                </a:cubicBezTo>
                <a:cubicBezTo>
                  <a:pt x="1073284" y="397810"/>
                  <a:pt x="1081866" y="398231"/>
                  <a:pt x="1090616" y="398231"/>
                </a:cubicBezTo>
                <a:cubicBezTo>
                  <a:pt x="1094318" y="398231"/>
                  <a:pt x="1098861" y="398063"/>
                  <a:pt x="1104246" y="397726"/>
                </a:cubicBezTo>
                <a:cubicBezTo>
                  <a:pt x="1109631" y="397390"/>
                  <a:pt x="1115184" y="396801"/>
                  <a:pt x="1120905" y="395959"/>
                </a:cubicBezTo>
                <a:cubicBezTo>
                  <a:pt x="1126627" y="395118"/>
                  <a:pt x="1132264" y="394192"/>
                  <a:pt x="1137817" y="393183"/>
                </a:cubicBezTo>
                <a:cubicBezTo>
                  <a:pt x="1143370" y="392173"/>
                  <a:pt x="1148166" y="391164"/>
                  <a:pt x="1152205" y="390154"/>
                </a:cubicBezTo>
                <a:lnTo>
                  <a:pt x="1163311" y="447704"/>
                </a:lnTo>
                <a:cubicBezTo>
                  <a:pt x="1157589" y="449723"/>
                  <a:pt x="1151111" y="451322"/>
                  <a:pt x="1143875" y="452500"/>
                </a:cubicBezTo>
                <a:cubicBezTo>
                  <a:pt x="1136639" y="453678"/>
                  <a:pt x="1129487" y="454687"/>
                  <a:pt x="1122420" y="455529"/>
                </a:cubicBezTo>
                <a:cubicBezTo>
                  <a:pt x="1115352" y="456370"/>
                  <a:pt x="1108706" y="456959"/>
                  <a:pt x="1102479" y="457296"/>
                </a:cubicBezTo>
                <a:cubicBezTo>
                  <a:pt x="1096253" y="457632"/>
                  <a:pt x="1091457" y="457800"/>
                  <a:pt x="1088092" y="457800"/>
                </a:cubicBezTo>
                <a:close/>
                <a:moveTo>
                  <a:pt x="2572782" y="459315"/>
                </a:moveTo>
                <a:cubicBezTo>
                  <a:pt x="2556628" y="459315"/>
                  <a:pt x="2541651" y="456370"/>
                  <a:pt x="2527852" y="450480"/>
                </a:cubicBezTo>
                <a:cubicBezTo>
                  <a:pt x="2514054" y="444591"/>
                  <a:pt x="2502190" y="436177"/>
                  <a:pt x="2492262" y="425239"/>
                </a:cubicBezTo>
                <a:cubicBezTo>
                  <a:pt x="2482334" y="414301"/>
                  <a:pt x="2474594" y="401176"/>
                  <a:pt x="2469040" y="385863"/>
                </a:cubicBezTo>
                <a:cubicBezTo>
                  <a:pt x="2463487" y="370550"/>
                  <a:pt x="2460711" y="353638"/>
                  <a:pt x="2460711" y="335128"/>
                </a:cubicBezTo>
                <a:cubicBezTo>
                  <a:pt x="2460711" y="316281"/>
                  <a:pt x="2463403" y="299201"/>
                  <a:pt x="2468788" y="283888"/>
                </a:cubicBezTo>
                <a:cubicBezTo>
                  <a:pt x="2474173" y="268575"/>
                  <a:pt x="2481829" y="255366"/>
                  <a:pt x="2491758" y="244259"/>
                </a:cubicBezTo>
                <a:cubicBezTo>
                  <a:pt x="2501686" y="233153"/>
                  <a:pt x="2513465" y="224571"/>
                  <a:pt x="2527095" y="218513"/>
                </a:cubicBezTo>
                <a:cubicBezTo>
                  <a:pt x="2540726" y="212455"/>
                  <a:pt x="2555954" y="209427"/>
                  <a:pt x="2572782" y="209427"/>
                </a:cubicBezTo>
                <a:cubicBezTo>
                  <a:pt x="2589609" y="209427"/>
                  <a:pt x="2604838" y="212455"/>
                  <a:pt x="2618468" y="218513"/>
                </a:cubicBezTo>
                <a:cubicBezTo>
                  <a:pt x="2632098" y="224571"/>
                  <a:pt x="2643794" y="233153"/>
                  <a:pt x="2653554" y="244259"/>
                </a:cubicBezTo>
                <a:cubicBezTo>
                  <a:pt x="2663314" y="255366"/>
                  <a:pt x="2670886" y="268575"/>
                  <a:pt x="2676271" y="283888"/>
                </a:cubicBezTo>
                <a:cubicBezTo>
                  <a:pt x="2681656" y="299201"/>
                  <a:pt x="2684348" y="316281"/>
                  <a:pt x="2684348" y="335128"/>
                </a:cubicBezTo>
                <a:cubicBezTo>
                  <a:pt x="2684348" y="353638"/>
                  <a:pt x="2681656" y="370550"/>
                  <a:pt x="2676271" y="385863"/>
                </a:cubicBezTo>
                <a:cubicBezTo>
                  <a:pt x="2670886" y="401176"/>
                  <a:pt x="2663230" y="414301"/>
                  <a:pt x="2653302" y="425239"/>
                </a:cubicBezTo>
                <a:cubicBezTo>
                  <a:pt x="2643373" y="436177"/>
                  <a:pt x="2631594" y="444591"/>
                  <a:pt x="2617964" y="450480"/>
                </a:cubicBezTo>
                <a:cubicBezTo>
                  <a:pt x="2604334" y="456370"/>
                  <a:pt x="2589273" y="459315"/>
                  <a:pt x="2572782" y="459315"/>
                </a:cubicBezTo>
                <a:close/>
                <a:moveTo>
                  <a:pt x="1810782" y="459315"/>
                </a:moveTo>
                <a:cubicBezTo>
                  <a:pt x="1794628" y="459315"/>
                  <a:pt x="1779651" y="456370"/>
                  <a:pt x="1765853" y="450480"/>
                </a:cubicBezTo>
                <a:cubicBezTo>
                  <a:pt x="1752054" y="444591"/>
                  <a:pt x="1740191" y="436177"/>
                  <a:pt x="1730262" y="425239"/>
                </a:cubicBezTo>
                <a:cubicBezTo>
                  <a:pt x="1720334" y="414301"/>
                  <a:pt x="1712594" y="401176"/>
                  <a:pt x="1707040" y="385863"/>
                </a:cubicBezTo>
                <a:cubicBezTo>
                  <a:pt x="1701488" y="370550"/>
                  <a:pt x="1698711" y="353638"/>
                  <a:pt x="1698711" y="335128"/>
                </a:cubicBezTo>
                <a:cubicBezTo>
                  <a:pt x="1698711" y="316281"/>
                  <a:pt x="1701403" y="299201"/>
                  <a:pt x="1706788" y="283888"/>
                </a:cubicBezTo>
                <a:cubicBezTo>
                  <a:pt x="1712173" y="268575"/>
                  <a:pt x="1719829" y="255366"/>
                  <a:pt x="1729758" y="244259"/>
                </a:cubicBezTo>
                <a:cubicBezTo>
                  <a:pt x="1739686" y="233153"/>
                  <a:pt x="1751465" y="224571"/>
                  <a:pt x="1765095" y="218513"/>
                </a:cubicBezTo>
                <a:cubicBezTo>
                  <a:pt x="1778726" y="212455"/>
                  <a:pt x="1793954" y="209427"/>
                  <a:pt x="1810782" y="209427"/>
                </a:cubicBezTo>
                <a:cubicBezTo>
                  <a:pt x="1827610" y="209427"/>
                  <a:pt x="1842838" y="212455"/>
                  <a:pt x="1856469" y="218513"/>
                </a:cubicBezTo>
                <a:cubicBezTo>
                  <a:pt x="1870099" y="224571"/>
                  <a:pt x="1881794" y="233153"/>
                  <a:pt x="1891554" y="244259"/>
                </a:cubicBezTo>
                <a:cubicBezTo>
                  <a:pt x="1901314" y="255366"/>
                  <a:pt x="1908886" y="268575"/>
                  <a:pt x="1914271" y="283888"/>
                </a:cubicBezTo>
                <a:cubicBezTo>
                  <a:pt x="1919656" y="299201"/>
                  <a:pt x="1922348" y="316281"/>
                  <a:pt x="1922348" y="335128"/>
                </a:cubicBezTo>
                <a:cubicBezTo>
                  <a:pt x="1922348" y="353638"/>
                  <a:pt x="1919656" y="370550"/>
                  <a:pt x="1914271" y="385863"/>
                </a:cubicBezTo>
                <a:cubicBezTo>
                  <a:pt x="1908886" y="401176"/>
                  <a:pt x="1901230" y="414301"/>
                  <a:pt x="1891302" y="425239"/>
                </a:cubicBezTo>
                <a:cubicBezTo>
                  <a:pt x="1881374" y="436177"/>
                  <a:pt x="1869594" y="444591"/>
                  <a:pt x="1855964" y="450480"/>
                </a:cubicBezTo>
                <a:cubicBezTo>
                  <a:pt x="1842334" y="456370"/>
                  <a:pt x="1827273" y="459315"/>
                  <a:pt x="1810782" y="459315"/>
                </a:cubicBezTo>
                <a:close/>
                <a:moveTo>
                  <a:pt x="810657" y="459315"/>
                </a:moveTo>
                <a:cubicBezTo>
                  <a:pt x="794503" y="459315"/>
                  <a:pt x="779526" y="456370"/>
                  <a:pt x="765728" y="450480"/>
                </a:cubicBezTo>
                <a:cubicBezTo>
                  <a:pt x="751929" y="444591"/>
                  <a:pt x="740066" y="436177"/>
                  <a:pt x="730138" y="425239"/>
                </a:cubicBezTo>
                <a:cubicBezTo>
                  <a:pt x="720209" y="414301"/>
                  <a:pt x="712469" y="401176"/>
                  <a:pt x="706916" y="385863"/>
                </a:cubicBezTo>
                <a:cubicBezTo>
                  <a:pt x="701362" y="370550"/>
                  <a:pt x="698586" y="353638"/>
                  <a:pt x="698586" y="335128"/>
                </a:cubicBezTo>
                <a:cubicBezTo>
                  <a:pt x="698586" y="316281"/>
                  <a:pt x="701278" y="299201"/>
                  <a:pt x="706663" y="283888"/>
                </a:cubicBezTo>
                <a:cubicBezTo>
                  <a:pt x="712048" y="268575"/>
                  <a:pt x="719704" y="255366"/>
                  <a:pt x="729633" y="244259"/>
                </a:cubicBezTo>
                <a:cubicBezTo>
                  <a:pt x="739561" y="233153"/>
                  <a:pt x="751340" y="224571"/>
                  <a:pt x="764970" y="218513"/>
                </a:cubicBezTo>
                <a:cubicBezTo>
                  <a:pt x="778601" y="212455"/>
                  <a:pt x="793830" y="209427"/>
                  <a:pt x="810657" y="209427"/>
                </a:cubicBezTo>
                <a:cubicBezTo>
                  <a:pt x="827485" y="209427"/>
                  <a:pt x="842713" y="212455"/>
                  <a:pt x="856344" y="218513"/>
                </a:cubicBezTo>
                <a:cubicBezTo>
                  <a:pt x="869974" y="224571"/>
                  <a:pt x="881669" y="233153"/>
                  <a:pt x="891429" y="244259"/>
                </a:cubicBezTo>
                <a:cubicBezTo>
                  <a:pt x="901189" y="255366"/>
                  <a:pt x="908761" y="268575"/>
                  <a:pt x="914146" y="283888"/>
                </a:cubicBezTo>
                <a:cubicBezTo>
                  <a:pt x="919531" y="299201"/>
                  <a:pt x="922223" y="316281"/>
                  <a:pt x="922223" y="335128"/>
                </a:cubicBezTo>
                <a:cubicBezTo>
                  <a:pt x="922223" y="353638"/>
                  <a:pt x="919531" y="370550"/>
                  <a:pt x="914146" y="385863"/>
                </a:cubicBezTo>
                <a:cubicBezTo>
                  <a:pt x="908761" y="401176"/>
                  <a:pt x="901105" y="414301"/>
                  <a:pt x="891177" y="425239"/>
                </a:cubicBezTo>
                <a:cubicBezTo>
                  <a:pt x="881248" y="436177"/>
                  <a:pt x="869469" y="444591"/>
                  <a:pt x="855839" y="450480"/>
                </a:cubicBezTo>
                <a:cubicBezTo>
                  <a:pt x="842209" y="456370"/>
                  <a:pt x="827148" y="459315"/>
                  <a:pt x="810657" y="459315"/>
                </a:cubicBezTo>
                <a:close/>
                <a:moveTo>
                  <a:pt x="546919" y="477993"/>
                </a:moveTo>
                <a:cubicBezTo>
                  <a:pt x="563410" y="477993"/>
                  <a:pt x="576620" y="474207"/>
                  <a:pt x="586548" y="466635"/>
                </a:cubicBezTo>
                <a:cubicBezTo>
                  <a:pt x="596476" y="459062"/>
                  <a:pt x="601441" y="446189"/>
                  <a:pt x="601441" y="428016"/>
                </a:cubicBezTo>
                <a:cubicBezTo>
                  <a:pt x="601441" y="408832"/>
                  <a:pt x="596392" y="395286"/>
                  <a:pt x="586296" y="387377"/>
                </a:cubicBezTo>
                <a:cubicBezTo>
                  <a:pt x="576199" y="379468"/>
                  <a:pt x="561223" y="375514"/>
                  <a:pt x="541366" y="375514"/>
                </a:cubicBezTo>
                <a:lnTo>
                  <a:pt x="516125" y="375514"/>
                </a:lnTo>
                <a:lnTo>
                  <a:pt x="516125" y="476479"/>
                </a:lnTo>
                <a:cubicBezTo>
                  <a:pt x="519827" y="477152"/>
                  <a:pt x="524960" y="477573"/>
                  <a:pt x="531522" y="477741"/>
                </a:cubicBezTo>
                <a:cubicBezTo>
                  <a:pt x="538085" y="477909"/>
                  <a:pt x="543217" y="477993"/>
                  <a:pt x="546919" y="477993"/>
                </a:cubicBezTo>
                <a:close/>
                <a:moveTo>
                  <a:pt x="3324752" y="482537"/>
                </a:moveTo>
                <a:cubicBezTo>
                  <a:pt x="3341916" y="482537"/>
                  <a:pt x="3354958" y="473198"/>
                  <a:pt x="3363876" y="454519"/>
                </a:cubicBezTo>
                <a:cubicBezTo>
                  <a:pt x="3372794" y="435841"/>
                  <a:pt x="3377254" y="408664"/>
                  <a:pt x="3377254" y="372990"/>
                </a:cubicBezTo>
                <a:cubicBezTo>
                  <a:pt x="3377254" y="336979"/>
                  <a:pt x="3372794" y="309634"/>
                  <a:pt x="3363876" y="290956"/>
                </a:cubicBezTo>
                <a:cubicBezTo>
                  <a:pt x="3354958" y="272277"/>
                  <a:pt x="3341916" y="262938"/>
                  <a:pt x="3324752" y="262938"/>
                </a:cubicBezTo>
                <a:cubicBezTo>
                  <a:pt x="3307924" y="262938"/>
                  <a:pt x="3294968" y="272277"/>
                  <a:pt x="3285880" y="290956"/>
                </a:cubicBezTo>
                <a:cubicBezTo>
                  <a:pt x="3276794" y="309634"/>
                  <a:pt x="3272250" y="336979"/>
                  <a:pt x="3272250" y="372990"/>
                </a:cubicBezTo>
                <a:cubicBezTo>
                  <a:pt x="3272250" y="408664"/>
                  <a:pt x="3276794" y="435841"/>
                  <a:pt x="3285880" y="454519"/>
                </a:cubicBezTo>
                <a:cubicBezTo>
                  <a:pt x="3294968" y="473198"/>
                  <a:pt x="3307924" y="482537"/>
                  <a:pt x="3324752" y="482537"/>
                </a:cubicBezTo>
                <a:close/>
                <a:moveTo>
                  <a:pt x="1323054" y="522923"/>
                </a:moveTo>
                <a:lnTo>
                  <a:pt x="1260961" y="512826"/>
                </a:lnTo>
                <a:lnTo>
                  <a:pt x="1260961" y="453257"/>
                </a:lnTo>
                <a:lnTo>
                  <a:pt x="1206945" y="453257"/>
                </a:lnTo>
                <a:lnTo>
                  <a:pt x="1206945" y="401765"/>
                </a:lnTo>
                <a:lnTo>
                  <a:pt x="1260961" y="401765"/>
                </a:lnTo>
                <a:lnTo>
                  <a:pt x="1260961" y="304334"/>
                </a:lnTo>
                <a:cubicBezTo>
                  <a:pt x="1260961" y="284477"/>
                  <a:pt x="1262980" y="268407"/>
                  <a:pt x="1267019" y="256123"/>
                </a:cubicBezTo>
                <a:cubicBezTo>
                  <a:pt x="1271057" y="243839"/>
                  <a:pt x="1276947" y="234331"/>
                  <a:pt x="1284688" y="227600"/>
                </a:cubicBezTo>
                <a:cubicBezTo>
                  <a:pt x="1292428" y="220869"/>
                  <a:pt x="1301852" y="216326"/>
                  <a:pt x="1312958" y="213970"/>
                </a:cubicBezTo>
                <a:cubicBezTo>
                  <a:pt x="1324064" y="211614"/>
                  <a:pt x="1336853" y="210436"/>
                  <a:pt x="1351325" y="210436"/>
                </a:cubicBezTo>
                <a:cubicBezTo>
                  <a:pt x="1363777" y="210436"/>
                  <a:pt x="1376650" y="211446"/>
                  <a:pt x="1389944" y="213465"/>
                </a:cubicBezTo>
                <a:cubicBezTo>
                  <a:pt x="1403238" y="215484"/>
                  <a:pt x="1415606" y="218850"/>
                  <a:pt x="1427048" y="223562"/>
                </a:cubicBezTo>
                <a:lnTo>
                  <a:pt x="1418466" y="277073"/>
                </a:lnTo>
                <a:cubicBezTo>
                  <a:pt x="1412745" y="274381"/>
                  <a:pt x="1407444" y="272193"/>
                  <a:pt x="1402564" y="270510"/>
                </a:cubicBezTo>
                <a:cubicBezTo>
                  <a:pt x="1397684" y="268828"/>
                  <a:pt x="1392973" y="267566"/>
                  <a:pt x="1388429" y="266724"/>
                </a:cubicBezTo>
                <a:cubicBezTo>
                  <a:pt x="1383886" y="265883"/>
                  <a:pt x="1379174" y="265294"/>
                  <a:pt x="1374294" y="264957"/>
                </a:cubicBezTo>
                <a:cubicBezTo>
                  <a:pt x="1369414" y="264621"/>
                  <a:pt x="1364114" y="264452"/>
                  <a:pt x="1358392" y="264452"/>
                </a:cubicBezTo>
                <a:cubicBezTo>
                  <a:pt x="1353007" y="264452"/>
                  <a:pt x="1348127" y="264957"/>
                  <a:pt x="1343752" y="265967"/>
                </a:cubicBezTo>
                <a:cubicBezTo>
                  <a:pt x="1339377" y="266977"/>
                  <a:pt x="1335675" y="268996"/>
                  <a:pt x="1332646" y="272025"/>
                </a:cubicBezTo>
                <a:cubicBezTo>
                  <a:pt x="1329617" y="275054"/>
                  <a:pt x="1327261" y="279261"/>
                  <a:pt x="1325579" y="284645"/>
                </a:cubicBezTo>
                <a:cubicBezTo>
                  <a:pt x="1323896" y="290030"/>
                  <a:pt x="1323054" y="297098"/>
                  <a:pt x="1323054" y="305848"/>
                </a:cubicBezTo>
                <a:lnTo>
                  <a:pt x="1323054" y="401765"/>
                </a:lnTo>
                <a:lnTo>
                  <a:pt x="1422505" y="401765"/>
                </a:lnTo>
                <a:lnTo>
                  <a:pt x="1422505" y="453257"/>
                </a:lnTo>
                <a:lnTo>
                  <a:pt x="1323054" y="453257"/>
                </a:lnTo>
                <a:close/>
                <a:moveTo>
                  <a:pt x="539852" y="532010"/>
                </a:moveTo>
                <a:cubicBezTo>
                  <a:pt x="534131" y="532010"/>
                  <a:pt x="527568" y="531841"/>
                  <a:pt x="520164" y="531505"/>
                </a:cubicBezTo>
                <a:cubicBezTo>
                  <a:pt x="512760" y="531168"/>
                  <a:pt x="505187" y="530748"/>
                  <a:pt x="497447" y="530243"/>
                </a:cubicBezTo>
                <a:cubicBezTo>
                  <a:pt x="489706" y="529738"/>
                  <a:pt x="482049" y="528981"/>
                  <a:pt x="474477" y="527971"/>
                </a:cubicBezTo>
                <a:cubicBezTo>
                  <a:pt x="466905" y="526961"/>
                  <a:pt x="460090" y="525784"/>
                  <a:pt x="454032" y="524437"/>
                </a:cubicBezTo>
                <a:lnTo>
                  <a:pt x="454032" y="215989"/>
                </a:lnTo>
                <a:lnTo>
                  <a:pt x="516125" y="215989"/>
                </a:lnTo>
                <a:lnTo>
                  <a:pt x="516125" y="321498"/>
                </a:lnTo>
                <a:lnTo>
                  <a:pt x="538337" y="321498"/>
                </a:lnTo>
                <a:cubicBezTo>
                  <a:pt x="578723" y="321498"/>
                  <a:pt x="609938" y="329827"/>
                  <a:pt x="631982" y="346486"/>
                </a:cubicBezTo>
                <a:cubicBezTo>
                  <a:pt x="654026" y="363146"/>
                  <a:pt x="665048" y="390154"/>
                  <a:pt x="665048" y="427511"/>
                </a:cubicBezTo>
                <a:cubicBezTo>
                  <a:pt x="665048" y="464531"/>
                  <a:pt x="654111" y="491203"/>
                  <a:pt x="632235" y="507526"/>
                </a:cubicBezTo>
                <a:cubicBezTo>
                  <a:pt x="610359" y="523848"/>
                  <a:pt x="579565" y="532010"/>
                  <a:pt x="539852" y="532010"/>
                </a:cubicBezTo>
                <a:close/>
                <a:moveTo>
                  <a:pt x="3816452" y="535544"/>
                </a:moveTo>
                <a:cubicBezTo>
                  <a:pt x="3797604" y="535544"/>
                  <a:pt x="3780694" y="532430"/>
                  <a:pt x="3765716" y="526204"/>
                </a:cubicBezTo>
                <a:cubicBezTo>
                  <a:pt x="3750740" y="519978"/>
                  <a:pt x="3738708" y="513836"/>
                  <a:pt x="3729622" y="507778"/>
                </a:cubicBezTo>
                <a:lnTo>
                  <a:pt x="3751834" y="462344"/>
                </a:lnTo>
                <a:cubicBezTo>
                  <a:pt x="3760248" y="468065"/>
                  <a:pt x="3770260" y="472861"/>
                  <a:pt x="3781872" y="476731"/>
                </a:cubicBezTo>
                <a:cubicBezTo>
                  <a:pt x="3793482" y="480602"/>
                  <a:pt x="3805178" y="482537"/>
                  <a:pt x="3816956" y="482537"/>
                </a:cubicBezTo>
                <a:cubicBezTo>
                  <a:pt x="3829072" y="482537"/>
                  <a:pt x="3838580" y="479255"/>
                  <a:pt x="3845480" y="472693"/>
                </a:cubicBezTo>
                <a:cubicBezTo>
                  <a:pt x="3852378" y="466130"/>
                  <a:pt x="3855828" y="457127"/>
                  <a:pt x="3855828" y="445685"/>
                </a:cubicBezTo>
                <a:cubicBezTo>
                  <a:pt x="3855828" y="437944"/>
                  <a:pt x="3854230" y="431550"/>
                  <a:pt x="3851032" y="426501"/>
                </a:cubicBezTo>
                <a:cubicBezTo>
                  <a:pt x="3847836" y="421453"/>
                  <a:pt x="3843712" y="417414"/>
                  <a:pt x="3838664" y="414385"/>
                </a:cubicBezTo>
                <a:cubicBezTo>
                  <a:pt x="3833616" y="411357"/>
                  <a:pt x="3827894" y="409169"/>
                  <a:pt x="3821500" y="407823"/>
                </a:cubicBezTo>
                <a:cubicBezTo>
                  <a:pt x="3815106" y="406477"/>
                  <a:pt x="3808712" y="405803"/>
                  <a:pt x="3802316" y="405803"/>
                </a:cubicBezTo>
                <a:lnTo>
                  <a:pt x="3779094" y="405803"/>
                </a:lnTo>
                <a:lnTo>
                  <a:pt x="3779094" y="354311"/>
                </a:lnTo>
                <a:lnTo>
                  <a:pt x="3798278" y="354311"/>
                </a:lnTo>
                <a:cubicBezTo>
                  <a:pt x="3818470" y="354311"/>
                  <a:pt x="3835130" y="351030"/>
                  <a:pt x="3848256" y="344467"/>
                </a:cubicBezTo>
                <a:cubicBezTo>
                  <a:pt x="3861380" y="337904"/>
                  <a:pt x="3867944" y="326378"/>
                  <a:pt x="3867944" y="309887"/>
                </a:cubicBezTo>
                <a:cubicBezTo>
                  <a:pt x="3867944" y="296425"/>
                  <a:pt x="3863652" y="285150"/>
                  <a:pt x="3855072" y="276063"/>
                </a:cubicBezTo>
                <a:cubicBezTo>
                  <a:pt x="3846488" y="266977"/>
                  <a:pt x="3831596" y="262433"/>
                  <a:pt x="3810394" y="262433"/>
                </a:cubicBezTo>
                <a:cubicBezTo>
                  <a:pt x="3793230" y="262433"/>
                  <a:pt x="3778506" y="264284"/>
                  <a:pt x="3766222" y="267986"/>
                </a:cubicBezTo>
                <a:cubicBezTo>
                  <a:pt x="3753938" y="271688"/>
                  <a:pt x="3743924" y="275222"/>
                  <a:pt x="3736184" y="278588"/>
                </a:cubicBezTo>
                <a:lnTo>
                  <a:pt x="3724068" y="226591"/>
                </a:lnTo>
                <a:cubicBezTo>
                  <a:pt x="3727770" y="224908"/>
                  <a:pt x="3732988" y="223057"/>
                  <a:pt x="3739718" y="221037"/>
                </a:cubicBezTo>
                <a:cubicBezTo>
                  <a:pt x="3746450" y="219018"/>
                  <a:pt x="3753770" y="217167"/>
                  <a:pt x="3761678" y="215484"/>
                </a:cubicBezTo>
                <a:cubicBezTo>
                  <a:pt x="3769588" y="213802"/>
                  <a:pt x="3777832" y="212371"/>
                  <a:pt x="3786414" y="211193"/>
                </a:cubicBezTo>
                <a:cubicBezTo>
                  <a:pt x="3794996" y="210015"/>
                  <a:pt x="3803158" y="209427"/>
                  <a:pt x="3810898" y="209427"/>
                </a:cubicBezTo>
                <a:cubicBezTo>
                  <a:pt x="3831764" y="209427"/>
                  <a:pt x="3849770" y="211867"/>
                  <a:pt x="3864916" y="216746"/>
                </a:cubicBezTo>
                <a:cubicBezTo>
                  <a:pt x="3880060" y="221626"/>
                  <a:pt x="3892512" y="228526"/>
                  <a:pt x="3902272" y="237444"/>
                </a:cubicBezTo>
                <a:cubicBezTo>
                  <a:pt x="3912032" y="246363"/>
                  <a:pt x="3919268" y="256880"/>
                  <a:pt x="3923980" y="268996"/>
                </a:cubicBezTo>
                <a:cubicBezTo>
                  <a:pt x="3928692" y="281112"/>
                  <a:pt x="3931048" y="294405"/>
                  <a:pt x="3931048" y="308877"/>
                </a:cubicBezTo>
                <a:cubicBezTo>
                  <a:pt x="3931048" y="327051"/>
                  <a:pt x="3926588" y="342700"/>
                  <a:pt x="3917668" y="355826"/>
                </a:cubicBezTo>
                <a:cubicBezTo>
                  <a:pt x="3908750" y="368951"/>
                  <a:pt x="3896214" y="378879"/>
                  <a:pt x="3880060" y="385610"/>
                </a:cubicBezTo>
                <a:cubicBezTo>
                  <a:pt x="3891840" y="391668"/>
                  <a:pt x="3901262" y="400419"/>
                  <a:pt x="3908330" y="411861"/>
                </a:cubicBezTo>
                <a:cubicBezTo>
                  <a:pt x="3915398" y="423304"/>
                  <a:pt x="3918932" y="435252"/>
                  <a:pt x="3918932" y="447704"/>
                </a:cubicBezTo>
                <a:cubicBezTo>
                  <a:pt x="3918932" y="460156"/>
                  <a:pt x="3916912" y="471767"/>
                  <a:pt x="3912874" y="482537"/>
                </a:cubicBezTo>
                <a:cubicBezTo>
                  <a:pt x="3908834" y="493306"/>
                  <a:pt x="3902608" y="502646"/>
                  <a:pt x="3894196" y="510555"/>
                </a:cubicBezTo>
                <a:cubicBezTo>
                  <a:pt x="3885780" y="518464"/>
                  <a:pt x="3875096" y="524606"/>
                  <a:pt x="3862138" y="528981"/>
                </a:cubicBezTo>
                <a:cubicBezTo>
                  <a:pt x="3849180" y="533356"/>
                  <a:pt x="3833952" y="535544"/>
                  <a:pt x="3816452" y="535544"/>
                </a:cubicBezTo>
                <a:close/>
                <a:moveTo>
                  <a:pt x="3567354" y="535544"/>
                </a:moveTo>
                <a:cubicBezTo>
                  <a:pt x="3549854" y="535544"/>
                  <a:pt x="3532268" y="532178"/>
                  <a:pt x="3514600" y="525447"/>
                </a:cubicBezTo>
                <a:cubicBezTo>
                  <a:pt x="3496930" y="518716"/>
                  <a:pt x="3481366" y="508283"/>
                  <a:pt x="3467904" y="494148"/>
                </a:cubicBezTo>
                <a:lnTo>
                  <a:pt x="3498698" y="450733"/>
                </a:lnTo>
                <a:cubicBezTo>
                  <a:pt x="3509130" y="461839"/>
                  <a:pt x="3519732" y="469748"/>
                  <a:pt x="3530502" y="474460"/>
                </a:cubicBezTo>
                <a:cubicBezTo>
                  <a:pt x="3541272" y="479171"/>
                  <a:pt x="3551536" y="481527"/>
                  <a:pt x="3561296" y="481527"/>
                </a:cubicBezTo>
                <a:cubicBezTo>
                  <a:pt x="3573076" y="481527"/>
                  <a:pt x="3582836" y="478078"/>
                  <a:pt x="3590576" y="471178"/>
                </a:cubicBezTo>
                <a:cubicBezTo>
                  <a:pt x="3598316" y="464279"/>
                  <a:pt x="3602186" y="454435"/>
                  <a:pt x="3602188" y="441646"/>
                </a:cubicBezTo>
                <a:cubicBezTo>
                  <a:pt x="3602186" y="432559"/>
                  <a:pt x="3599074" y="423641"/>
                  <a:pt x="3592848" y="414890"/>
                </a:cubicBezTo>
                <a:cubicBezTo>
                  <a:pt x="3586622" y="406140"/>
                  <a:pt x="3578712" y="397053"/>
                  <a:pt x="3569120" y="387630"/>
                </a:cubicBezTo>
                <a:cubicBezTo>
                  <a:pt x="3559528" y="378206"/>
                  <a:pt x="3549264" y="368362"/>
                  <a:pt x="3538326" y="358097"/>
                </a:cubicBezTo>
                <a:cubicBezTo>
                  <a:pt x="3527388" y="347833"/>
                  <a:pt x="3517124" y="336727"/>
                  <a:pt x="3507532" y="324779"/>
                </a:cubicBezTo>
                <a:cubicBezTo>
                  <a:pt x="3497940" y="312831"/>
                  <a:pt x="3490032" y="299790"/>
                  <a:pt x="3483806" y="285655"/>
                </a:cubicBezTo>
                <a:cubicBezTo>
                  <a:pt x="3477580" y="271520"/>
                  <a:pt x="3474466" y="256039"/>
                  <a:pt x="3474466" y="239211"/>
                </a:cubicBezTo>
                <a:cubicBezTo>
                  <a:pt x="3474466" y="237192"/>
                  <a:pt x="3474382" y="233658"/>
                  <a:pt x="3474214" y="228610"/>
                </a:cubicBezTo>
                <a:cubicBezTo>
                  <a:pt x="3474046" y="223562"/>
                  <a:pt x="3474466" y="219355"/>
                  <a:pt x="3475476" y="215989"/>
                </a:cubicBezTo>
                <a:lnTo>
                  <a:pt x="3679426" y="215989"/>
                </a:lnTo>
                <a:lnTo>
                  <a:pt x="3679426" y="267481"/>
                </a:lnTo>
                <a:lnTo>
                  <a:pt x="3545142" y="267481"/>
                </a:lnTo>
                <a:cubicBezTo>
                  <a:pt x="3545142" y="272530"/>
                  <a:pt x="3546908" y="278083"/>
                  <a:pt x="3550442" y="284141"/>
                </a:cubicBezTo>
                <a:cubicBezTo>
                  <a:pt x="3553976" y="290198"/>
                  <a:pt x="3558268" y="296172"/>
                  <a:pt x="3563316" y="302062"/>
                </a:cubicBezTo>
                <a:cubicBezTo>
                  <a:pt x="3568364" y="307952"/>
                  <a:pt x="3573748" y="313673"/>
                  <a:pt x="3579470" y="319226"/>
                </a:cubicBezTo>
                <a:cubicBezTo>
                  <a:pt x="3585190" y="324779"/>
                  <a:pt x="3590240" y="329575"/>
                  <a:pt x="3594614" y="333613"/>
                </a:cubicBezTo>
                <a:cubicBezTo>
                  <a:pt x="3603364" y="341691"/>
                  <a:pt x="3611946" y="350104"/>
                  <a:pt x="3620360" y="358855"/>
                </a:cubicBezTo>
                <a:cubicBezTo>
                  <a:pt x="3628774" y="367605"/>
                  <a:pt x="3636346" y="376692"/>
                  <a:pt x="3643078" y="386115"/>
                </a:cubicBezTo>
                <a:cubicBezTo>
                  <a:pt x="3649808" y="395539"/>
                  <a:pt x="3655194" y="405214"/>
                  <a:pt x="3659232" y="415143"/>
                </a:cubicBezTo>
                <a:cubicBezTo>
                  <a:pt x="3663270" y="425071"/>
                  <a:pt x="3665290" y="435420"/>
                  <a:pt x="3665290" y="446189"/>
                </a:cubicBezTo>
                <a:cubicBezTo>
                  <a:pt x="3665290" y="460998"/>
                  <a:pt x="3662598" y="474039"/>
                  <a:pt x="3657212" y="485313"/>
                </a:cubicBezTo>
                <a:cubicBezTo>
                  <a:pt x="3651828" y="496588"/>
                  <a:pt x="3644592" y="505927"/>
                  <a:pt x="3635506" y="513331"/>
                </a:cubicBezTo>
                <a:cubicBezTo>
                  <a:pt x="3626418" y="520735"/>
                  <a:pt x="3615986" y="526288"/>
                  <a:pt x="3604206" y="529990"/>
                </a:cubicBezTo>
                <a:cubicBezTo>
                  <a:pt x="3592426" y="533692"/>
                  <a:pt x="3580142" y="535544"/>
                  <a:pt x="3567354" y="535544"/>
                </a:cubicBezTo>
                <a:close/>
                <a:moveTo>
                  <a:pt x="3324752" y="535544"/>
                </a:moveTo>
                <a:cubicBezTo>
                  <a:pt x="3290088" y="535544"/>
                  <a:pt x="3263332" y="522081"/>
                  <a:pt x="3244486" y="495157"/>
                </a:cubicBezTo>
                <a:cubicBezTo>
                  <a:pt x="3225638" y="468233"/>
                  <a:pt x="3216214" y="427511"/>
                  <a:pt x="3216214" y="372990"/>
                </a:cubicBezTo>
                <a:cubicBezTo>
                  <a:pt x="3216214" y="317796"/>
                  <a:pt x="3225470" y="276737"/>
                  <a:pt x="3243980" y="249813"/>
                </a:cubicBezTo>
                <a:cubicBezTo>
                  <a:pt x="3262490" y="222889"/>
                  <a:pt x="3289414" y="209427"/>
                  <a:pt x="3324752" y="209427"/>
                </a:cubicBezTo>
                <a:cubicBezTo>
                  <a:pt x="3360090" y="209427"/>
                  <a:pt x="3387014" y="222889"/>
                  <a:pt x="3405524" y="249813"/>
                </a:cubicBezTo>
                <a:cubicBezTo>
                  <a:pt x="3424034" y="276737"/>
                  <a:pt x="3433290" y="317796"/>
                  <a:pt x="3433290" y="372990"/>
                </a:cubicBezTo>
                <a:cubicBezTo>
                  <a:pt x="3433290" y="427847"/>
                  <a:pt x="3424034" y="468654"/>
                  <a:pt x="3405524" y="495410"/>
                </a:cubicBezTo>
                <a:cubicBezTo>
                  <a:pt x="3387014" y="522166"/>
                  <a:pt x="3360090" y="535544"/>
                  <a:pt x="3324752" y="535544"/>
                </a:cubicBezTo>
                <a:close/>
                <a:moveTo>
                  <a:pt x="3062528" y="535544"/>
                </a:moveTo>
                <a:cubicBezTo>
                  <a:pt x="3045028" y="535544"/>
                  <a:pt x="3027444" y="532178"/>
                  <a:pt x="3009774" y="525447"/>
                </a:cubicBezTo>
                <a:cubicBezTo>
                  <a:pt x="2992106" y="518716"/>
                  <a:pt x="2976540" y="508283"/>
                  <a:pt x="2963078" y="494148"/>
                </a:cubicBezTo>
                <a:lnTo>
                  <a:pt x="2993872" y="450733"/>
                </a:lnTo>
                <a:cubicBezTo>
                  <a:pt x="3004306" y="461839"/>
                  <a:pt x="3014908" y="469748"/>
                  <a:pt x="3025676" y="474460"/>
                </a:cubicBezTo>
                <a:cubicBezTo>
                  <a:pt x="3036446" y="479171"/>
                  <a:pt x="3046712" y="481527"/>
                  <a:pt x="3056472" y="481527"/>
                </a:cubicBezTo>
                <a:cubicBezTo>
                  <a:pt x="3068250" y="481527"/>
                  <a:pt x="3078010" y="478078"/>
                  <a:pt x="3085752" y="471178"/>
                </a:cubicBezTo>
                <a:cubicBezTo>
                  <a:pt x="3093492" y="464279"/>
                  <a:pt x="3097362" y="454435"/>
                  <a:pt x="3097362" y="441646"/>
                </a:cubicBezTo>
                <a:cubicBezTo>
                  <a:pt x="3097362" y="432559"/>
                  <a:pt x="3094248" y="423641"/>
                  <a:pt x="3088022" y="414890"/>
                </a:cubicBezTo>
                <a:cubicBezTo>
                  <a:pt x="3081796" y="406140"/>
                  <a:pt x="3073888" y="397053"/>
                  <a:pt x="3064296" y="387630"/>
                </a:cubicBezTo>
                <a:cubicBezTo>
                  <a:pt x="3054704" y="378206"/>
                  <a:pt x="3044440" y="368362"/>
                  <a:pt x="3033502" y="358097"/>
                </a:cubicBezTo>
                <a:cubicBezTo>
                  <a:pt x="3022564" y="347833"/>
                  <a:pt x="3012298" y="336727"/>
                  <a:pt x="3002708" y="324779"/>
                </a:cubicBezTo>
                <a:cubicBezTo>
                  <a:pt x="2993116" y="312831"/>
                  <a:pt x="2985206" y="299790"/>
                  <a:pt x="2978980" y="285655"/>
                </a:cubicBezTo>
                <a:cubicBezTo>
                  <a:pt x="2972754" y="271520"/>
                  <a:pt x="2969642" y="256039"/>
                  <a:pt x="2969642" y="239211"/>
                </a:cubicBezTo>
                <a:cubicBezTo>
                  <a:pt x="2969642" y="237192"/>
                  <a:pt x="2969558" y="233658"/>
                  <a:pt x="2969388" y="228610"/>
                </a:cubicBezTo>
                <a:cubicBezTo>
                  <a:pt x="2969220" y="223562"/>
                  <a:pt x="2969640" y="219355"/>
                  <a:pt x="2970650" y="215989"/>
                </a:cubicBezTo>
                <a:lnTo>
                  <a:pt x="3174600" y="215989"/>
                </a:lnTo>
                <a:lnTo>
                  <a:pt x="3174600" y="267481"/>
                </a:lnTo>
                <a:lnTo>
                  <a:pt x="3040316" y="267481"/>
                </a:lnTo>
                <a:cubicBezTo>
                  <a:pt x="3040316" y="272530"/>
                  <a:pt x="3042084" y="278083"/>
                  <a:pt x="3045618" y="284141"/>
                </a:cubicBezTo>
                <a:cubicBezTo>
                  <a:pt x="3049152" y="290198"/>
                  <a:pt x="3053442" y="296172"/>
                  <a:pt x="3058490" y="302062"/>
                </a:cubicBezTo>
                <a:cubicBezTo>
                  <a:pt x="3063538" y="307952"/>
                  <a:pt x="3068924" y="313673"/>
                  <a:pt x="3074644" y="319226"/>
                </a:cubicBezTo>
                <a:cubicBezTo>
                  <a:pt x="3080366" y="324779"/>
                  <a:pt x="3085414" y="329575"/>
                  <a:pt x="3089790" y="333613"/>
                </a:cubicBezTo>
                <a:cubicBezTo>
                  <a:pt x="3098540" y="341691"/>
                  <a:pt x="3107122" y="350104"/>
                  <a:pt x="3115536" y="358855"/>
                </a:cubicBezTo>
                <a:cubicBezTo>
                  <a:pt x="3123950" y="367605"/>
                  <a:pt x="3131522" y="376692"/>
                  <a:pt x="3138252" y="386115"/>
                </a:cubicBezTo>
                <a:cubicBezTo>
                  <a:pt x="3144984" y="395539"/>
                  <a:pt x="3150368" y="405214"/>
                  <a:pt x="3154408" y="415143"/>
                </a:cubicBezTo>
                <a:cubicBezTo>
                  <a:pt x="3158446" y="425071"/>
                  <a:pt x="3160464" y="435420"/>
                  <a:pt x="3160464" y="446189"/>
                </a:cubicBezTo>
                <a:cubicBezTo>
                  <a:pt x="3160464" y="460998"/>
                  <a:pt x="3157772" y="474039"/>
                  <a:pt x="3152388" y="485313"/>
                </a:cubicBezTo>
                <a:cubicBezTo>
                  <a:pt x="3147002" y="496588"/>
                  <a:pt x="3139766" y="505927"/>
                  <a:pt x="3130680" y="513331"/>
                </a:cubicBezTo>
                <a:cubicBezTo>
                  <a:pt x="3121594" y="520735"/>
                  <a:pt x="3111160" y="526288"/>
                  <a:pt x="3099382" y="529990"/>
                </a:cubicBezTo>
                <a:cubicBezTo>
                  <a:pt x="3087602" y="533692"/>
                  <a:pt x="3075318" y="535544"/>
                  <a:pt x="3062528" y="535544"/>
                </a:cubicBezTo>
                <a:close/>
                <a:moveTo>
                  <a:pt x="2292890" y="561290"/>
                </a:moveTo>
                <a:cubicBezTo>
                  <a:pt x="2282120" y="561290"/>
                  <a:pt x="2272949" y="557756"/>
                  <a:pt x="2265377" y="550688"/>
                </a:cubicBezTo>
                <a:cubicBezTo>
                  <a:pt x="2257805" y="543621"/>
                  <a:pt x="2254018" y="533861"/>
                  <a:pt x="2254018" y="521408"/>
                </a:cubicBezTo>
                <a:cubicBezTo>
                  <a:pt x="2254018" y="509293"/>
                  <a:pt x="2257805" y="499701"/>
                  <a:pt x="2265377" y="492633"/>
                </a:cubicBezTo>
                <a:cubicBezTo>
                  <a:pt x="2272949" y="485566"/>
                  <a:pt x="2282120" y="482032"/>
                  <a:pt x="2292890" y="482032"/>
                </a:cubicBezTo>
                <a:cubicBezTo>
                  <a:pt x="2303660" y="482032"/>
                  <a:pt x="2312914" y="485566"/>
                  <a:pt x="2320655" y="492633"/>
                </a:cubicBezTo>
                <a:cubicBezTo>
                  <a:pt x="2328396" y="499701"/>
                  <a:pt x="2332266" y="509293"/>
                  <a:pt x="2332266" y="521408"/>
                </a:cubicBezTo>
                <a:cubicBezTo>
                  <a:pt x="2332266" y="533861"/>
                  <a:pt x="2328396" y="543621"/>
                  <a:pt x="2320655" y="550688"/>
                </a:cubicBezTo>
                <a:cubicBezTo>
                  <a:pt x="2312914" y="557756"/>
                  <a:pt x="2303660" y="561290"/>
                  <a:pt x="2292890" y="561290"/>
                </a:cubicBezTo>
                <a:close/>
                <a:moveTo>
                  <a:pt x="1959420" y="563309"/>
                </a:moveTo>
                <a:lnTo>
                  <a:pt x="1959420" y="511817"/>
                </a:lnTo>
                <a:lnTo>
                  <a:pt x="2025047" y="511817"/>
                </a:lnTo>
                <a:lnTo>
                  <a:pt x="2025047" y="310392"/>
                </a:lnTo>
                <a:cubicBezTo>
                  <a:pt x="2025047" y="277746"/>
                  <a:pt x="2031610" y="252926"/>
                  <a:pt x="2044735" y="235930"/>
                </a:cubicBezTo>
                <a:cubicBezTo>
                  <a:pt x="2057860" y="218934"/>
                  <a:pt x="2078727" y="210436"/>
                  <a:pt x="2107333" y="210436"/>
                </a:cubicBezTo>
                <a:cubicBezTo>
                  <a:pt x="2117767" y="210436"/>
                  <a:pt x="2127106" y="211109"/>
                  <a:pt x="2135351" y="212455"/>
                </a:cubicBezTo>
                <a:cubicBezTo>
                  <a:pt x="2143597" y="213802"/>
                  <a:pt x="2150580" y="215400"/>
                  <a:pt x="2156302" y="217251"/>
                </a:cubicBezTo>
                <a:cubicBezTo>
                  <a:pt x="2162023" y="219102"/>
                  <a:pt x="2166650" y="220869"/>
                  <a:pt x="2170184" y="222552"/>
                </a:cubicBezTo>
                <a:cubicBezTo>
                  <a:pt x="2173718" y="224235"/>
                  <a:pt x="2175990" y="225413"/>
                  <a:pt x="2176999" y="226086"/>
                </a:cubicBezTo>
                <a:lnTo>
                  <a:pt x="2168922" y="276063"/>
                </a:lnTo>
                <a:cubicBezTo>
                  <a:pt x="2166230" y="275054"/>
                  <a:pt x="2160677" y="272866"/>
                  <a:pt x="2152263" y="269501"/>
                </a:cubicBezTo>
                <a:cubicBezTo>
                  <a:pt x="2143849" y="266135"/>
                  <a:pt x="2133416" y="264452"/>
                  <a:pt x="2120964" y="264452"/>
                </a:cubicBezTo>
                <a:cubicBezTo>
                  <a:pt x="2111204" y="264452"/>
                  <a:pt x="2103126" y="267313"/>
                  <a:pt x="2096732" y="273034"/>
                </a:cubicBezTo>
                <a:cubicBezTo>
                  <a:pt x="2090338" y="278756"/>
                  <a:pt x="2087140" y="289694"/>
                  <a:pt x="2087140" y="305848"/>
                </a:cubicBezTo>
                <a:lnTo>
                  <a:pt x="2087140" y="563309"/>
                </a:lnTo>
                <a:close/>
                <a:moveTo>
                  <a:pt x="1607052" y="565833"/>
                </a:moveTo>
                <a:cubicBezTo>
                  <a:pt x="1594263" y="565833"/>
                  <a:pt x="1581811" y="564234"/>
                  <a:pt x="1569695" y="561037"/>
                </a:cubicBezTo>
                <a:cubicBezTo>
                  <a:pt x="1557579" y="557840"/>
                  <a:pt x="1546810" y="552455"/>
                  <a:pt x="1537386" y="544883"/>
                </a:cubicBezTo>
                <a:cubicBezTo>
                  <a:pt x="1527963" y="537310"/>
                  <a:pt x="1520474" y="527214"/>
                  <a:pt x="1514921" y="514593"/>
                </a:cubicBezTo>
                <a:cubicBezTo>
                  <a:pt x="1509368" y="501973"/>
                  <a:pt x="1506592" y="486071"/>
                  <a:pt x="1506592" y="466887"/>
                </a:cubicBezTo>
                <a:lnTo>
                  <a:pt x="1506592" y="453257"/>
                </a:lnTo>
                <a:lnTo>
                  <a:pt x="1454595" y="453257"/>
                </a:lnTo>
                <a:lnTo>
                  <a:pt x="1454595" y="401765"/>
                </a:lnTo>
                <a:lnTo>
                  <a:pt x="1506592" y="401765"/>
                </a:lnTo>
                <a:lnTo>
                  <a:pt x="1506592" y="215989"/>
                </a:lnTo>
                <a:lnTo>
                  <a:pt x="1569190" y="215989"/>
                </a:lnTo>
                <a:lnTo>
                  <a:pt x="1569190" y="401765"/>
                </a:lnTo>
                <a:lnTo>
                  <a:pt x="1666621" y="401765"/>
                </a:lnTo>
                <a:lnTo>
                  <a:pt x="1666621" y="453257"/>
                </a:lnTo>
                <a:lnTo>
                  <a:pt x="1569190" y="453257"/>
                </a:lnTo>
                <a:lnTo>
                  <a:pt x="1569190" y="465878"/>
                </a:lnTo>
                <a:cubicBezTo>
                  <a:pt x="1569190" y="475974"/>
                  <a:pt x="1570368" y="484135"/>
                  <a:pt x="1572724" y="490362"/>
                </a:cubicBezTo>
                <a:cubicBezTo>
                  <a:pt x="1575080" y="496588"/>
                  <a:pt x="1578193" y="501384"/>
                  <a:pt x="1582063" y="504749"/>
                </a:cubicBezTo>
                <a:cubicBezTo>
                  <a:pt x="1585933" y="508115"/>
                  <a:pt x="1590477" y="510302"/>
                  <a:pt x="1595693" y="511312"/>
                </a:cubicBezTo>
                <a:cubicBezTo>
                  <a:pt x="1600910" y="512322"/>
                  <a:pt x="1606379" y="512826"/>
                  <a:pt x="1612100" y="512826"/>
                </a:cubicBezTo>
                <a:cubicBezTo>
                  <a:pt x="1622533" y="512826"/>
                  <a:pt x="1633555" y="511396"/>
                  <a:pt x="1645166" y="508535"/>
                </a:cubicBezTo>
                <a:cubicBezTo>
                  <a:pt x="1656777" y="505675"/>
                  <a:pt x="1666453" y="502898"/>
                  <a:pt x="1674194" y="500206"/>
                </a:cubicBezTo>
                <a:lnTo>
                  <a:pt x="1684795" y="550688"/>
                </a:lnTo>
                <a:cubicBezTo>
                  <a:pt x="1673689" y="556073"/>
                  <a:pt x="1661236" y="559943"/>
                  <a:pt x="1647438" y="562299"/>
                </a:cubicBezTo>
                <a:cubicBezTo>
                  <a:pt x="1633639" y="564655"/>
                  <a:pt x="1620178" y="565833"/>
                  <a:pt x="1607052" y="565833"/>
                </a:cubicBezTo>
                <a:close/>
                <a:moveTo>
                  <a:pt x="0" y="796029"/>
                </a:moveTo>
                <a:lnTo>
                  <a:pt x="4876802" y="796029"/>
                </a:lnTo>
                <a:lnTo>
                  <a:pt x="4824822" y="344498"/>
                </a:lnTo>
                <a:cubicBezTo>
                  <a:pt x="4801968" y="145891"/>
                  <a:pt x="4682292" y="207"/>
                  <a:pt x="4541980" y="155"/>
                </a:cubicBezTo>
                <a:lnTo>
                  <a:pt x="0" y="0"/>
                </a:lnTo>
                <a:close/>
              </a:path>
            </a:pathLst>
          </a:custGeom>
          <a:solidFill>
            <a:schemeClr val="bg1"/>
          </a:solidFill>
          <a:ln w="2834" cap="flat">
            <a:noFill/>
            <a:prstDash val="solid"/>
            <a:miter/>
          </a:ln>
        </p:spPr>
        <p:txBody>
          <a:bodyPr wrap="square" rtlCol="0" anchor="ctr">
            <a:noAutofit/>
          </a:bodyPr>
          <a:lstStyle/>
          <a:p>
            <a:endParaRPr lang="en-US" dirty="0"/>
          </a:p>
        </p:txBody>
      </p:sp>
      <p:pic>
        <p:nvPicPr>
          <p:cNvPr id="8" name="Imagen 7" descr="Un dibujo de una cara feliz&#10;&#10;Descripción generada automáticamente con confianza baja">
            <a:extLst>
              <a:ext uri="{FF2B5EF4-FFF2-40B4-BE49-F238E27FC236}">
                <a16:creationId xmlns:a16="http://schemas.microsoft.com/office/drawing/2014/main" id="{A82FAAE7-F450-2EFB-B470-9CA2B285AACF}"/>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7824450" y="406400"/>
            <a:ext cx="1801936" cy="934010"/>
          </a:xfrm>
          <a:prstGeom prst="rect">
            <a:avLst/>
          </a:prstGeom>
        </p:spPr>
      </p:pic>
      <p:sp>
        <p:nvSpPr>
          <p:cNvPr id="10" name="Título 9">
            <a:extLst>
              <a:ext uri="{FF2B5EF4-FFF2-40B4-BE49-F238E27FC236}">
                <a16:creationId xmlns:a16="http://schemas.microsoft.com/office/drawing/2014/main" id="{7E8DAFFC-ADDB-1273-AA91-4852BCB21C8E}"/>
              </a:ext>
            </a:extLst>
          </p:cNvPr>
          <p:cNvSpPr>
            <a:spLocks noGrp="1"/>
          </p:cNvSpPr>
          <p:nvPr>
            <p:ph type="title" hasCustomPrompt="1"/>
          </p:nvPr>
        </p:nvSpPr>
        <p:spPr>
          <a:xfrm>
            <a:off x="7104380" y="1495932"/>
            <a:ext cx="10692384" cy="646331"/>
          </a:xfrm>
        </p:spPr>
        <p:txBody>
          <a:bodyPr/>
          <a:lstStyle>
            <a:lvl1pPr>
              <a:defRPr sz="4200" b="1" i="0">
                <a:solidFill>
                  <a:schemeClr val="bg1"/>
                </a:solidFill>
                <a:latin typeface="Ubuntu" panose="020B0504030602030204" pitchFamily="34" charset="0"/>
              </a:defRPr>
            </a:lvl1pPr>
          </a:lstStyle>
          <a:p>
            <a:r>
              <a:rPr lang="es-ES" dirty="0"/>
              <a:t>ASDFASFD</a:t>
            </a:r>
          </a:p>
        </p:txBody>
      </p:sp>
      <p:sp>
        <p:nvSpPr>
          <p:cNvPr id="11" name="object 12">
            <a:extLst>
              <a:ext uri="{FF2B5EF4-FFF2-40B4-BE49-F238E27FC236}">
                <a16:creationId xmlns:a16="http://schemas.microsoft.com/office/drawing/2014/main" id="{527854C5-8C21-D1AB-7E04-F771C691CE29}"/>
              </a:ext>
            </a:extLst>
          </p:cNvPr>
          <p:cNvSpPr txBox="1"/>
          <p:nvPr userDrawn="1"/>
        </p:nvSpPr>
        <p:spPr>
          <a:xfrm>
            <a:off x="7104380" y="807573"/>
            <a:ext cx="9881870" cy="567463"/>
          </a:xfrm>
          <a:prstGeom prst="rect">
            <a:avLst/>
          </a:prstGeom>
        </p:spPr>
        <p:txBody>
          <a:bodyPr vert="horz" wrap="square" lIns="0" tIns="13335" rIns="0" bIns="0" rtlCol="0">
            <a:spAutoFit/>
          </a:bodyPr>
          <a:lstStyle/>
          <a:p>
            <a:pPr marL="12700">
              <a:lnSpc>
                <a:spcPct val="100000"/>
              </a:lnSpc>
              <a:spcBef>
                <a:spcPts val="105"/>
              </a:spcBef>
            </a:pPr>
            <a:r>
              <a:rPr lang="en-US" sz="3600" spc="-30" dirty="0">
                <a:solidFill>
                  <a:srgbClr val="12A9D8"/>
                </a:solidFill>
                <a:latin typeface="Ubuntu Mono" panose="020B0509030602030204" pitchFamily="49" charset="0"/>
                <a:cs typeface="Ubuntu"/>
              </a:rPr>
              <a:t>Thinking about…</a:t>
            </a:r>
            <a:endParaRPr lang="en-US" sz="3600" dirty="0">
              <a:solidFill>
                <a:srgbClr val="12A9D8"/>
              </a:solidFill>
              <a:latin typeface="Ubuntu"/>
              <a:cs typeface="Ubuntu"/>
            </a:endParaRPr>
          </a:p>
        </p:txBody>
      </p:sp>
      <p:sp>
        <p:nvSpPr>
          <p:cNvPr id="15" name="Marcador de texto 14">
            <a:extLst>
              <a:ext uri="{FF2B5EF4-FFF2-40B4-BE49-F238E27FC236}">
                <a16:creationId xmlns:a16="http://schemas.microsoft.com/office/drawing/2014/main" id="{894536B8-BEFF-96E8-2A83-A0B97363D840}"/>
              </a:ext>
            </a:extLst>
          </p:cNvPr>
          <p:cNvSpPr>
            <a:spLocks noGrp="1"/>
          </p:cNvSpPr>
          <p:nvPr>
            <p:ph type="body" sz="quarter" idx="10"/>
          </p:nvPr>
        </p:nvSpPr>
        <p:spPr>
          <a:xfrm>
            <a:off x="7104380" y="3225800"/>
            <a:ext cx="12244070" cy="6931641"/>
          </a:xfrm>
          <a:prstGeom prst="rect">
            <a:avLst/>
          </a:prstGeom>
        </p:spPr>
        <p:txBody>
          <a:bodyPr/>
          <a:lstStyle>
            <a:lvl1pPr>
              <a:defRPr sz="2900" b="0" i="0">
                <a:solidFill>
                  <a:schemeClr val="bg1"/>
                </a:solidFill>
                <a:latin typeface="Ubuntu Light" panose="020B0304030602030204" pitchFamily="34" charset="0"/>
              </a:defRPr>
            </a:lvl1pPr>
            <a:lvl2pPr>
              <a:defRPr sz="2900" b="0" i="0">
                <a:solidFill>
                  <a:schemeClr val="bg1"/>
                </a:solidFill>
                <a:latin typeface="Ubuntu Light" panose="020B0304030602030204" pitchFamily="34" charset="0"/>
              </a:defRPr>
            </a:lvl2pPr>
            <a:lvl3pPr>
              <a:defRPr sz="2900" b="0" i="0">
                <a:solidFill>
                  <a:schemeClr val="bg1"/>
                </a:solidFill>
                <a:latin typeface="Ubuntu Light" panose="020B0304030602030204" pitchFamily="34" charset="0"/>
              </a:defRPr>
            </a:lvl3pPr>
            <a:lvl4pPr>
              <a:defRPr sz="2900" b="0" i="0">
                <a:solidFill>
                  <a:schemeClr val="bg1"/>
                </a:solidFill>
                <a:latin typeface="Ubuntu Light" panose="020B0304030602030204" pitchFamily="34" charset="0"/>
              </a:defRPr>
            </a:lvl4pPr>
            <a:lvl5pPr>
              <a:defRPr sz="2900" b="0" i="0">
                <a:solidFill>
                  <a:schemeClr val="bg1"/>
                </a:solidFill>
                <a:latin typeface="Ubuntu Light" panose="020B0304030602030204" pitchFamily="34" charset="0"/>
              </a:defRPr>
            </a:lvl5pPr>
          </a:lstStyle>
          <a:p>
            <a:pPr lvl="0"/>
            <a:r>
              <a:rPr lang="es-ES" dirty="0"/>
              <a:t>Haga clic para modificar los estilos de texto del patrón</a:t>
            </a:r>
          </a:p>
          <a:p>
            <a:pPr lvl="1"/>
            <a:r>
              <a:rPr lang="es-ES" dirty="0"/>
              <a:t>Segundo nivel</a:t>
            </a:r>
          </a:p>
          <a:p>
            <a:pPr lvl="2"/>
            <a:r>
              <a:rPr lang="es-ES" dirty="0"/>
              <a:t> nivel</a:t>
            </a:r>
          </a:p>
          <a:p>
            <a:pPr lvl="3"/>
            <a:r>
              <a:rPr lang="es-ES" dirty="0"/>
              <a:t>Cuarto nivel</a:t>
            </a:r>
          </a:p>
          <a:p>
            <a:pPr lvl="4"/>
            <a:r>
              <a:rPr lang="es-ES" dirty="0"/>
              <a:t>Quinto nivel</a:t>
            </a:r>
          </a:p>
        </p:txBody>
      </p:sp>
      <p:sp>
        <p:nvSpPr>
          <p:cNvPr id="16" name="CuadroTexto 15">
            <a:extLst>
              <a:ext uri="{FF2B5EF4-FFF2-40B4-BE49-F238E27FC236}">
                <a16:creationId xmlns:a16="http://schemas.microsoft.com/office/drawing/2014/main" id="{9D153551-888E-2E4A-C9F1-C375C679B619}"/>
              </a:ext>
            </a:extLst>
          </p:cNvPr>
          <p:cNvSpPr txBox="1"/>
          <p:nvPr userDrawn="1"/>
        </p:nvSpPr>
        <p:spPr>
          <a:xfrm>
            <a:off x="4870450" y="-151634"/>
            <a:ext cx="3200400" cy="4508927"/>
          </a:xfrm>
          <a:prstGeom prst="rect">
            <a:avLst/>
          </a:prstGeom>
          <a:noFill/>
        </p:spPr>
        <p:txBody>
          <a:bodyPr wrap="square" rtlCol="0">
            <a:spAutoFit/>
          </a:bodyPr>
          <a:lstStyle/>
          <a:p>
            <a:r>
              <a:rPr lang="es-ES" sz="28700" b="1" i="0" dirty="0">
                <a:solidFill>
                  <a:srgbClr val="12A9D8"/>
                </a:solidFill>
                <a:latin typeface="Ubuntu" panose="020B0504030602030204" pitchFamily="34" charset="0"/>
              </a:rPr>
              <a:t>?</a:t>
            </a:r>
          </a:p>
        </p:txBody>
      </p:sp>
    </p:spTree>
    <p:extLst>
      <p:ext uri="{BB962C8B-B14F-4D97-AF65-F5344CB8AC3E}">
        <p14:creationId xmlns:p14="http://schemas.microsoft.com/office/powerpoint/2010/main" val="181751004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2_Title and Content">
    <p:spTree>
      <p:nvGrpSpPr>
        <p:cNvPr id="1" name=""/>
        <p:cNvGrpSpPr/>
        <p:nvPr/>
      </p:nvGrpSpPr>
      <p:grpSpPr>
        <a:xfrm>
          <a:off x="0" y="0"/>
          <a:ext cx="0" cy="0"/>
          <a:chOff x="0" y="0"/>
          <a:chExt cx="0" cy="0"/>
        </a:xfrm>
      </p:grpSpPr>
      <p:pic>
        <p:nvPicPr>
          <p:cNvPr id="9" name="Imagen 8" descr="Dibujo de una persona&#10;&#10;Descripción generada automáticamente con confianza media">
            <a:extLst>
              <a:ext uri="{FF2B5EF4-FFF2-40B4-BE49-F238E27FC236}">
                <a16:creationId xmlns:a16="http://schemas.microsoft.com/office/drawing/2014/main" id="{461F3E7E-3B2F-A113-8D8A-2785ED7E91B4}"/>
              </a:ext>
            </a:extLst>
          </p:cNvPr>
          <p:cNvPicPr>
            <a:picLocks noChangeAspect="1"/>
          </p:cNvPicPr>
          <p:nvPr userDrawn="1"/>
        </p:nvPicPr>
        <p:blipFill rotWithShape="1">
          <a:blip r:embed="rId2">
            <a:extLst>
              <a:ext uri="{28A0092B-C50C-407E-A947-70E740481C1C}">
                <a14:useLocalDpi xmlns:a14="http://schemas.microsoft.com/office/drawing/2010/main"/>
              </a:ext>
            </a:extLst>
          </a:blip>
          <a:srcRect b="-87"/>
          <a:stretch/>
        </p:blipFill>
        <p:spPr>
          <a:xfrm>
            <a:off x="0" y="-17753"/>
            <a:ext cx="6348730" cy="11373827"/>
          </a:xfrm>
          <a:prstGeom prst="rect">
            <a:avLst/>
          </a:prstGeom>
        </p:spPr>
      </p:pic>
      <p:sp>
        <p:nvSpPr>
          <p:cNvPr id="3" name="Rectángulo 2">
            <a:extLst>
              <a:ext uri="{FF2B5EF4-FFF2-40B4-BE49-F238E27FC236}">
                <a16:creationId xmlns:a16="http://schemas.microsoft.com/office/drawing/2014/main" id="{8E2A0C8C-2F63-07D5-D3ED-F129D31CE088}"/>
              </a:ext>
            </a:extLst>
          </p:cNvPr>
          <p:cNvSpPr/>
          <p:nvPr userDrawn="1"/>
        </p:nvSpPr>
        <p:spPr>
          <a:xfrm>
            <a:off x="6318250" y="-17753"/>
            <a:ext cx="13785850" cy="11346153"/>
          </a:xfrm>
          <a:prstGeom prst="rect">
            <a:avLst/>
          </a:prstGeom>
          <a:solidFill>
            <a:srgbClr val="330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4" name="Holder 4"/>
          <p:cNvSpPr>
            <a:spLocks noGrp="1"/>
          </p:cNvSpPr>
          <p:nvPr>
            <p:ph type="ftr" sz="quarter" idx="5"/>
          </p:nvPr>
        </p:nvSpPr>
        <p:spPr>
          <a:xfrm>
            <a:off x="16647741" y="10759212"/>
            <a:ext cx="2962677" cy="200055"/>
          </a:xfrm>
          <a:prstGeom prst="rect">
            <a:avLst/>
          </a:prstGeom>
        </p:spPr>
        <p:txBody>
          <a:bodyPr lIns="0" tIns="0" rIns="0" bIns="0"/>
          <a:lstStyle>
            <a:lvl1pPr>
              <a:defRPr sz="1300" b="0" i="0">
                <a:solidFill>
                  <a:schemeClr val="bg1"/>
                </a:solidFill>
                <a:latin typeface="Ubuntu Light"/>
                <a:cs typeface="Ubuntu Light"/>
              </a:defRPr>
            </a:lvl1pPr>
          </a:lstStyle>
          <a:p>
            <a:pPr marL="26034">
              <a:spcBef>
                <a:spcPts val="30"/>
              </a:spcBef>
            </a:pPr>
            <a:r>
              <a:rPr lang="es-ES" dirty="0"/>
              <a:t>Public</a:t>
            </a:r>
            <a:r>
              <a:rPr lang="es-ES" spc="-40" dirty="0"/>
              <a:t> </a:t>
            </a:r>
            <a:r>
              <a:rPr lang="es-ES" dirty="0"/>
              <a:t>©</a:t>
            </a:r>
            <a:r>
              <a:rPr lang="es-ES" spc="-40" dirty="0"/>
              <a:t> </a:t>
            </a:r>
            <a:r>
              <a:rPr lang="es-ES" dirty="0"/>
              <a:t>2023</a:t>
            </a:r>
            <a:r>
              <a:rPr lang="es-ES" spc="-40" dirty="0"/>
              <a:t> </a:t>
            </a:r>
            <a:r>
              <a:rPr lang="es-ES" spc="-10" dirty="0"/>
              <a:t>Sogeti.</a:t>
            </a:r>
            <a:r>
              <a:rPr lang="es-ES" spc="-35" dirty="0"/>
              <a:t> </a:t>
            </a:r>
            <a:r>
              <a:rPr lang="es-ES" dirty="0" err="1"/>
              <a:t>All</a:t>
            </a:r>
            <a:r>
              <a:rPr lang="es-ES" spc="-40" dirty="0"/>
              <a:t> </a:t>
            </a:r>
            <a:r>
              <a:rPr lang="es-ES" dirty="0"/>
              <a:t>rights</a:t>
            </a:r>
            <a:r>
              <a:rPr lang="es-ES" spc="-40" dirty="0"/>
              <a:t> </a:t>
            </a:r>
            <a:r>
              <a:rPr lang="es-ES" spc="-10" dirty="0" err="1"/>
              <a:t>reserved</a:t>
            </a:r>
            <a:endParaRPr lang="es-ES" spc="-10" dirty="0"/>
          </a:p>
        </p:txBody>
      </p:sp>
      <p:sp>
        <p:nvSpPr>
          <p:cNvPr id="2" name="CuadroTexto 1">
            <a:extLst>
              <a:ext uri="{FF2B5EF4-FFF2-40B4-BE49-F238E27FC236}">
                <a16:creationId xmlns:a16="http://schemas.microsoft.com/office/drawing/2014/main" id="{72E5CF79-7DA3-E21E-3060-87CB44907F25}"/>
              </a:ext>
            </a:extLst>
          </p:cNvPr>
          <p:cNvSpPr txBox="1"/>
          <p:nvPr userDrawn="1"/>
        </p:nvSpPr>
        <p:spPr>
          <a:xfrm>
            <a:off x="755650" y="10845800"/>
            <a:ext cx="7772400" cy="292388"/>
          </a:xfrm>
          <a:prstGeom prst="rect">
            <a:avLst/>
          </a:prstGeom>
          <a:noFill/>
        </p:spPr>
        <p:txBody>
          <a:bodyPr wrap="square" rtlCol="0">
            <a:spAutoFit/>
          </a:bodyPr>
          <a:lstStyle/>
          <a:p>
            <a:r>
              <a:rPr lang="es-ES" sz="1300" b="0" i="0" dirty="0">
                <a:solidFill>
                  <a:schemeClr val="bg1"/>
                </a:solidFill>
                <a:latin typeface="Ubuntu Medium" panose="020B0504030602030204" pitchFamily="34" charset="0"/>
              </a:rPr>
              <a:t>#FlourishingDigitalBusinessWithQuality </a:t>
            </a:r>
            <a:r>
              <a:rPr lang="es-ES" sz="1300" b="1" i="0" dirty="0">
                <a:solidFill>
                  <a:schemeClr val="bg1"/>
                </a:solidFill>
                <a:latin typeface="Ubuntu" panose="020B0504030602030204" pitchFamily="34" charset="0"/>
              </a:rPr>
              <a:t> </a:t>
            </a:r>
            <a:r>
              <a:rPr lang="es-ES" sz="1300" b="1" i="0" dirty="0">
                <a:solidFill>
                  <a:srgbClr val="290E3B"/>
                </a:solidFill>
                <a:latin typeface="Ubuntu" panose="020B0504030602030204" pitchFamily="34" charset="0"/>
              </a:rPr>
              <a:t>·</a:t>
            </a:r>
            <a:r>
              <a:rPr lang="es-ES" sz="1300" b="0" i="0" dirty="0">
                <a:solidFill>
                  <a:schemeClr val="tx2"/>
                </a:solidFill>
                <a:latin typeface="Ubuntu Medium" panose="020B0504030602030204" pitchFamily="34" charset="0"/>
              </a:rPr>
              <a:t>   </a:t>
            </a:r>
            <a:r>
              <a:rPr lang="es-ES" sz="1300" b="1" i="0" dirty="0">
                <a:solidFill>
                  <a:srgbClr val="12A9D8"/>
                </a:solidFill>
                <a:latin typeface="Ubuntu" panose="020B0504030602030204" pitchFamily="34" charset="0"/>
              </a:rPr>
              <a:t>Sogeti España</a:t>
            </a:r>
          </a:p>
        </p:txBody>
      </p:sp>
      <p:sp>
        <p:nvSpPr>
          <p:cNvPr id="5" name="Forma libre 4">
            <a:extLst>
              <a:ext uri="{FF2B5EF4-FFF2-40B4-BE49-F238E27FC236}">
                <a16:creationId xmlns:a16="http://schemas.microsoft.com/office/drawing/2014/main" id="{FBAABD7F-C513-9B40-6AE2-E43DB3944CCE}"/>
              </a:ext>
            </a:extLst>
          </p:cNvPr>
          <p:cNvSpPr/>
          <p:nvPr userDrawn="1"/>
        </p:nvSpPr>
        <p:spPr>
          <a:xfrm flipV="1">
            <a:off x="755650" y="10384024"/>
            <a:ext cx="2362200" cy="385576"/>
          </a:xfrm>
          <a:custGeom>
            <a:avLst/>
            <a:gdLst/>
            <a:ahLst/>
            <a:cxnLst/>
            <a:rect l="l" t="t" r="r" b="b"/>
            <a:pathLst>
              <a:path w="4876802" h="796029">
                <a:moveTo>
                  <a:pt x="2572782" y="405299"/>
                </a:moveTo>
                <a:cubicBezTo>
                  <a:pt x="2589609" y="405299"/>
                  <a:pt x="2601809" y="398820"/>
                  <a:pt x="2609382" y="385863"/>
                </a:cubicBezTo>
                <a:cubicBezTo>
                  <a:pt x="2616954" y="372906"/>
                  <a:pt x="2620740" y="355826"/>
                  <a:pt x="2620740" y="334623"/>
                </a:cubicBezTo>
                <a:cubicBezTo>
                  <a:pt x="2620740" y="313420"/>
                  <a:pt x="2616618" y="296256"/>
                  <a:pt x="2608372" y="283131"/>
                </a:cubicBezTo>
                <a:cubicBezTo>
                  <a:pt x="2600126" y="270006"/>
                  <a:pt x="2587927" y="263443"/>
                  <a:pt x="2571772" y="263443"/>
                </a:cubicBezTo>
                <a:cubicBezTo>
                  <a:pt x="2554945" y="263443"/>
                  <a:pt x="2542744" y="270006"/>
                  <a:pt x="2535172" y="283131"/>
                </a:cubicBezTo>
                <a:cubicBezTo>
                  <a:pt x="2527600" y="296256"/>
                  <a:pt x="2523814" y="313420"/>
                  <a:pt x="2523814" y="334623"/>
                </a:cubicBezTo>
                <a:cubicBezTo>
                  <a:pt x="2523814" y="355826"/>
                  <a:pt x="2527937" y="372906"/>
                  <a:pt x="2536182" y="385863"/>
                </a:cubicBezTo>
                <a:cubicBezTo>
                  <a:pt x="2544428" y="398820"/>
                  <a:pt x="2556628" y="405299"/>
                  <a:pt x="2572782" y="405299"/>
                </a:cubicBezTo>
                <a:close/>
                <a:moveTo>
                  <a:pt x="1810782" y="405299"/>
                </a:moveTo>
                <a:cubicBezTo>
                  <a:pt x="1827610" y="405299"/>
                  <a:pt x="1839810" y="398820"/>
                  <a:pt x="1847382" y="385863"/>
                </a:cubicBezTo>
                <a:cubicBezTo>
                  <a:pt x="1854954" y="372906"/>
                  <a:pt x="1858740" y="355826"/>
                  <a:pt x="1858740" y="334623"/>
                </a:cubicBezTo>
                <a:cubicBezTo>
                  <a:pt x="1858740" y="313420"/>
                  <a:pt x="1854618" y="296256"/>
                  <a:pt x="1846372" y="283131"/>
                </a:cubicBezTo>
                <a:cubicBezTo>
                  <a:pt x="1838127" y="270006"/>
                  <a:pt x="1825927" y="263443"/>
                  <a:pt x="1809772" y="263443"/>
                </a:cubicBezTo>
                <a:cubicBezTo>
                  <a:pt x="1792945" y="263443"/>
                  <a:pt x="1780745" y="270006"/>
                  <a:pt x="1773173" y="283131"/>
                </a:cubicBezTo>
                <a:cubicBezTo>
                  <a:pt x="1765600" y="296256"/>
                  <a:pt x="1761814" y="313420"/>
                  <a:pt x="1761814" y="334623"/>
                </a:cubicBezTo>
                <a:cubicBezTo>
                  <a:pt x="1761814" y="355826"/>
                  <a:pt x="1765937" y="372906"/>
                  <a:pt x="1774182" y="385863"/>
                </a:cubicBezTo>
                <a:cubicBezTo>
                  <a:pt x="1782428" y="398820"/>
                  <a:pt x="1794628" y="405299"/>
                  <a:pt x="1810782" y="405299"/>
                </a:cubicBezTo>
                <a:close/>
                <a:moveTo>
                  <a:pt x="810657" y="405299"/>
                </a:moveTo>
                <a:cubicBezTo>
                  <a:pt x="827485" y="405299"/>
                  <a:pt x="839684" y="398820"/>
                  <a:pt x="847257" y="385863"/>
                </a:cubicBezTo>
                <a:cubicBezTo>
                  <a:pt x="854829" y="372906"/>
                  <a:pt x="858615" y="355826"/>
                  <a:pt x="858616" y="334623"/>
                </a:cubicBezTo>
                <a:cubicBezTo>
                  <a:pt x="858615" y="313420"/>
                  <a:pt x="854493" y="296256"/>
                  <a:pt x="846247" y="283131"/>
                </a:cubicBezTo>
                <a:cubicBezTo>
                  <a:pt x="838002" y="270006"/>
                  <a:pt x="825802" y="263443"/>
                  <a:pt x="809647" y="263443"/>
                </a:cubicBezTo>
                <a:cubicBezTo>
                  <a:pt x="792820" y="263443"/>
                  <a:pt x="780620" y="270006"/>
                  <a:pt x="773048" y="283131"/>
                </a:cubicBezTo>
                <a:cubicBezTo>
                  <a:pt x="765475" y="296256"/>
                  <a:pt x="761689" y="313420"/>
                  <a:pt x="761689" y="334623"/>
                </a:cubicBezTo>
                <a:cubicBezTo>
                  <a:pt x="761689" y="355826"/>
                  <a:pt x="765812" y="372906"/>
                  <a:pt x="774057" y="385863"/>
                </a:cubicBezTo>
                <a:cubicBezTo>
                  <a:pt x="782303" y="398820"/>
                  <a:pt x="794503" y="405299"/>
                  <a:pt x="810657" y="405299"/>
                </a:cubicBezTo>
                <a:close/>
                <a:moveTo>
                  <a:pt x="3325256" y="411861"/>
                </a:moveTo>
                <a:cubicBezTo>
                  <a:pt x="3316506" y="411861"/>
                  <a:pt x="3309608" y="408496"/>
                  <a:pt x="3304560" y="401765"/>
                </a:cubicBezTo>
                <a:cubicBezTo>
                  <a:pt x="3299512" y="395034"/>
                  <a:pt x="3296988" y="387125"/>
                  <a:pt x="3296988" y="378038"/>
                </a:cubicBezTo>
                <a:cubicBezTo>
                  <a:pt x="3296988" y="368951"/>
                  <a:pt x="3299512" y="361126"/>
                  <a:pt x="3304560" y="354564"/>
                </a:cubicBezTo>
                <a:cubicBezTo>
                  <a:pt x="3309608" y="348001"/>
                  <a:pt x="3316506" y="344720"/>
                  <a:pt x="3325256" y="344720"/>
                </a:cubicBezTo>
                <a:cubicBezTo>
                  <a:pt x="3333334" y="344720"/>
                  <a:pt x="3339980" y="348001"/>
                  <a:pt x="3345198" y="354564"/>
                </a:cubicBezTo>
                <a:cubicBezTo>
                  <a:pt x="3350414" y="361126"/>
                  <a:pt x="3353022" y="368951"/>
                  <a:pt x="3353022" y="378038"/>
                </a:cubicBezTo>
                <a:cubicBezTo>
                  <a:pt x="3353022" y="387125"/>
                  <a:pt x="3350414" y="395034"/>
                  <a:pt x="3345198" y="401765"/>
                </a:cubicBezTo>
                <a:cubicBezTo>
                  <a:pt x="3339980" y="408496"/>
                  <a:pt x="3333334" y="411861"/>
                  <a:pt x="3325256" y="411861"/>
                </a:cubicBezTo>
                <a:close/>
                <a:moveTo>
                  <a:pt x="2207070" y="453257"/>
                </a:moveTo>
                <a:lnTo>
                  <a:pt x="2207070" y="401765"/>
                </a:lnTo>
                <a:lnTo>
                  <a:pt x="2272697" y="401765"/>
                </a:lnTo>
                <a:lnTo>
                  <a:pt x="2272697" y="314430"/>
                </a:lnTo>
                <a:cubicBezTo>
                  <a:pt x="2272697" y="297939"/>
                  <a:pt x="2274043" y="283299"/>
                  <a:pt x="2276735" y="270510"/>
                </a:cubicBezTo>
                <a:cubicBezTo>
                  <a:pt x="2279428" y="257721"/>
                  <a:pt x="2284055" y="246868"/>
                  <a:pt x="2290618" y="237949"/>
                </a:cubicBezTo>
                <a:cubicBezTo>
                  <a:pt x="2297181" y="229031"/>
                  <a:pt x="2305931" y="222215"/>
                  <a:pt x="2316869" y="217504"/>
                </a:cubicBezTo>
                <a:cubicBezTo>
                  <a:pt x="2327807" y="212792"/>
                  <a:pt x="2341353" y="210436"/>
                  <a:pt x="2357508" y="210436"/>
                </a:cubicBezTo>
                <a:cubicBezTo>
                  <a:pt x="2366931" y="210436"/>
                  <a:pt x="2377280" y="211530"/>
                  <a:pt x="2388554" y="213718"/>
                </a:cubicBezTo>
                <a:cubicBezTo>
                  <a:pt x="2399829" y="215905"/>
                  <a:pt x="2411860" y="220028"/>
                  <a:pt x="2424649" y="226086"/>
                </a:cubicBezTo>
                <a:lnTo>
                  <a:pt x="2416572" y="276063"/>
                </a:lnTo>
                <a:cubicBezTo>
                  <a:pt x="2406475" y="271352"/>
                  <a:pt x="2397388" y="268239"/>
                  <a:pt x="2389312" y="266724"/>
                </a:cubicBezTo>
                <a:cubicBezTo>
                  <a:pt x="2381234" y="265210"/>
                  <a:pt x="2374335" y="264452"/>
                  <a:pt x="2368614" y="264452"/>
                </a:cubicBezTo>
                <a:cubicBezTo>
                  <a:pt x="2356498" y="264452"/>
                  <a:pt x="2347832" y="267902"/>
                  <a:pt x="2342615" y="274801"/>
                </a:cubicBezTo>
                <a:cubicBezTo>
                  <a:pt x="2337398" y="281701"/>
                  <a:pt x="2334790" y="292218"/>
                  <a:pt x="2334790" y="306353"/>
                </a:cubicBezTo>
                <a:lnTo>
                  <a:pt x="2334790" y="453257"/>
                </a:lnTo>
                <a:close/>
                <a:moveTo>
                  <a:pt x="1088092" y="457800"/>
                </a:moveTo>
                <a:cubicBezTo>
                  <a:pt x="1064870" y="457800"/>
                  <a:pt x="1044593" y="455949"/>
                  <a:pt x="1027260" y="452247"/>
                </a:cubicBezTo>
                <a:cubicBezTo>
                  <a:pt x="1009928" y="448545"/>
                  <a:pt x="993016" y="443665"/>
                  <a:pt x="976526" y="437607"/>
                </a:cubicBezTo>
                <a:lnTo>
                  <a:pt x="976526" y="215989"/>
                </a:lnTo>
                <a:lnTo>
                  <a:pt x="1039124" y="215989"/>
                </a:lnTo>
                <a:lnTo>
                  <a:pt x="1039124" y="392173"/>
                </a:lnTo>
                <a:cubicBezTo>
                  <a:pt x="1047874" y="394529"/>
                  <a:pt x="1056456" y="396128"/>
                  <a:pt x="1064870" y="396969"/>
                </a:cubicBezTo>
                <a:cubicBezTo>
                  <a:pt x="1073284" y="397810"/>
                  <a:pt x="1081866" y="398231"/>
                  <a:pt x="1090616" y="398231"/>
                </a:cubicBezTo>
                <a:cubicBezTo>
                  <a:pt x="1094318" y="398231"/>
                  <a:pt x="1098861" y="398063"/>
                  <a:pt x="1104246" y="397726"/>
                </a:cubicBezTo>
                <a:cubicBezTo>
                  <a:pt x="1109631" y="397390"/>
                  <a:pt x="1115184" y="396801"/>
                  <a:pt x="1120905" y="395959"/>
                </a:cubicBezTo>
                <a:cubicBezTo>
                  <a:pt x="1126627" y="395118"/>
                  <a:pt x="1132264" y="394192"/>
                  <a:pt x="1137817" y="393183"/>
                </a:cubicBezTo>
                <a:cubicBezTo>
                  <a:pt x="1143370" y="392173"/>
                  <a:pt x="1148166" y="391164"/>
                  <a:pt x="1152205" y="390154"/>
                </a:cubicBezTo>
                <a:lnTo>
                  <a:pt x="1163311" y="447704"/>
                </a:lnTo>
                <a:cubicBezTo>
                  <a:pt x="1157589" y="449723"/>
                  <a:pt x="1151111" y="451322"/>
                  <a:pt x="1143875" y="452500"/>
                </a:cubicBezTo>
                <a:cubicBezTo>
                  <a:pt x="1136639" y="453678"/>
                  <a:pt x="1129487" y="454687"/>
                  <a:pt x="1122420" y="455529"/>
                </a:cubicBezTo>
                <a:cubicBezTo>
                  <a:pt x="1115352" y="456370"/>
                  <a:pt x="1108706" y="456959"/>
                  <a:pt x="1102479" y="457296"/>
                </a:cubicBezTo>
                <a:cubicBezTo>
                  <a:pt x="1096253" y="457632"/>
                  <a:pt x="1091457" y="457800"/>
                  <a:pt x="1088092" y="457800"/>
                </a:cubicBezTo>
                <a:close/>
                <a:moveTo>
                  <a:pt x="2572782" y="459315"/>
                </a:moveTo>
                <a:cubicBezTo>
                  <a:pt x="2556628" y="459315"/>
                  <a:pt x="2541651" y="456370"/>
                  <a:pt x="2527852" y="450480"/>
                </a:cubicBezTo>
                <a:cubicBezTo>
                  <a:pt x="2514054" y="444591"/>
                  <a:pt x="2502190" y="436177"/>
                  <a:pt x="2492262" y="425239"/>
                </a:cubicBezTo>
                <a:cubicBezTo>
                  <a:pt x="2482334" y="414301"/>
                  <a:pt x="2474594" y="401176"/>
                  <a:pt x="2469040" y="385863"/>
                </a:cubicBezTo>
                <a:cubicBezTo>
                  <a:pt x="2463487" y="370550"/>
                  <a:pt x="2460711" y="353638"/>
                  <a:pt x="2460711" y="335128"/>
                </a:cubicBezTo>
                <a:cubicBezTo>
                  <a:pt x="2460711" y="316281"/>
                  <a:pt x="2463403" y="299201"/>
                  <a:pt x="2468788" y="283888"/>
                </a:cubicBezTo>
                <a:cubicBezTo>
                  <a:pt x="2474173" y="268575"/>
                  <a:pt x="2481829" y="255366"/>
                  <a:pt x="2491758" y="244259"/>
                </a:cubicBezTo>
                <a:cubicBezTo>
                  <a:pt x="2501686" y="233153"/>
                  <a:pt x="2513465" y="224571"/>
                  <a:pt x="2527095" y="218513"/>
                </a:cubicBezTo>
                <a:cubicBezTo>
                  <a:pt x="2540726" y="212455"/>
                  <a:pt x="2555954" y="209427"/>
                  <a:pt x="2572782" y="209427"/>
                </a:cubicBezTo>
                <a:cubicBezTo>
                  <a:pt x="2589609" y="209427"/>
                  <a:pt x="2604838" y="212455"/>
                  <a:pt x="2618468" y="218513"/>
                </a:cubicBezTo>
                <a:cubicBezTo>
                  <a:pt x="2632098" y="224571"/>
                  <a:pt x="2643794" y="233153"/>
                  <a:pt x="2653554" y="244259"/>
                </a:cubicBezTo>
                <a:cubicBezTo>
                  <a:pt x="2663314" y="255366"/>
                  <a:pt x="2670886" y="268575"/>
                  <a:pt x="2676271" y="283888"/>
                </a:cubicBezTo>
                <a:cubicBezTo>
                  <a:pt x="2681656" y="299201"/>
                  <a:pt x="2684348" y="316281"/>
                  <a:pt x="2684348" y="335128"/>
                </a:cubicBezTo>
                <a:cubicBezTo>
                  <a:pt x="2684348" y="353638"/>
                  <a:pt x="2681656" y="370550"/>
                  <a:pt x="2676271" y="385863"/>
                </a:cubicBezTo>
                <a:cubicBezTo>
                  <a:pt x="2670886" y="401176"/>
                  <a:pt x="2663230" y="414301"/>
                  <a:pt x="2653302" y="425239"/>
                </a:cubicBezTo>
                <a:cubicBezTo>
                  <a:pt x="2643373" y="436177"/>
                  <a:pt x="2631594" y="444591"/>
                  <a:pt x="2617964" y="450480"/>
                </a:cubicBezTo>
                <a:cubicBezTo>
                  <a:pt x="2604334" y="456370"/>
                  <a:pt x="2589273" y="459315"/>
                  <a:pt x="2572782" y="459315"/>
                </a:cubicBezTo>
                <a:close/>
                <a:moveTo>
                  <a:pt x="1810782" y="459315"/>
                </a:moveTo>
                <a:cubicBezTo>
                  <a:pt x="1794628" y="459315"/>
                  <a:pt x="1779651" y="456370"/>
                  <a:pt x="1765853" y="450480"/>
                </a:cubicBezTo>
                <a:cubicBezTo>
                  <a:pt x="1752054" y="444591"/>
                  <a:pt x="1740191" y="436177"/>
                  <a:pt x="1730262" y="425239"/>
                </a:cubicBezTo>
                <a:cubicBezTo>
                  <a:pt x="1720334" y="414301"/>
                  <a:pt x="1712594" y="401176"/>
                  <a:pt x="1707040" y="385863"/>
                </a:cubicBezTo>
                <a:cubicBezTo>
                  <a:pt x="1701488" y="370550"/>
                  <a:pt x="1698711" y="353638"/>
                  <a:pt x="1698711" y="335128"/>
                </a:cubicBezTo>
                <a:cubicBezTo>
                  <a:pt x="1698711" y="316281"/>
                  <a:pt x="1701403" y="299201"/>
                  <a:pt x="1706788" y="283888"/>
                </a:cubicBezTo>
                <a:cubicBezTo>
                  <a:pt x="1712173" y="268575"/>
                  <a:pt x="1719829" y="255366"/>
                  <a:pt x="1729758" y="244259"/>
                </a:cubicBezTo>
                <a:cubicBezTo>
                  <a:pt x="1739686" y="233153"/>
                  <a:pt x="1751465" y="224571"/>
                  <a:pt x="1765095" y="218513"/>
                </a:cubicBezTo>
                <a:cubicBezTo>
                  <a:pt x="1778726" y="212455"/>
                  <a:pt x="1793954" y="209427"/>
                  <a:pt x="1810782" y="209427"/>
                </a:cubicBezTo>
                <a:cubicBezTo>
                  <a:pt x="1827610" y="209427"/>
                  <a:pt x="1842838" y="212455"/>
                  <a:pt x="1856469" y="218513"/>
                </a:cubicBezTo>
                <a:cubicBezTo>
                  <a:pt x="1870099" y="224571"/>
                  <a:pt x="1881794" y="233153"/>
                  <a:pt x="1891554" y="244259"/>
                </a:cubicBezTo>
                <a:cubicBezTo>
                  <a:pt x="1901314" y="255366"/>
                  <a:pt x="1908886" y="268575"/>
                  <a:pt x="1914271" y="283888"/>
                </a:cubicBezTo>
                <a:cubicBezTo>
                  <a:pt x="1919656" y="299201"/>
                  <a:pt x="1922348" y="316281"/>
                  <a:pt x="1922348" y="335128"/>
                </a:cubicBezTo>
                <a:cubicBezTo>
                  <a:pt x="1922348" y="353638"/>
                  <a:pt x="1919656" y="370550"/>
                  <a:pt x="1914271" y="385863"/>
                </a:cubicBezTo>
                <a:cubicBezTo>
                  <a:pt x="1908886" y="401176"/>
                  <a:pt x="1901230" y="414301"/>
                  <a:pt x="1891302" y="425239"/>
                </a:cubicBezTo>
                <a:cubicBezTo>
                  <a:pt x="1881374" y="436177"/>
                  <a:pt x="1869594" y="444591"/>
                  <a:pt x="1855964" y="450480"/>
                </a:cubicBezTo>
                <a:cubicBezTo>
                  <a:pt x="1842334" y="456370"/>
                  <a:pt x="1827273" y="459315"/>
                  <a:pt x="1810782" y="459315"/>
                </a:cubicBezTo>
                <a:close/>
                <a:moveTo>
                  <a:pt x="810657" y="459315"/>
                </a:moveTo>
                <a:cubicBezTo>
                  <a:pt x="794503" y="459315"/>
                  <a:pt x="779526" y="456370"/>
                  <a:pt x="765728" y="450480"/>
                </a:cubicBezTo>
                <a:cubicBezTo>
                  <a:pt x="751929" y="444591"/>
                  <a:pt x="740066" y="436177"/>
                  <a:pt x="730138" y="425239"/>
                </a:cubicBezTo>
                <a:cubicBezTo>
                  <a:pt x="720209" y="414301"/>
                  <a:pt x="712469" y="401176"/>
                  <a:pt x="706916" y="385863"/>
                </a:cubicBezTo>
                <a:cubicBezTo>
                  <a:pt x="701362" y="370550"/>
                  <a:pt x="698586" y="353638"/>
                  <a:pt x="698586" y="335128"/>
                </a:cubicBezTo>
                <a:cubicBezTo>
                  <a:pt x="698586" y="316281"/>
                  <a:pt x="701278" y="299201"/>
                  <a:pt x="706663" y="283888"/>
                </a:cubicBezTo>
                <a:cubicBezTo>
                  <a:pt x="712048" y="268575"/>
                  <a:pt x="719704" y="255366"/>
                  <a:pt x="729633" y="244259"/>
                </a:cubicBezTo>
                <a:cubicBezTo>
                  <a:pt x="739561" y="233153"/>
                  <a:pt x="751340" y="224571"/>
                  <a:pt x="764970" y="218513"/>
                </a:cubicBezTo>
                <a:cubicBezTo>
                  <a:pt x="778601" y="212455"/>
                  <a:pt x="793830" y="209427"/>
                  <a:pt x="810657" y="209427"/>
                </a:cubicBezTo>
                <a:cubicBezTo>
                  <a:pt x="827485" y="209427"/>
                  <a:pt x="842713" y="212455"/>
                  <a:pt x="856344" y="218513"/>
                </a:cubicBezTo>
                <a:cubicBezTo>
                  <a:pt x="869974" y="224571"/>
                  <a:pt x="881669" y="233153"/>
                  <a:pt x="891429" y="244259"/>
                </a:cubicBezTo>
                <a:cubicBezTo>
                  <a:pt x="901189" y="255366"/>
                  <a:pt x="908761" y="268575"/>
                  <a:pt x="914146" y="283888"/>
                </a:cubicBezTo>
                <a:cubicBezTo>
                  <a:pt x="919531" y="299201"/>
                  <a:pt x="922223" y="316281"/>
                  <a:pt x="922223" y="335128"/>
                </a:cubicBezTo>
                <a:cubicBezTo>
                  <a:pt x="922223" y="353638"/>
                  <a:pt x="919531" y="370550"/>
                  <a:pt x="914146" y="385863"/>
                </a:cubicBezTo>
                <a:cubicBezTo>
                  <a:pt x="908761" y="401176"/>
                  <a:pt x="901105" y="414301"/>
                  <a:pt x="891177" y="425239"/>
                </a:cubicBezTo>
                <a:cubicBezTo>
                  <a:pt x="881248" y="436177"/>
                  <a:pt x="869469" y="444591"/>
                  <a:pt x="855839" y="450480"/>
                </a:cubicBezTo>
                <a:cubicBezTo>
                  <a:pt x="842209" y="456370"/>
                  <a:pt x="827148" y="459315"/>
                  <a:pt x="810657" y="459315"/>
                </a:cubicBezTo>
                <a:close/>
                <a:moveTo>
                  <a:pt x="546919" y="477993"/>
                </a:moveTo>
                <a:cubicBezTo>
                  <a:pt x="563410" y="477993"/>
                  <a:pt x="576620" y="474207"/>
                  <a:pt x="586548" y="466635"/>
                </a:cubicBezTo>
                <a:cubicBezTo>
                  <a:pt x="596476" y="459062"/>
                  <a:pt x="601441" y="446189"/>
                  <a:pt x="601441" y="428016"/>
                </a:cubicBezTo>
                <a:cubicBezTo>
                  <a:pt x="601441" y="408832"/>
                  <a:pt x="596392" y="395286"/>
                  <a:pt x="586296" y="387377"/>
                </a:cubicBezTo>
                <a:cubicBezTo>
                  <a:pt x="576199" y="379468"/>
                  <a:pt x="561223" y="375514"/>
                  <a:pt x="541366" y="375514"/>
                </a:cubicBezTo>
                <a:lnTo>
                  <a:pt x="516125" y="375514"/>
                </a:lnTo>
                <a:lnTo>
                  <a:pt x="516125" y="476479"/>
                </a:lnTo>
                <a:cubicBezTo>
                  <a:pt x="519827" y="477152"/>
                  <a:pt x="524960" y="477573"/>
                  <a:pt x="531522" y="477741"/>
                </a:cubicBezTo>
                <a:cubicBezTo>
                  <a:pt x="538085" y="477909"/>
                  <a:pt x="543217" y="477993"/>
                  <a:pt x="546919" y="477993"/>
                </a:cubicBezTo>
                <a:close/>
                <a:moveTo>
                  <a:pt x="3324752" y="482537"/>
                </a:moveTo>
                <a:cubicBezTo>
                  <a:pt x="3341916" y="482537"/>
                  <a:pt x="3354958" y="473198"/>
                  <a:pt x="3363876" y="454519"/>
                </a:cubicBezTo>
                <a:cubicBezTo>
                  <a:pt x="3372794" y="435841"/>
                  <a:pt x="3377254" y="408664"/>
                  <a:pt x="3377254" y="372990"/>
                </a:cubicBezTo>
                <a:cubicBezTo>
                  <a:pt x="3377254" y="336979"/>
                  <a:pt x="3372794" y="309634"/>
                  <a:pt x="3363876" y="290956"/>
                </a:cubicBezTo>
                <a:cubicBezTo>
                  <a:pt x="3354958" y="272277"/>
                  <a:pt x="3341916" y="262938"/>
                  <a:pt x="3324752" y="262938"/>
                </a:cubicBezTo>
                <a:cubicBezTo>
                  <a:pt x="3307924" y="262938"/>
                  <a:pt x="3294968" y="272277"/>
                  <a:pt x="3285880" y="290956"/>
                </a:cubicBezTo>
                <a:cubicBezTo>
                  <a:pt x="3276794" y="309634"/>
                  <a:pt x="3272250" y="336979"/>
                  <a:pt x="3272250" y="372990"/>
                </a:cubicBezTo>
                <a:cubicBezTo>
                  <a:pt x="3272250" y="408664"/>
                  <a:pt x="3276794" y="435841"/>
                  <a:pt x="3285880" y="454519"/>
                </a:cubicBezTo>
                <a:cubicBezTo>
                  <a:pt x="3294968" y="473198"/>
                  <a:pt x="3307924" y="482537"/>
                  <a:pt x="3324752" y="482537"/>
                </a:cubicBezTo>
                <a:close/>
                <a:moveTo>
                  <a:pt x="1323054" y="522923"/>
                </a:moveTo>
                <a:lnTo>
                  <a:pt x="1260961" y="512826"/>
                </a:lnTo>
                <a:lnTo>
                  <a:pt x="1260961" y="453257"/>
                </a:lnTo>
                <a:lnTo>
                  <a:pt x="1206945" y="453257"/>
                </a:lnTo>
                <a:lnTo>
                  <a:pt x="1206945" y="401765"/>
                </a:lnTo>
                <a:lnTo>
                  <a:pt x="1260961" y="401765"/>
                </a:lnTo>
                <a:lnTo>
                  <a:pt x="1260961" y="304334"/>
                </a:lnTo>
                <a:cubicBezTo>
                  <a:pt x="1260961" y="284477"/>
                  <a:pt x="1262980" y="268407"/>
                  <a:pt x="1267019" y="256123"/>
                </a:cubicBezTo>
                <a:cubicBezTo>
                  <a:pt x="1271057" y="243839"/>
                  <a:pt x="1276947" y="234331"/>
                  <a:pt x="1284688" y="227600"/>
                </a:cubicBezTo>
                <a:cubicBezTo>
                  <a:pt x="1292428" y="220869"/>
                  <a:pt x="1301852" y="216326"/>
                  <a:pt x="1312958" y="213970"/>
                </a:cubicBezTo>
                <a:cubicBezTo>
                  <a:pt x="1324064" y="211614"/>
                  <a:pt x="1336853" y="210436"/>
                  <a:pt x="1351325" y="210436"/>
                </a:cubicBezTo>
                <a:cubicBezTo>
                  <a:pt x="1363777" y="210436"/>
                  <a:pt x="1376650" y="211446"/>
                  <a:pt x="1389944" y="213465"/>
                </a:cubicBezTo>
                <a:cubicBezTo>
                  <a:pt x="1403238" y="215484"/>
                  <a:pt x="1415606" y="218850"/>
                  <a:pt x="1427048" y="223562"/>
                </a:cubicBezTo>
                <a:lnTo>
                  <a:pt x="1418466" y="277073"/>
                </a:lnTo>
                <a:cubicBezTo>
                  <a:pt x="1412745" y="274381"/>
                  <a:pt x="1407444" y="272193"/>
                  <a:pt x="1402564" y="270510"/>
                </a:cubicBezTo>
                <a:cubicBezTo>
                  <a:pt x="1397684" y="268828"/>
                  <a:pt x="1392973" y="267566"/>
                  <a:pt x="1388429" y="266724"/>
                </a:cubicBezTo>
                <a:cubicBezTo>
                  <a:pt x="1383886" y="265883"/>
                  <a:pt x="1379174" y="265294"/>
                  <a:pt x="1374294" y="264957"/>
                </a:cubicBezTo>
                <a:cubicBezTo>
                  <a:pt x="1369414" y="264621"/>
                  <a:pt x="1364114" y="264452"/>
                  <a:pt x="1358392" y="264452"/>
                </a:cubicBezTo>
                <a:cubicBezTo>
                  <a:pt x="1353007" y="264452"/>
                  <a:pt x="1348127" y="264957"/>
                  <a:pt x="1343752" y="265967"/>
                </a:cubicBezTo>
                <a:cubicBezTo>
                  <a:pt x="1339377" y="266977"/>
                  <a:pt x="1335675" y="268996"/>
                  <a:pt x="1332646" y="272025"/>
                </a:cubicBezTo>
                <a:cubicBezTo>
                  <a:pt x="1329617" y="275054"/>
                  <a:pt x="1327261" y="279261"/>
                  <a:pt x="1325579" y="284645"/>
                </a:cubicBezTo>
                <a:cubicBezTo>
                  <a:pt x="1323896" y="290030"/>
                  <a:pt x="1323054" y="297098"/>
                  <a:pt x="1323054" y="305848"/>
                </a:cubicBezTo>
                <a:lnTo>
                  <a:pt x="1323054" y="401765"/>
                </a:lnTo>
                <a:lnTo>
                  <a:pt x="1422505" y="401765"/>
                </a:lnTo>
                <a:lnTo>
                  <a:pt x="1422505" y="453257"/>
                </a:lnTo>
                <a:lnTo>
                  <a:pt x="1323054" y="453257"/>
                </a:lnTo>
                <a:close/>
                <a:moveTo>
                  <a:pt x="539852" y="532010"/>
                </a:moveTo>
                <a:cubicBezTo>
                  <a:pt x="534131" y="532010"/>
                  <a:pt x="527568" y="531841"/>
                  <a:pt x="520164" y="531505"/>
                </a:cubicBezTo>
                <a:cubicBezTo>
                  <a:pt x="512760" y="531168"/>
                  <a:pt x="505187" y="530748"/>
                  <a:pt x="497447" y="530243"/>
                </a:cubicBezTo>
                <a:cubicBezTo>
                  <a:pt x="489706" y="529738"/>
                  <a:pt x="482049" y="528981"/>
                  <a:pt x="474477" y="527971"/>
                </a:cubicBezTo>
                <a:cubicBezTo>
                  <a:pt x="466905" y="526961"/>
                  <a:pt x="460090" y="525784"/>
                  <a:pt x="454032" y="524437"/>
                </a:cubicBezTo>
                <a:lnTo>
                  <a:pt x="454032" y="215989"/>
                </a:lnTo>
                <a:lnTo>
                  <a:pt x="516125" y="215989"/>
                </a:lnTo>
                <a:lnTo>
                  <a:pt x="516125" y="321498"/>
                </a:lnTo>
                <a:lnTo>
                  <a:pt x="538337" y="321498"/>
                </a:lnTo>
                <a:cubicBezTo>
                  <a:pt x="578723" y="321498"/>
                  <a:pt x="609938" y="329827"/>
                  <a:pt x="631982" y="346486"/>
                </a:cubicBezTo>
                <a:cubicBezTo>
                  <a:pt x="654026" y="363146"/>
                  <a:pt x="665048" y="390154"/>
                  <a:pt x="665048" y="427511"/>
                </a:cubicBezTo>
                <a:cubicBezTo>
                  <a:pt x="665048" y="464531"/>
                  <a:pt x="654111" y="491203"/>
                  <a:pt x="632235" y="507526"/>
                </a:cubicBezTo>
                <a:cubicBezTo>
                  <a:pt x="610359" y="523848"/>
                  <a:pt x="579565" y="532010"/>
                  <a:pt x="539852" y="532010"/>
                </a:cubicBezTo>
                <a:close/>
                <a:moveTo>
                  <a:pt x="3816452" y="535544"/>
                </a:moveTo>
                <a:cubicBezTo>
                  <a:pt x="3797604" y="535544"/>
                  <a:pt x="3780694" y="532430"/>
                  <a:pt x="3765716" y="526204"/>
                </a:cubicBezTo>
                <a:cubicBezTo>
                  <a:pt x="3750740" y="519978"/>
                  <a:pt x="3738708" y="513836"/>
                  <a:pt x="3729622" y="507778"/>
                </a:cubicBezTo>
                <a:lnTo>
                  <a:pt x="3751834" y="462344"/>
                </a:lnTo>
                <a:cubicBezTo>
                  <a:pt x="3760248" y="468065"/>
                  <a:pt x="3770260" y="472861"/>
                  <a:pt x="3781872" y="476731"/>
                </a:cubicBezTo>
                <a:cubicBezTo>
                  <a:pt x="3793482" y="480602"/>
                  <a:pt x="3805178" y="482537"/>
                  <a:pt x="3816956" y="482537"/>
                </a:cubicBezTo>
                <a:cubicBezTo>
                  <a:pt x="3829072" y="482537"/>
                  <a:pt x="3838580" y="479255"/>
                  <a:pt x="3845480" y="472693"/>
                </a:cubicBezTo>
                <a:cubicBezTo>
                  <a:pt x="3852378" y="466130"/>
                  <a:pt x="3855828" y="457127"/>
                  <a:pt x="3855828" y="445685"/>
                </a:cubicBezTo>
                <a:cubicBezTo>
                  <a:pt x="3855828" y="437944"/>
                  <a:pt x="3854230" y="431550"/>
                  <a:pt x="3851032" y="426501"/>
                </a:cubicBezTo>
                <a:cubicBezTo>
                  <a:pt x="3847836" y="421453"/>
                  <a:pt x="3843712" y="417414"/>
                  <a:pt x="3838664" y="414385"/>
                </a:cubicBezTo>
                <a:cubicBezTo>
                  <a:pt x="3833616" y="411357"/>
                  <a:pt x="3827894" y="409169"/>
                  <a:pt x="3821500" y="407823"/>
                </a:cubicBezTo>
                <a:cubicBezTo>
                  <a:pt x="3815106" y="406477"/>
                  <a:pt x="3808712" y="405803"/>
                  <a:pt x="3802316" y="405803"/>
                </a:cubicBezTo>
                <a:lnTo>
                  <a:pt x="3779094" y="405803"/>
                </a:lnTo>
                <a:lnTo>
                  <a:pt x="3779094" y="354311"/>
                </a:lnTo>
                <a:lnTo>
                  <a:pt x="3798278" y="354311"/>
                </a:lnTo>
                <a:cubicBezTo>
                  <a:pt x="3818470" y="354311"/>
                  <a:pt x="3835130" y="351030"/>
                  <a:pt x="3848256" y="344467"/>
                </a:cubicBezTo>
                <a:cubicBezTo>
                  <a:pt x="3861380" y="337904"/>
                  <a:pt x="3867944" y="326378"/>
                  <a:pt x="3867944" y="309887"/>
                </a:cubicBezTo>
                <a:cubicBezTo>
                  <a:pt x="3867944" y="296425"/>
                  <a:pt x="3863652" y="285150"/>
                  <a:pt x="3855072" y="276063"/>
                </a:cubicBezTo>
                <a:cubicBezTo>
                  <a:pt x="3846488" y="266977"/>
                  <a:pt x="3831596" y="262433"/>
                  <a:pt x="3810394" y="262433"/>
                </a:cubicBezTo>
                <a:cubicBezTo>
                  <a:pt x="3793230" y="262433"/>
                  <a:pt x="3778506" y="264284"/>
                  <a:pt x="3766222" y="267986"/>
                </a:cubicBezTo>
                <a:cubicBezTo>
                  <a:pt x="3753938" y="271688"/>
                  <a:pt x="3743924" y="275222"/>
                  <a:pt x="3736184" y="278588"/>
                </a:cubicBezTo>
                <a:lnTo>
                  <a:pt x="3724068" y="226591"/>
                </a:lnTo>
                <a:cubicBezTo>
                  <a:pt x="3727770" y="224908"/>
                  <a:pt x="3732988" y="223057"/>
                  <a:pt x="3739718" y="221037"/>
                </a:cubicBezTo>
                <a:cubicBezTo>
                  <a:pt x="3746450" y="219018"/>
                  <a:pt x="3753770" y="217167"/>
                  <a:pt x="3761678" y="215484"/>
                </a:cubicBezTo>
                <a:cubicBezTo>
                  <a:pt x="3769588" y="213802"/>
                  <a:pt x="3777832" y="212371"/>
                  <a:pt x="3786414" y="211193"/>
                </a:cubicBezTo>
                <a:cubicBezTo>
                  <a:pt x="3794996" y="210015"/>
                  <a:pt x="3803158" y="209427"/>
                  <a:pt x="3810898" y="209427"/>
                </a:cubicBezTo>
                <a:cubicBezTo>
                  <a:pt x="3831764" y="209427"/>
                  <a:pt x="3849770" y="211867"/>
                  <a:pt x="3864916" y="216746"/>
                </a:cubicBezTo>
                <a:cubicBezTo>
                  <a:pt x="3880060" y="221626"/>
                  <a:pt x="3892512" y="228526"/>
                  <a:pt x="3902272" y="237444"/>
                </a:cubicBezTo>
                <a:cubicBezTo>
                  <a:pt x="3912032" y="246363"/>
                  <a:pt x="3919268" y="256880"/>
                  <a:pt x="3923980" y="268996"/>
                </a:cubicBezTo>
                <a:cubicBezTo>
                  <a:pt x="3928692" y="281112"/>
                  <a:pt x="3931048" y="294405"/>
                  <a:pt x="3931048" y="308877"/>
                </a:cubicBezTo>
                <a:cubicBezTo>
                  <a:pt x="3931048" y="327051"/>
                  <a:pt x="3926588" y="342700"/>
                  <a:pt x="3917668" y="355826"/>
                </a:cubicBezTo>
                <a:cubicBezTo>
                  <a:pt x="3908750" y="368951"/>
                  <a:pt x="3896214" y="378879"/>
                  <a:pt x="3880060" y="385610"/>
                </a:cubicBezTo>
                <a:cubicBezTo>
                  <a:pt x="3891840" y="391668"/>
                  <a:pt x="3901262" y="400419"/>
                  <a:pt x="3908330" y="411861"/>
                </a:cubicBezTo>
                <a:cubicBezTo>
                  <a:pt x="3915398" y="423304"/>
                  <a:pt x="3918932" y="435252"/>
                  <a:pt x="3918932" y="447704"/>
                </a:cubicBezTo>
                <a:cubicBezTo>
                  <a:pt x="3918932" y="460156"/>
                  <a:pt x="3916912" y="471767"/>
                  <a:pt x="3912874" y="482537"/>
                </a:cubicBezTo>
                <a:cubicBezTo>
                  <a:pt x="3908834" y="493306"/>
                  <a:pt x="3902608" y="502646"/>
                  <a:pt x="3894196" y="510555"/>
                </a:cubicBezTo>
                <a:cubicBezTo>
                  <a:pt x="3885780" y="518464"/>
                  <a:pt x="3875096" y="524606"/>
                  <a:pt x="3862138" y="528981"/>
                </a:cubicBezTo>
                <a:cubicBezTo>
                  <a:pt x="3849180" y="533356"/>
                  <a:pt x="3833952" y="535544"/>
                  <a:pt x="3816452" y="535544"/>
                </a:cubicBezTo>
                <a:close/>
                <a:moveTo>
                  <a:pt x="3567354" y="535544"/>
                </a:moveTo>
                <a:cubicBezTo>
                  <a:pt x="3549854" y="535544"/>
                  <a:pt x="3532268" y="532178"/>
                  <a:pt x="3514600" y="525447"/>
                </a:cubicBezTo>
                <a:cubicBezTo>
                  <a:pt x="3496930" y="518716"/>
                  <a:pt x="3481366" y="508283"/>
                  <a:pt x="3467904" y="494148"/>
                </a:cubicBezTo>
                <a:lnTo>
                  <a:pt x="3498698" y="450733"/>
                </a:lnTo>
                <a:cubicBezTo>
                  <a:pt x="3509130" y="461839"/>
                  <a:pt x="3519732" y="469748"/>
                  <a:pt x="3530502" y="474460"/>
                </a:cubicBezTo>
                <a:cubicBezTo>
                  <a:pt x="3541272" y="479171"/>
                  <a:pt x="3551536" y="481527"/>
                  <a:pt x="3561296" y="481527"/>
                </a:cubicBezTo>
                <a:cubicBezTo>
                  <a:pt x="3573076" y="481527"/>
                  <a:pt x="3582836" y="478078"/>
                  <a:pt x="3590576" y="471178"/>
                </a:cubicBezTo>
                <a:cubicBezTo>
                  <a:pt x="3598316" y="464279"/>
                  <a:pt x="3602186" y="454435"/>
                  <a:pt x="3602188" y="441646"/>
                </a:cubicBezTo>
                <a:cubicBezTo>
                  <a:pt x="3602186" y="432559"/>
                  <a:pt x="3599074" y="423641"/>
                  <a:pt x="3592848" y="414890"/>
                </a:cubicBezTo>
                <a:cubicBezTo>
                  <a:pt x="3586622" y="406140"/>
                  <a:pt x="3578712" y="397053"/>
                  <a:pt x="3569120" y="387630"/>
                </a:cubicBezTo>
                <a:cubicBezTo>
                  <a:pt x="3559528" y="378206"/>
                  <a:pt x="3549264" y="368362"/>
                  <a:pt x="3538326" y="358097"/>
                </a:cubicBezTo>
                <a:cubicBezTo>
                  <a:pt x="3527388" y="347833"/>
                  <a:pt x="3517124" y="336727"/>
                  <a:pt x="3507532" y="324779"/>
                </a:cubicBezTo>
                <a:cubicBezTo>
                  <a:pt x="3497940" y="312831"/>
                  <a:pt x="3490032" y="299790"/>
                  <a:pt x="3483806" y="285655"/>
                </a:cubicBezTo>
                <a:cubicBezTo>
                  <a:pt x="3477580" y="271520"/>
                  <a:pt x="3474466" y="256039"/>
                  <a:pt x="3474466" y="239211"/>
                </a:cubicBezTo>
                <a:cubicBezTo>
                  <a:pt x="3474466" y="237192"/>
                  <a:pt x="3474382" y="233658"/>
                  <a:pt x="3474214" y="228610"/>
                </a:cubicBezTo>
                <a:cubicBezTo>
                  <a:pt x="3474046" y="223562"/>
                  <a:pt x="3474466" y="219355"/>
                  <a:pt x="3475476" y="215989"/>
                </a:cubicBezTo>
                <a:lnTo>
                  <a:pt x="3679426" y="215989"/>
                </a:lnTo>
                <a:lnTo>
                  <a:pt x="3679426" y="267481"/>
                </a:lnTo>
                <a:lnTo>
                  <a:pt x="3545142" y="267481"/>
                </a:lnTo>
                <a:cubicBezTo>
                  <a:pt x="3545142" y="272530"/>
                  <a:pt x="3546908" y="278083"/>
                  <a:pt x="3550442" y="284141"/>
                </a:cubicBezTo>
                <a:cubicBezTo>
                  <a:pt x="3553976" y="290198"/>
                  <a:pt x="3558268" y="296172"/>
                  <a:pt x="3563316" y="302062"/>
                </a:cubicBezTo>
                <a:cubicBezTo>
                  <a:pt x="3568364" y="307952"/>
                  <a:pt x="3573748" y="313673"/>
                  <a:pt x="3579470" y="319226"/>
                </a:cubicBezTo>
                <a:cubicBezTo>
                  <a:pt x="3585190" y="324779"/>
                  <a:pt x="3590240" y="329575"/>
                  <a:pt x="3594614" y="333613"/>
                </a:cubicBezTo>
                <a:cubicBezTo>
                  <a:pt x="3603364" y="341691"/>
                  <a:pt x="3611946" y="350104"/>
                  <a:pt x="3620360" y="358855"/>
                </a:cubicBezTo>
                <a:cubicBezTo>
                  <a:pt x="3628774" y="367605"/>
                  <a:pt x="3636346" y="376692"/>
                  <a:pt x="3643078" y="386115"/>
                </a:cubicBezTo>
                <a:cubicBezTo>
                  <a:pt x="3649808" y="395539"/>
                  <a:pt x="3655194" y="405214"/>
                  <a:pt x="3659232" y="415143"/>
                </a:cubicBezTo>
                <a:cubicBezTo>
                  <a:pt x="3663270" y="425071"/>
                  <a:pt x="3665290" y="435420"/>
                  <a:pt x="3665290" y="446189"/>
                </a:cubicBezTo>
                <a:cubicBezTo>
                  <a:pt x="3665290" y="460998"/>
                  <a:pt x="3662598" y="474039"/>
                  <a:pt x="3657212" y="485313"/>
                </a:cubicBezTo>
                <a:cubicBezTo>
                  <a:pt x="3651828" y="496588"/>
                  <a:pt x="3644592" y="505927"/>
                  <a:pt x="3635506" y="513331"/>
                </a:cubicBezTo>
                <a:cubicBezTo>
                  <a:pt x="3626418" y="520735"/>
                  <a:pt x="3615986" y="526288"/>
                  <a:pt x="3604206" y="529990"/>
                </a:cubicBezTo>
                <a:cubicBezTo>
                  <a:pt x="3592426" y="533692"/>
                  <a:pt x="3580142" y="535544"/>
                  <a:pt x="3567354" y="535544"/>
                </a:cubicBezTo>
                <a:close/>
                <a:moveTo>
                  <a:pt x="3324752" y="535544"/>
                </a:moveTo>
                <a:cubicBezTo>
                  <a:pt x="3290088" y="535544"/>
                  <a:pt x="3263332" y="522081"/>
                  <a:pt x="3244486" y="495157"/>
                </a:cubicBezTo>
                <a:cubicBezTo>
                  <a:pt x="3225638" y="468233"/>
                  <a:pt x="3216214" y="427511"/>
                  <a:pt x="3216214" y="372990"/>
                </a:cubicBezTo>
                <a:cubicBezTo>
                  <a:pt x="3216214" y="317796"/>
                  <a:pt x="3225470" y="276737"/>
                  <a:pt x="3243980" y="249813"/>
                </a:cubicBezTo>
                <a:cubicBezTo>
                  <a:pt x="3262490" y="222889"/>
                  <a:pt x="3289414" y="209427"/>
                  <a:pt x="3324752" y="209427"/>
                </a:cubicBezTo>
                <a:cubicBezTo>
                  <a:pt x="3360090" y="209427"/>
                  <a:pt x="3387014" y="222889"/>
                  <a:pt x="3405524" y="249813"/>
                </a:cubicBezTo>
                <a:cubicBezTo>
                  <a:pt x="3424034" y="276737"/>
                  <a:pt x="3433290" y="317796"/>
                  <a:pt x="3433290" y="372990"/>
                </a:cubicBezTo>
                <a:cubicBezTo>
                  <a:pt x="3433290" y="427847"/>
                  <a:pt x="3424034" y="468654"/>
                  <a:pt x="3405524" y="495410"/>
                </a:cubicBezTo>
                <a:cubicBezTo>
                  <a:pt x="3387014" y="522166"/>
                  <a:pt x="3360090" y="535544"/>
                  <a:pt x="3324752" y="535544"/>
                </a:cubicBezTo>
                <a:close/>
                <a:moveTo>
                  <a:pt x="3062528" y="535544"/>
                </a:moveTo>
                <a:cubicBezTo>
                  <a:pt x="3045028" y="535544"/>
                  <a:pt x="3027444" y="532178"/>
                  <a:pt x="3009774" y="525447"/>
                </a:cubicBezTo>
                <a:cubicBezTo>
                  <a:pt x="2992106" y="518716"/>
                  <a:pt x="2976540" y="508283"/>
                  <a:pt x="2963078" y="494148"/>
                </a:cubicBezTo>
                <a:lnTo>
                  <a:pt x="2993872" y="450733"/>
                </a:lnTo>
                <a:cubicBezTo>
                  <a:pt x="3004306" y="461839"/>
                  <a:pt x="3014908" y="469748"/>
                  <a:pt x="3025676" y="474460"/>
                </a:cubicBezTo>
                <a:cubicBezTo>
                  <a:pt x="3036446" y="479171"/>
                  <a:pt x="3046712" y="481527"/>
                  <a:pt x="3056472" y="481527"/>
                </a:cubicBezTo>
                <a:cubicBezTo>
                  <a:pt x="3068250" y="481527"/>
                  <a:pt x="3078010" y="478078"/>
                  <a:pt x="3085752" y="471178"/>
                </a:cubicBezTo>
                <a:cubicBezTo>
                  <a:pt x="3093492" y="464279"/>
                  <a:pt x="3097362" y="454435"/>
                  <a:pt x="3097362" y="441646"/>
                </a:cubicBezTo>
                <a:cubicBezTo>
                  <a:pt x="3097362" y="432559"/>
                  <a:pt x="3094248" y="423641"/>
                  <a:pt x="3088022" y="414890"/>
                </a:cubicBezTo>
                <a:cubicBezTo>
                  <a:pt x="3081796" y="406140"/>
                  <a:pt x="3073888" y="397053"/>
                  <a:pt x="3064296" y="387630"/>
                </a:cubicBezTo>
                <a:cubicBezTo>
                  <a:pt x="3054704" y="378206"/>
                  <a:pt x="3044440" y="368362"/>
                  <a:pt x="3033502" y="358097"/>
                </a:cubicBezTo>
                <a:cubicBezTo>
                  <a:pt x="3022564" y="347833"/>
                  <a:pt x="3012298" y="336727"/>
                  <a:pt x="3002708" y="324779"/>
                </a:cubicBezTo>
                <a:cubicBezTo>
                  <a:pt x="2993116" y="312831"/>
                  <a:pt x="2985206" y="299790"/>
                  <a:pt x="2978980" y="285655"/>
                </a:cubicBezTo>
                <a:cubicBezTo>
                  <a:pt x="2972754" y="271520"/>
                  <a:pt x="2969642" y="256039"/>
                  <a:pt x="2969642" y="239211"/>
                </a:cubicBezTo>
                <a:cubicBezTo>
                  <a:pt x="2969642" y="237192"/>
                  <a:pt x="2969558" y="233658"/>
                  <a:pt x="2969388" y="228610"/>
                </a:cubicBezTo>
                <a:cubicBezTo>
                  <a:pt x="2969220" y="223562"/>
                  <a:pt x="2969640" y="219355"/>
                  <a:pt x="2970650" y="215989"/>
                </a:cubicBezTo>
                <a:lnTo>
                  <a:pt x="3174600" y="215989"/>
                </a:lnTo>
                <a:lnTo>
                  <a:pt x="3174600" y="267481"/>
                </a:lnTo>
                <a:lnTo>
                  <a:pt x="3040316" y="267481"/>
                </a:lnTo>
                <a:cubicBezTo>
                  <a:pt x="3040316" y="272530"/>
                  <a:pt x="3042084" y="278083"/>
                  <a:pt x="3045618" y="284141"/>
                </a:cubicBezTo>
                <a:cubicBezTo>
                  <a:pt x="3049152" y="290198"/>
                  <a:pt x="3053442" y="296172"/>
                  <a:pt x="3058490" y="302062"/>
                </a:cubicBezTo>
                <a:cubicBezTo>
                  <a:pt x="3063538" y="307952"/>
                  <a:pt x="3068924" y="313673"/>
                  <a:pt x="3074644" y="319226"/>
                </a:cubicBezTo>
                <a:cubicBezTo>
                  <a:pt x="3080366" y="324779"/>
                  <a:pt x="3085414" y="329575"/>
                  <a:pt x="3089790" y="333613"/>
                </a:cubicBezTo>
                <a:cubicBezTo>
                  <a:pt x="3098540" y="341691"/>
                  <a:pt x="3107122" y="350104"/>
                  <a:pt x="3115536" y="358855"/>
                </a:cubicBezTo>
                <a:cubicBezTo>
                  <a:pt x="3123950" y="367605"/>
                  <a:pt x="3131522" y="376692"/>
                  <a:pt x="3138252" y="386115"/>
                </a:cubicBezTo>
                <a:cubicBezTo>
                  <a:pt x="3144984" y="395539"/>
                  <a:pt x="3150368" y="405214"/>
                  <a:pt x="3154408" y="415143"/>
                </a:cubicBezTo>
                <a:cubicBezTo>
                  <a:pt x="3158446" y="425071"/>
                  <a:pt x="3160464" y="435420"/>
                  <a:pt x="3160464" y="446189"/>
                </a:cubicBezTo>
                <a:cubicBezTo>
                  <a:pt x="3160464" y="460998"/>
                  <a:pt x="3157772" y="474039"/>
                  <a:pt x="3152388" y="485313"/>
                </a:cubicBezTo>
                <a:cubicBezTo>
                  <a:pt x="3147002" y="496588"/>
                  <a:pt x="3139766" y="505927"/>
                  <a:pt x="3130680" y="513331"/>
                </a:cubicBezTo>
                <a:cubicBezTo>
                  <a:pt x="3121594" y="520735"/>
                  <a:pt x="3111160" y="526288"/>
                  <a:pt x="3099382" y="529990"/>
                </a:cubicBezTo>
                <a:cubicBezTo>
                  <a:pt x="3087602" y="533692"/>
                  <a:pt x="3075318" y="535544"/>
                  <a:pt x="3062528" y="535544"/>
                </a:cubicBezTo>
                <a:close/>
                <a:moveTo>
                  <a:pt x="2292890" y="561290"/>
                </a:moveTo>
                <a:cubicBezTo>
                  <a:pt x="2282120" y="561290"/>
                  <a:pt x="2272949" y="557756"/>
                  <a:pt x="2265377" y="550688"/>
                </a:cubicBezTo>
                <a:cubicBezTo>
                  <a:pt x="2257805" y="543621"/>
                  <a:pt x="2254018" y="533861"/>
                  <a:pt x="2254018" y="521408"/>
                </a:cubicBezTo>
                <a:cubicBezTo>
                  <a:pt x="2254018" y="509293"/>
                  <a:pt x="2257805" y="499701"/>
                  <a:pt x="2265377" y="492633"/>
                </a:cubicBezTo>
                <a:cubicBezTo>
                  <a:pt x="2272949" y="485566"/>
                  <a:pt x="2282120" y="482032"/>
                  <a:pt x="2292890" y="482032"/>
                </a:cubicBezTo>
                <a:cubicBezTo>
                  <a:pt x="2303660" y="482032"/>
                  <a:pt x="2312914" y="485566"/>
                  <a:pt x="2320655" y="492633"/>
                </a:cubicBezTo>
                <a:cubicBezTo>
                  <a:pt x="2328396" y="499701"/>
                  <a:pt x="2332266" y="509293"/>
                  <a:pt x="2332266" y="521408"/>
                </a:cubicBezTo>
                <a:cubicBezTo>
                  <a:pt x="2332266" y="533861"/>
                  <a:pt x="2328396" y="543621"/>
                  <a:pt x="2320655" y="550688"/>
                </a:cubicBezTo>
                <a:cubicBezTo>
                  <a:pt x="2312914" y="557756"/>
                  <a:pt x="2303660" y="561290"/>
                  <a:pt x="2292890" y="561290"/>
                </a:cubicBezTo>
                <a:close/>
                <a:moveTo>
                  <a:pt x="1959420" y="563309"/>
                </a:moveTo>
                <a:lnTo>
                  <a:pt x="1959420" y="511817"/>
                </a:lnTo>
                <a:lnTo>
                  <a:pt x="2025047" y="511817"/>
                </a:lnTo>
                <a:lnTo>
                  <a:pt x="2025047" y="310392"/>
                </a:lnTo>
                <a:cubicBezTo>
                  <a:pt x="2025047" y="277746"/>
                  <a:pt x="2031610" y="252926"/>
                  <a:pt x="2044735" y="235930"/>
                </a:cubicBezTo>
                <a:cubicBezTo>
                  <a:pt x="2057860" y="218934"/>
                  <a:pt x="2078727" y="210436"/>
                  <a:pt x="2107333" y="210436"/>
                </a:cubicBezTo>
                <a:cubicBezTo>
                  <a:pt x="2117767" y="210436"/>
                  <a:pt x="2127106" y="211109"/>
                  <a:pt x="2135351" y="212455"/>
                </a:cubicBezTo>
                <a:cubicBezTo>
                  <a:pt x="2143597" y="213802"/>
                  <a:pt x="2150580" y="215400"/>
                  <a:pt x="2156302" y="217251"/>
                </a:cubicBezTo>
                <a:cubicBezTo>
                  <a:pt x="2162023" y="219102"/>
                  <a:pt x="2166650" y="220869"/>
                  <a:pt x="2170184" y="222552"/>
                </a:cubicBezTo>
                <a:cubicBezTo>
                  <a:pt x="2173718" y="224235"/>
                  <a:pt x="2175990" y="225413"/>
                  <a:pt x="2176999" y="226086"/>
                </a:cubicBezTo>
                <a:lnTo>
                  <a:pt x="2168922" y="276063"/>
                </a:lnTo>
                <a:cubicBezTo>
                  <a:pt x="2166230" y="275054"/>
                  <a:pt x="2160677" y="272866"/>
                  <a:pt x="2152263" y="269501"/>
                </a:cubicBezTo>
                <a:cubicBezTo>
                  <a:pt x="2143849" y="266135"/>
                  <a:pt x="2133416" y="264452"/>
                  <a:pt x="2120964" y="264452"/>
                </a:cubicBezTo>
                <a:cubicBezTo>
                  <a:pt x="2111204" y="264452"/>
                  <a:pt x="2103126" y="267313"/>
                  <a:pt x="2096732" y="273034"/>
                </a:cubicBezTo>
                <a:cubicBezTo>
                  <a:pt x="2090338" y="278756"/>
                  <a:pt x="2087140" y="289694"/>
                  <a:pt x="2087140" y="305848"/>
                </a:cubicBezTo>
                <a:lnTo>
                  <a:pt x="2087140" y="563309"/>
                </a:lnTo>
                <a:close/>
                <a:moveTo>
                  <a:pt x="1607052" y="565833"/>
                </a:moveTo>
                <a:cubicBezTo>
                  <a:pt x="1594263" y="565833"/>
                  <a:pt x="1581811" y="564234"/>
                  <a:pt x="1569695" y="561037"/>
                </a:cubicBezTo>
                <a:cubicBezTo>
                  <a:pt x="1557579" y="557840"/>
                  <a:pt x="1546810" y="552455"/>
                  <a:pt x="1537386" y="544883"/>
                </a:cubicBezTo>
                <a:cubicBezTo>
                  <a:pt x="1527963" y="537310"/>
                  <a:pt x="1520474" y="527214"/>
                  <a:pt x="1514921" y="514593"/>
                </a:cubicBezTo>
                <a:cubicBezTo>
                  <a:pt x="1509368" y="501973"/>
                  <a:pt x="1506592" y="486071"/>
                  <a:pt x="1506592" y="466887"/>
                </a:cubicBezTo>
                <a:lnTo>
                  <a:pt x="1506592" y="453257"/>
                </a:lnTo>
                <a:lnTo>
                  <a:pt x="1454595" y="453257"/>
                </a:lnTo>
                <a:lnTo>
                  <a:pt x="1454595" y="401765"/>
                </a:lnTo>
                <a:lnTo>
                  <a:pt x="1506592" y="401765"/>
                </a:lnTo>
                <a:lnTo>
                  <a:pt x="1506592" y="215989"/>
                </a:lnTo>
                <a:lnTo>
                  <a:pt x="1569190" y="215989"/>
                </a:lnTo>
                <a:lnTo>
                  <a:pt x="1569190" y="401765"/>
                </a:lnTo>
                <a:lnTo>
                  <a:pt x="1666621" y="401765"/>
                </a:lnTo>
                <a:lnTo>
                  <a:pt x="1666621" y="453257"/>
                </a:lnTo>
                <a:lnTo>
                  <a:pt x="1569190" y="453257"/>
                </a:lnTo>
                <a:lnTo>
                  <a:pt x="1569190" y="465878"/>
                </a:lnTo>
                <a:cubicBezTo>
                  <a:pt x="1569190" y="475974"/>
                  <a:pt x="1570368" y="484135"/>
                  <a:pt x="1572724" y="490362"/>
                </a:cubicBezTo>
                <a:cubicBezTo>
                  <a:pt x="1575080" y="496588"/>
                  <a:pt x="1578193" y="501384"/>
                  <a:pt x="1582063" y="504749"/>
                </a:cubicBezTo>
                <a:cubicBezTo>
                  <a:pt x="1585933" y="508115"/>
                  <a:pt x="1590477" y="510302"/>
                  <a:pt x="1595693" y="511312"/>
                </a:cubicBezTo>
                <a:cubicBezTo>
                  <a:pt x="1600910" y="512322"/>
                  <a:pt x="1606379" y="512826"/>
                  <a:pt x="1612100" y="512826"/>
                </a:cubicBezTo>
                <a:cubicBezTo>
                  <a:pt x="1622533" y="512826"/>
                  <a:pt x="1633555" y="511396"/>
                  <a:pt x="1645166" y="508535"/>
                </a:cubicBezTo>
                <a:cubicBezTo>
                  <a:pt x="1656777" y="505675"/>
                  <a:pt x="1666453" y="502898"/>
                  <a:pt x="1674194" y="500206"/>
                </a:cubicBezTo>
                <a:lnTo>
                  <a:pt x="1684795" y="550688"/>
                </a:lnTo>
                <a:cubicBezTo>
                  <a:pt x="1673689" y="556073"/>
                  <a:pt x="1661236" y="559943"/>
                  <a:pt x="1647438" y="562299"/>
                </a:cubicBezTo>
                <a:cubicBezTo>
                  <a:pt x="1633639" y="564655"/>
                  <a:pt x="1620178" y="565833"/>
                  <a:pt x="1607052" y="565833"/>
                </a:cubicBezTo>
                <a:close/>
                <a:moveTo>
                  <a:pt x="0" y="796029"/>
                </a:moveTo>
                <a:lnTo>
                  <a:pt x="4876802" y="796029"/>
                </a:lnTo>
                <a:lnTo>
                  <a:pt x="4824822" y="344498"/>
                </a:lnTo>
                <a:cubicBezTo>
                  <a:pt x="4801968" y="145891"/>
                  <a:pt x="4682292" y="207"/>
                  <a:pt x="4541980" y="155"/>
                </a:cubicBezTo>
                <a:lnTo>
                  <a:pt x="0" y="0"/>
                </a:lnTo>
                <a:close/>
              </a:path>
            </a:pathLst>
          </a:custGeom>
          <a:solidFill>
            <a:schemeClr val="bg1"/>
          </a:solidFill>
          <a:ln w="2834" cap="flat">
            <a:noFill/>
            <a:prstDash val="solid"/>
            <a:miter/>
          </a:ln>
        </p:spPr>
        <p:txBody>
          <a:bodyPr wrap="square" rtlCol="0" anchor="ctr">
            <a:noAutofit/>
          </a:bodyPr>
          <a:lstStyle/>
          <a:p>
            <a:endParaRPr lang="en-US" dirty="0"/>
          </a:p>
        </p:txBody>
      </p:sp>
      <p:pic>
        <p:nvPicPr>
          <p:cNvPr id="8" name="Imagen 7" descr="Un dibujo de una cara feliz&#10;&#10;Descripción generada automáticamente con confianza baja">
            <a:extLst>
              <a:ext uri="{FF2B5EF4-FFF2-40B4-BE49-F238E27FC236}">
                <a16:creationId xmlns:a16="http://schemas.microsoft.com/office/drawing/2014/main" id="{A82FAAE7-F450-2EFB-B470-9CA2B285AACF}"/>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7824450" y="406400"/>
            <a:ext cx="1801936" cy="934010"/>
          </a:xfrm>
          <a:prstGeom prst="rect">
            <a:avLst/>
          </a:prstGeom>
        </p:spPr>
      </p:pic>
      <p:sp>
        <p:nvSpPr>
          <p:cNvPr id="10" name="Título 9">
            <a:extLst>
              <a:ext uri="{FF2B5EF4-FFF2-40B4-BE49-F238E27FC236}">
                <a16:creationId xmlns:a16="http://schemas.microsoft.com/office/drawing/2014/main" id="{7E8DAFFC-ADDB-1273-AA91-4852BCB21C8E}"/>
              </a:ext>
            </a:extLst>
          </p:cNvPr>
          <p:cNvSpPr>
            <a:spLocks noGrp="1"/>
          </p:cNvSpPr>
          <p:nvPr>
            <p:ph type="title" hasCustomPrompt="1"/>
          </p:nvPr>
        </p:nvSpPr>
        <p:spPr>
          <a:xfrm>
            <a:off x="7104380" y="1495932"/>
            <a:ext cx="10692384" cy="646331"/>
          </a:xfrm>
        </p:spPr>
        <p:txBody>
          <a:bodyPr/>
          <a:lstStyle>
            <a:lvl1pPr>
              <a:defRPr sz="4200" b="1" i="0">
                <a:solidFill>
                  <a:schemeClr val="bg1"/>
                </a:solidFill>
                <a:latin typeface="Ubuntu" panose="020B0504030602030204" pitchFamily="34" charset="0"/>
              </a:defRPr>
            </a:lvl1pPr>
          </a:lstStyle>
          <a:p>
            <a:r>
              <a:rPr lang="es-ES" dirty="0"/>
              <a:t>ASDFASFD</a:t>
            </a:r>
          </a:p>
        </p:txBody>
      </p:sp>
      <p:sp>
        <p:nvSpPr>
          <p:cNvPr id="11" name="object 12">
            <a:extLst>
              <a:ext uri="{FF2B5EF4-FFF2-40B4-BE49-F238E27FC236}">
                <a16:creationId xmlns:a16="http://schemas.microsoft.com/office/drawing/2014/main" id="{527854C5-8C21-D1AB-7E04-F771C691CE29}"/>
              </a:ext>
            </a:extLst>
          </p:cNvPr>
          <p:cNvSpPr txBox="1"/>
          <p:nvPr userDrawn="1"/>
        </p:nvSpPr>
        <p:spPr>
          <a:xfrm>
            <a:off x="7104380" y="807573"/>
            <a:ext cx="9881870" cy="567463"/>
          </a:xfrm>
          <a:prstGeom prst="rect">
            <a:avLst/>
          </a:prstGeom>
        </p:spPr>
        <p:txBody>
          <a:bodyPr vert="horz" wrap="square" lIns="0" tIns="13335" rIns="0" bIns="0" rtlCol="0">
            <a:spAutoFit/>
          </a:bodyPr>
          <a:lstStyle/>
          <a:p>
            <a:pPr marL="12700">
              <a:lnSpc>
                <a:spcPct val="100000"/>
              </a:lnSpc>
              <a:spcBef>
                <a:spcPts val="105"/>
              </a:spcBef>
            </a:pPr>
            <a:r>
              <a:rPr lang="en-US" sz="3600" spc="-30" dirty="0">
                <a:solidFill>
                  <a:srgbClr val="12A9D8"/>
                </a:solidFill>
                <a:latin typeface="Ubuntu Mono" panose="020B0509030602030204" pitchFamily="49" charset="0"/>
                <a:cs typeface="Ubuntu"/>
              </a:rPr>
              <a:t>Thinking about…</a:t>
            </a:r>
            <a:endParaRPr lang="en-US" sz="3600" dirty="0">
              <a:solidFill>
                <a:srgbClr val="12A9D8"/>
              </a:solidFill>
              <a:latin typeface="Ubuntu"/>
              <a:cs typeface="Ubuntu"/>
            </a:endParaRPr>
          </a:p>
        </p:txBody>
      </p:sp>
      <p:sp>
        <p:nvSpPr>
          <p:cNvPr id="15" name="Marcador de texto 14">
            <a:extLst>
              <a:ext uri="{FF2B5EF4-FFF2-40B4-BE49-F238E27FC236}">
                <a16:creationId xmlns:a16="http://schemas.microsoft.com/office/drawing/2014/main" id="{894536B8-BEFF-96E8-2A83-A0B97363D840}"/>
              </a:ext>
            </a:extLst>
          </p:cNvPr>
          <p:cNvSpPr>
            <a:spLocks noGrp="1"/>
          </p:cNvSpPr>
          <p:nvPr>
            <p:ph type="body" sz="quarter" idx="10"/>
          </p:nvPr>
        </p:nvSpPr>
        <p:spPr>
          <a:xfrm>
            <a:off x="7104380" y="3225800"/>
            <a:ext cx="12244070" cy="6931641"/>
          </a:xfrm>
          <a:prstGeom prst="rect">
            <a:avLst/>
          </a:prstGeom>
        </p:spPr>
        <p:txBody>
          <a:bodyPr/>
          <a:lstStyle>
            <a:lvl1pPr>
              <a:defRPr sz="2900" b="0" i="0">
                <a:solidFill>
                  <a:schemeClr val="bg1"/>
                </a:solidFill>
                <a:latin typeface="Ubuntu Light" panose="020B0304030602030204" pitchFamily="34" charset="0"/>
              </a:defRPr>
            </a:lvl1pPr>
            <a:lvl2pPr>
              <a:defRPr sz="2900" b="0" i="0">
                <a:solidFill>
                  <a:schemeClr val="bg1"/>
                </a:solidFill>
                <a:latin typeface="Ubuntu Light" panose="020B0304030602030204" pitchFamily="34" charset="0"/>
              </a:defRPr>
            </a:lvl2pPr>
            <a:lvl3pPr>
              <a:defRPr sz="2900" b="0" i="0">
                <a:solidFill>
                  <a:schemeClr val="bg1"/>
                </a:solidFill>
                <a:latin typeface="Ubuntu Light" panose="020B0304030602030204" pitchFamily="34" charset="0"/>
              </a:defRPr>
            </a:lvl3pPr>
            <a:lvl4pPr>
              <a:defRPr sz="2900" b="0" i="0">
                <a:solidFill>
                  <a:schemeClr val="bg1"/>
                </a:solidFill>
                <a:latin typeface="Ubuntu Light" panose="020B0304030602030204" pitchFamily="34" charset="0"/>
              </a:defRPr>
            </a:lvl4pPr>
            <a:lvl5pPr>
              <a:defRPr sz="2900" b="0" i="0">
                <a:solidFill>
                  <a:schemeClr val="bg1"/>
                </a:solidFill>
                <a:latin typeface="Ubuntu Light" panose="020B0304030602030204" pitchFamily="34" charset="0"/>
              </a:defRPr>
            </a:lvl5pPr>
          </a:lstStyle>
          <a:p>
            <a:pPr lvl="0"/>
            <a:r>
              <a:rPr lang="es-ES" dirty="0"/>
              <a:t>Haga clic para modificar los estilos de texto del patrón</a:t>
            </a:r>
          </a:p>
          <a:p>
            <a:pPr lvl="1"/>
            <a:r>
              <a:rPr lang="es-ES" dirty="0"/>
              <a:t>Segundo nivel</a:t>
            </a:r>
          </a:p>
          <a:p>
            <a:pPr lvl="2"/>
            <a:r>
              <a:rPr lang="es-ES" dirty="0"/>
              <a:t> nivel</a:t>
            </a:r>
          </a:p>
          <a:p>
            <a:pPr lvl="3"/>
            <a:r>
              <a:rPr lang="es-ES" dirty="0"/>
              <a:t>Cuarto nivel</a:t>
            </a:r>
          </a:p>
          <a:p>
            <a:pPr lvl="4"/>
            <a:r>
              <a:rPr lang="es-ES" dirty="0"/>
              <a:t>Quinto nivel</a:t>
            </a:r>
          </a:p>
        </p:txBody>
      </p:sp>
      <p:sp>
        <p:nvSpPr>
          <p:cNvPr id="16" name="CuadroTexto 15">
            <a:extLst>
              <a:ext uri="{FF2B5EF4-FFF2-40B4-BE49-F238E27FC236}">
                <a16:creationId xmlns:a16="http://schemas.microsoft.com/office/drawing/2014/main" id="{9D153551-888E-2E4A-C9F1-C375C679B619}"/>
              </a:ext>
            </a:extLst>
          </p:cNvPr>
          <p:cNvSpPr txBox="1"/>
          <p:nvPr userDrawn="1"/>
        </p:nvSpPr>
        <p:spPr>
          <a:xfrm>
            <a:off x="4870450" y="-151634"/>
            <a:ext cx="3200400" cy="4508927"/>
          </a:xfrm>
          <a:prstGeom prst="rect">
            <a:avLst/>
          </a:prstGeom>
          <a:noFill/>
        </p:spPr>
        <p:txBody>
          <a:bodyPr wrap="square" rtlCol="0">
            <a:spAutoFit/>
          </a:bodyPr>
          <a:lstStyle/>
          <a:p>
            <a:r>
              <a:rPr lang="es-ES" sz="28700" b="1" i="0" dirty="0">
                <a:solidFill>
                  <a:srgbClr val="12A9D8"/>
                </a:solidFill>
                <a:latin typeface="Ubuntu" panose="020B0504030602030204" pitchFamily="34" charset="0"/>
              </a:rPr>
              <a:t>?</a:t>
            </a:r>
          </a:p>
        </p:txBody>
      </p:sp>
    </p:spTree>
    <p:extLst>
      <p:ext uri="{BB962C8B-B14F-4D97-AF65-F5344CB8AC3E}">
        <p14:creationId xmlns:p14="http://schemas.microsoft.com/office/powerpoint/2010/main" val="12455716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5EAB4EC7-7929-BC2F-7729-EAA2B637E938}"/>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1625600"/>
            <a:ext cx="20104100" cy="8458200"/>
          </a:xfrm>
          <a:prstGeom prst="rect">
            <a:avLst/>
          </a:prstGeom>
        </p:spPr>
      </p:pic>
      <p:sp>
        <p:nvSpPr>
          <p:cNvPr id="4" name="Holder 4"/>
          <p:cNvSpPr>
            <a:spLocks noGrp="1"/>
          </p:cNvSpPr>
          <p:nvPr>
            <p:ph type="ftr" sz="quarter" idx="5"/>
          </p:nvPr>
        </p:nvSpPr>
        <p:spPr>
          <a:xfrm>
            <a:off x="16647741" y="10759212"/>
            <a:ext cx="2962677" cy="200055"/>
          </a:xfrm>
          <a:prstGeom prst="rect">
            <a:avLst/>
          </a:prstGeom>
        </p:spPr>
        <p:txBody>
          <a:bodyPr lIns="0" tIns="0" rIns="0" bIns="0"/>
          <a:lstStyle>
            <a:lvl1pPr>
              <a:defRPr sz="1300" b="0" i="0">
                <a:solidFill>
                  <a:srgbClr val="808080"/>
                </a:solidFill>
                <a:latin typeface="Ubuntu Light"/>
                <a:cs typeface="Ubuntu Light"/>
              </a:defRPr>
            </a:lvl1pPr>
          </a:lstStyle>
          <a:p>
            <a:pPr marL="26034">
              <a:lnSpc>
                <a:spcPct val="100000"/>
              </a:lnSpc>
              <a:spcBef>
                <a:spcPts val="30"/>
              </a:spcBef>
            </a:pPr>
            <a:r>
              <a:rPr>
                <a:solidFill>
                  <a:srgbClr val="666666"/>
                </a:solidFill>
              </a:rPr>
              <a:t>Public</a:t>
            </a:r>
            <a:r>
              <a:rPr spc="-40">
                <a:solidFill>
                  <a:srgbClr val="666666"/>
                </a:solidFill>
              </a:rPr>
              <a:t> </a:t>
            </a:r>
            <a:r>
              <a:rPr>
                <a:solidFill>
                  <a:srgbClr val="666666"/>
                </a:solidFill>
              </a:rPr>
              <a:t>©</a:t>
            </a:r>
            <a:r>
              <a:rPr spc="-40">
                <a:solidFill>
                  <a:srgbClr val="666666"/>
                </a:solidFill>
              </a:rPr>
              <a:t> </a:t>
            </a:r>
            <a:r>
              <a:rPr>
                <a:solidFill>
                  <a:srgbClr val="666666"/>
                </a:solidFill>
              </a:rPr>
              <a:t>202</a:t>
            </a:r>
            <a:r>
              <a:rPr lang="es-ES">
                <a:solidFill>
                  <a:srgbClr val="666666"/>
                </a:solidFill>
              </a:rPr>
              <a:t>3</a:t>
            </a:r>
            <a:r>
              <a:rPr spc="-40">
                <a:solidFill>
                  <a:srgbClr val="666666"/>
                </a:solidFill>
              </a:rPr>
              <a:t> </a:t>
            </a:r>
            <a:r>
              <a:rPr spc="-10">
                <a:solidFill>
                  <a:srgbClr val="666666"/>
                </a:solidFill>
              </a:rPr>
              <a:t>Sogeti.</a:t>
            </a:r>
            <a:r>
              <a:rPr spc="-35">
                <a:solidFill>
                  <a:srgbClr val="666666"/>
                </a:solidFill>
              </a:rPr>
              <a:t> </a:t>
            </a:r>
            <a:r>
              <a:rPr>
                <a:solidFill>
                  <a:srgbClr val="666666"/>
                </a:solidFill>
              </a:rPr>
              <a:t>All</a:t>
            </a:r>
            <a:r>
              <a:rPr spc="-40">
                <a:solidFill>
                  <a:srgbClr val="666666"/>
                </a:solidFill>
              </a:rPr>
              <a:t> </a:t>
            </a:r>
            <a:r>
              <a:rPr>
                <a:solidFill>
                  <a:srgbClr val="666666"/>
                </a:solidFill>
              </a:rPr>
              <a:t>rights</a:t>
            </a:r>
            <a:r>
              <a:rPr spc="-40">
                <a:solidFill>
                  <a:srgbClr val="666666"/>
                </a:solidFill>
              </a:rPr>
              <a:t> </a:t>
            </a:r>
            <a:r>
              <a:rPr spc="-10">
                <a:solidFill>
                  <a:srgbClr val="666666"/>
                </a:solidFill>
              </a:rPr>
              <a:t>reserved</a:t>
            </a:r>
          </a:p>
        </p:txBody>
      </p:sp>
    </p:spTree>
    <p:extLst>
      <p:ext uri="{BB962C8B-B14F-4D97-AF65-F5344CB8AC3E}">
        <p14:creationId xmlns:p14="http://schemas.microsoft.com/office/powerpoint/2010/main" val="88369499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3_Title and Content">
    <p:spTree>
      <p:nvGrpSpPr>
        <p:cNvPr id="1" name=""/>
        <p:cNvGrpSpPr/>
        <p:nvPr/>
      </p:nvGrpSpPr>
      <p:grpSpPr>
        <a:xfrm>
          <a:off x="0" y="0"/>
          <a:ext cx="0" cy="0"/>
          <a:chOff x="0" y="0"/>
          <a:chExt cx="0" cy="0"/>
        </a:xfrm>
      </p:grpSpPr>
      <p:pic>
        <p:nvPicPr>
          <p:cNvPr id="7" name="Imagen 6" descr="Imagen que contiene objeto, burbuja, luz, tabla&#10;&#10;Descripción generada automáticamente">
            <a:extLst>
              <a:ext uri="{FF2B5EF4-FFF2-40B4-BE49-F238E27FC236}">
                <a16:creationId xmlns:a16="http://schemas.microsoft.com/office/drawing/2014/main" id="{0933D09A-3166-BEE1-3236-4217DD5215B8}"/>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17753"/>
            <a:ext cx="6318250" cy="11346153"/>
          </a:xfrm>
          <a:prstGeom prst="rect">
            <a:avLst/>
          </a:prstGeom>
        </p:spPr>
      </p:pic>
      <p:sp>
        <p:nvSpPr>
          <p:cNvPr id="3" name="Rectángulo 2">
            <a:extLst>
              <a:ext uri="{FF2B5EF4-FFF2-40B4-BE49-F238E27FC236}">
                <a16:creationId xmlns:a16="http://schemas.microsoft.com/office/drawing/2014/main" id="{8E2A0C8C-2F63-07D5-D3ED-F129D31CE088}"/>
              </a:ext>
            </a:extLst>
          </p:cNvPr>
          <p:cNvSpPr/>
          <p:nvPr userDrawn="1"/>
        </p:nvSpPr>
        <p:spPr>
          <a:xfrm>
            <a:off x="6318250" y="-17753"/>
            <a:ext cx="13785850" cy="11346153"/>
          </a:xfrm>
          <a:prstGeom prst="rect">
            <a:avLst/>
          </a:prstGeom>
          <a:solidFill>
            <a:srgbClr val="330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4" name="Holder 4"/>
          <p:cNvSpPr>
            <a:spLocks noGrp="1"/>
          </p:cNvSpPr>
          <p:nvPr>
            <p:ph type="ftr" sz="quarter" idx="5"/>
          </p:nvPr>
        </p:nvSpPr>
        <p:spPr>
          <a:xfrm>
            <a:off x="16647741" y="10759212"/>
            <a:ext cx="2962677" cy="200055"/>
          </a:xfrm>
          <a:prstGeom prst="rect">
            <a:avLst/>
          </a:prstGeom>
        </p:spPr>
        <p:txBody>
          <a:bodyPr lIns="0" tIns="0" rIns="0" bIns="0"/>
          <a:lstStyle>
            <a:lvl1pPr>
              <a:defRPr sz="1300" b="0" i="0">
                <a:solidFill>
                  <a:schemeClr val="bg1"/>
                </a:solidFill>
                <a:latin typeface="Ubuntu Light"/>
                <a:cs typeface="Ubuntu Light"/>
              </a:defRPr>
            </a:lvl1pPr>
          </a:lstStyle>
          <a:p>
            <a:pPr marL="26034">
              <a:spcBef>
                <a:spcPts val="30"/>
              </a:spcBef>
            </a:pPr>
            <a:r>
              <a:rPr lang="es-ES" dirty="0"/>
              <a:t>Public</a:t>
            </a:r>
            <a:r>
              <a:rPr lang="es-ES" spc="-40" dirty="0"/>
              <a:t> </a:t>
            </a:r>
            <a:r>
              <a:rPr lang="es-ES" dirty="0"/>
              <a:t>©</a:t>
            </a:r>
            <a:r>
              <a:rPr lang="es-ES" spc="-40" dirty="0"/>
              <a:t> </a:t>
            </a:r>
            <a:r>
              <a:rPr lang="es-ES" dirty="0"/>
              <a:t>2023</a:t>
            </a:r>
            <a:r>
              <a:rPr lang="es-ES" spc="-40" dirty="0"/>
              <a:t> </a:t>
            </a:r>
            <a:r>
              <a:rPr lang="es-ES" spc="-10" dirty="0"/>
              <a:t>Sogeti.</a:t>
            </a:r>
            <a:r>
              <a:rPr lang="es-ES" spc="-35" dirty="0"/>
              <a:t> </a:t>
            </a:r>
            <a:r>
              <a:rPr lang="es-ES" dirty="0" err="1"/>
              <a:t>All</a:t>
            </a:r>
            <a:r>
              <a:rPr lang="es-ES" spc="-40" dirty="0"/>
              <a:t> </a:t>
            </a:r>
            <a:r>
              <a:rPr lang="es-ES" dirty="0"/>
              <a:t>rights</a:t>
            </a:r>
            <a:r>
              <a:rPr lang="es-ES" spc="-40" dirty="0"/>
              <a:t> </a:t>
            </a:r>
            <a:r>
              <a:rPr lang="es-ES" spc="-10" dirty="0" err="1"/>
              <a:t>reserved</a:t>
            </a:r>
            <a:endParaRPr lang="es-ES" spc="-10" dirty="0"/>
          </a:p>
        </p:txBody>
      </p:sp>
      <p:sp>
        <p:nvSpPr>
          <p:cNvPr id="2" name="CuadroTexto 1">
            <a:extLst>
              <a:ext uri="{FF2B5EF4-FFF2-40B4-BE49-F238E27FC236}">
                <a16:creationId xmlns:a16="http://schemas.microsoft.com/office/drawing/2014/main" id="{72E5CF79-7DA3-E21E-3060-87CB44907F25}"/>
              </a:ext>
            </a:extLst>
          </p:cNvPr>
          <p:cNvSpPr txBox="1"/>
          <p:nvPr userDrawn="1"/>
        </p:nvSpPr>
        <p:spPr>
          <a:xfrm>
            <a:off x="755650" y="10845800"/>
            <a:ext cx="7772400" cy="292388"/>
          </a:xfrm>
          <a:prstGeom prst="rect">
            <a:avLst/>
          </a:prstGeom>
          <a:noFill/>
        </p:spPr>
        <p:txBody>
          <a:bodyPr wrap="square" rtlCol="0">
            <a:spAutoFit/>
          </a:bodyPr>
          <a:lstStyle/>
          <a:p>
            <a:r>
              <a:rPr lang="es-ES" sz="1300" b="0" i="0" dirty="0">
                <a:solidFill>
                  <a:schemeClr val="bg1"/>
                </a:solidFill>
                <a:latin typeface="Ubuntu Medium" panose="020B0504030602030204" pitchFamily="34" charset="0"/>
              </a:rPr>
              <a:t>#FlourishingDigitalBusinessWithQuality </a:t>
            </a:r>
            <a:r>
              <a:rPr lang="es-ES" sz="1300" b="1" i="0" dirty="0">
                <a:solidFill>
                  <a:schemeClr val="bg1"/>
                </a:solidFill>
                <a:latin typeface="Ubuntu" panose="020B0504030602030204" pitchFamily="34" charset="0"/>
              </a:rPr>
              <a:t> </a:t>
            </a:r>
            <a:r>
              <a:rPr lang="es-ES" sz="1300" b="1" i="0" dirty="0">
                <a:solidFill>
                  <a:srgbClr val="290E3B"/>
                </a:solidFill>
                <a:latin typeface="Ubuntu" panose="020B0504030602030204" pitchFamily="34" charset="0"/>
              </a:rPr>
              <a:t>·</a:t>
            </a:r>
            <a:r>
              <a:rPr lang="es-ES" sz="1300" b="0" i="0" dirty="0">
                <a:solidFill>
                  <a:schemeClr val="tx2"/>
                </a:solidFill>
                <a:latin typeface="Ubuntu Medium" panose="020B0504030602030204" pitchFamily="34" charset="0"/>
              </a:rPr>
              <a:t>   </a:t>
            </a:r>
            <a:r>
              <a:rPr lang="es-ES" sz="1300" b="1" i="0" dirty="0">
                <a:solidFill>
                  <a:srgbClr val="12A9D8"/>
                </a:solidFill>
                <a:latin typeface="Ubuntu" panose="020B0504030602030204" pitchFamily="34" charset="0"/>
              </a:rPr>
              <a:t>Sogeti España</a:t>
            </a:r>
          </a:p>
        </p:txBody>
      </p:sp>
      <p:sp>
        <p:nvSpPr>
          <p:cNvPr id="5" name="Forma libre 4">
            <a:extLst>
              <a:ext uri="{FF2B5EF4-FFF2-40B4-BE49-F238E27FC236}">
                <a16:creationId xmlns:a16="http://schemas.microsoft.com/office/drawing/2014/main" id="{FBAABD7F-C513-9B40-6AE2-E43DB3944CCE}"/>
              </a:ext>
            </a:extLst>
          </p:cNvPr>
          <p:cNvSpPr/>
          <p:nvPr userDrawn="1"/>
        </p:nvSpPr>
        <p:spPr>
          <a:xfrm flipV="1">
            <a:off x="755650" y="10384024"/>
            <a:ext cx="2362200" cy="385576"/>
          </a:xfrm>
          <a:custGeom>
            <a:avLst/>
            <a:gdLst/>
            <a:ahLst/>
            <a:cxnLst/>
            <a:rect l="l" t="t" r="r" b="b"/>
            <a:pathLst>
              <a:path w="4876802" h="796029">
                <a:moveTo>
                  <a:pt x="2572782" y="405299"/>
                </a:moveTo>
                <a:cubicBezTo>
                  <a:pt x="2589609" y="405299"/>
                  <a:pt x="2601809" y="398820"/>
                  <a:pt x="2609382" y="385863"/>
                </a:cubicBezTo>
                <a:cubicBezTo>
                  <a:pt x="2616954" y="372906"/>
                  <a:pt x="2620740" y="355826"/>
                  <a:pt x="2620740" y="334623"/>
                </a:cubicBezTo>
                <a:cubicBezTo>
                  <a:pt x="2620740" y="313420"/>
                  <a:pt x="2616618" y="296256"/>
                  <a:pt x="2608372" y="283131"/>
                </a:cubicBezTo>
                <a:cubicBezTo>
                  <a:pt x="2600126" y="270006"/>
                  <a:pt x="2587927" y="263443"/>
                  <a:pt x="2571772" y="263443"/>
                </a:cubicBezTo>
                <a:cubicBezTo>
                  <a:pt x="2554945" y="263443"/>
                  <a:pt x="2542744" y="270006"/>
                  <a:pt x="2535172" y="283131"/>
                </a:cubicBezTo>
                <a:cubicBezTo>
                  <a:pt x="2527600" y="296256"/>
                  <a:pt x="2523814" y="313420"/>
                  <a:pt x="2523814" y="334623"/>
                </a:cubicBezTo>
                <a:cubicBezTo>
                  <a:pt x="2523814" y="355826"/>
                  <a:pt x="2527937" y="372906"/>
                  <a:pt x="2536182" y="385863"/>
                </a:cubicBezTo>
                <a:cubicBezTo>
                  <a:pt x="2544428" y="398820"/>
                  <a:pt x="2556628" y="405299"/>
                  <a:pt x="2572782" y="405299"/>
                </a:cubicBezTo>
                <a:close/>
                <a:moveTo>
                  <a:pt x="1810782" y="405299"/>
                </a:moveTo>
                <a:cubicBezTo>
                  <a:pt x="1827610" y="405299"/>
                  <a:pt x="1839810" y="398820"/>
                  <a:pt x="1847382" y="385863"/>
                </a:cubicBezTo>
                <a:cubicBezTo>
                  <a:pt x="1854954" y="372906"/>
                  <a:pt x="1858740" y="355826"/>
                  <a:pt x="1858740" y="334623"/>
                </a:cubicBezTo>
                <a:cubicBezTo>
                  <a:pt x="1858740" y="313420"/>
                  <a:pt x="1854618" y="296256"/>
                  <a:pt x="1846372" y="283131"/>
                </a:cubicBezTo>
                <a:cubicBezTo>
                  <a:pt x="1838127" y="270006"/>
                  <a:pt x="1825927" y="263443"/>
                  <a:pt x="1809772" y="263443"/>
                </a:cubicBezTo>
                <a:cubicBezTo>
                  <a:pt x="1792945" y="263443"/>
                  <a:pt x="1780745" y="270006"/>
                  <a:pt x="1773173" y="283131"/>
                </a:cubicBezTo>
                <a:cubicBezTo>
                  <a:pt x="1765600" y="296256"/>
                  <a:pt x="1761814" y="313420"/>
                  <a:pt x="1761814" y="334623"/>
                </a:cubicBezTo>
                <a:cubicBezTo>
                  <a:pt x="1761814" y="355826"/>
                  <a:pt x="1765937" y="372906"/>
                  <a:pt x="1774182" y="385863"/>
                </a:cubicBezTo>
                <a:cubicBezTo>
                  <a:pt x="1782428" y="398820"/>
                  <a:pt x="1794628" y="405299"/>
                  <a:pt x="1810782" y="405299"/>
                </a:cubicBezTo>
                <a:close/>
                <a:moveTo>
                  <a:pt x="810657" y="405299"/>
                </a:moveTo>
                <a:cubicBezTo>
                  <a:pt x="827485" y="405299"/>
                  <a:pt x="839684" y="398820"/>
                  <a:pt x="847257" y="385863"/>
                </a:cubicBezTo>
                <a:cubicBezTo>
                  <a:pt x="854829" y="372906"/>
                  <a:pt x="858615" y="355826"/>
                  <a:pt x="858616" y="334623"/>
                </a:cubicBezTo>
                <a:cubicBezTo>
                  <a:pt x="858615" y="313420"/>
                  <a:pt x="854493" y="296256"/>
                  <a:pt x="846247" y="283131"/>
                </a:cubicBezTo>
                <a:cubicBezTo>
                  <a:pt x="838002" y="270006"/>
                  <a:pt x="825802" y="263443"/>
                  <a:pt x="809647" y="263443"/>
                </a:cubicBezTo>
                <a:cubicBezTo>
                  <a:pt x="792820" y="263443"/>
                  <a:pt x="780620" y="270006"/>
                  <a:pt x="773048" y="283131"/>
                </a:cubicBezTo>
                <a:cubicBezTo>
                  <a:pt x="765475" y="296256"/>
                  <a:pt x="761689" y="313420"/>
                  <a:pt x="761689" y="334623"/>
                </a:cubicBezTo>
                <a:cubicBezTo>
                  <a:pt x="761689" y="355826"/>
                  <a:pt x="765812" y="372906"/>
                  <a:pt x="774057" y="385863"/>
                </a:cubicBezTo>
                <a:cubicBezTo>
                  <a:pt x="782303" y="398820"/>
                  <a:pt x="794503" y="405299"/>
                  <a:pt x="810657" y="405299"/>
                </a:cubicBezTo>
                <a:close/>
                <a:moveTo>
                  <a:pt x="3325256" y="411861"/>
                </a:moveTo>
                <a:cubicBezTo>
                  <a:pt x="3316506" y="411861"/>
                  <a:pt x="3309608" y="408496"/>
                  <a:pt x="3304560" y="401765"/>
                </a:cubicBezTo>
                <a:cubicBezTo>
                  <a:pt x="3299512" y="395034"/>
                  <a:pt x="3296988" y="387125"/>
                  <a:pt x="3296988" y="378038"/>
                </a:cubicBezTo>
                <a:cubicBezTo>
                  <a:pt x="3296988" y="368951"/>
                  <a:pt x="3299512" y="361126"/>
                  <a:pt x="3304560" y="354564"/>
                </a:cubicBezTo>
                <a:cubicBezTo>
                  <a:pt x="3309608" y="348001"/>
                  <a:pt x="3316506" y="344720"/>
                  <a:pt x="3325256" y="344720"/>
                </a:cubicBezTo>
                <a:cubicBezTo>
                  <a:pt x="3333334" y="344720"/>
                  <a:pt x="3339980" y="348001"/>
                  <a:pt x="3345198" y="354564"/>
                </a:cubicBezTo>
                <a:cubicBezTo>
                  <a:pt x="3350414" y="361126"/>
                  <a:pt x="3353022" y="368951"/>
                  <a:pt x="3353022" y="378038"/>
                </a:cubicBezTo>
                <a:cubicBezTo>
                  <a:pt x="3353022" y="387125"/>
                  <a:pt x="3350414" y="395034"/>
                  <a:pt x="3345198" y="401765"/>
                </a:cubicBezTo>
                <a:cubicBezTo>
                  <a:pt x="3339980" y="408496"/>
                  <a:pt x="3333334" y="411861"/>
                  <a:pt x="3325256" y="411861"/>
                </a:cubicBezTo>
                <a:close/>
                <a:moveTo>
                  <a:pt x="2207070" y="453257"/>
                </a:moveTo>
                <a:lnTo>
                  <a:pt x="2207070" y="401765"/>
                </a:lnTo>
                <a:lnTo>
                  <a:pt x="2272697" y="401765"/>
                </a:lnTo>
                <a:lnTo>
                  <a:pt x="2272697" y="314430"/>
                </a:lnTo>
                <a:cubicBezTo>
                  <a:pt x="2272697" y="297939"/>
                  <a:pt x="2274043" y="283299"/>
                  <a:pt x="2276735" y="270510"/>
                </a:cubicBezTo>
                <a:cubicBezTo>
                  <a:pt x="2279428" y="257721"/>
                  <a:pt x="2284055" y="246868"/>
                  <a:pt x="2290618" y="237949"/>
                </a:cubicBezTo>
                <a:cubicBezTo>
                  <a:pt x="2297181" y="229031"/>
                  <a:pt x="2305931" y="222215"/>
                  <a:pt x="2316869" y="217504"/>
                </a:cubicBezTo>
                <a:cubicBezTo>
                  <a:pt x="2327807" y="212792"/>
                  <a:pt x="2341353" y="210436"/>
                  <a:pt x="2357508" y="210436"/>
                </a:cubicBezTo>
                <a:cubicBezTo>
                  <a:pt x="2366931" y="210436"/>
                  <a:pt x="2377280" y="211530"/>
                  <a:pt x="2388554" y="213718"/>
                </a:cubicBezTo>
                <a:cubicBezTo>
                  <a:pt x="2399829" y="215905"/>
                  <a:pt x="2411860" y="220028"/>
                  <a:pt x="2424649" y="226086"/>
                </a:cubicBezTo>
                <a:lnTo>
                  <a:pt x="2416572" y="276063"/>
                </a:lnTo>
                <a:cubicBezTo>
                  <a:pt x="2406475" y="271352"/>
                  <a:pt x="2397388" y="268239"/>
                  <a:pt x="2389312" y="266724"/>
                </a:cubicBezTo>
                <a:cubicBezTo>
                  <a:pt x="2381234" y="265210"/>
                  <a:pt x="2374335" y="264452"/>
                  <a:pt x="2368614" y="264452"/>
                </a:cubicBezTo>
                <a:cubicBezTo>
                  <a:pt x="2356498" y="264452"/>
                  <a:pt x="2347832" y="267902"/>
                  <a:pt x="2342615" y="274801"/>
                </a:cubicBezTo>
                <a:cubicBezTo>
                  <a:pt x="2337398" y="281701"/>
                  <a:pt x="2334790" y="292218"/>
                  <a:pt x="2334790" y="306353"/>
                </a:cubicBezTo>
                <a:lnTo>
                  <a:pt x="2334790" y="453257"/>
                </a:lnTo>
                <a:close/>
                <a:moveTo>
                  <a:pt x="1088092" y="457800"/>
                </a:moveTo>
                <a:cubicBezTo>
                  <a:pt x="1064870" y="457800"/>
                  <a:pt x="1044593" y="455949"/>
                  <a:pt x="1027260" y="452247"/>
                </a:cubicBezTo>
                <a:cubicBezTo>
                  <a:pt x="1009928" y="448545"/>
                  <a:pt x="993016" y="443665"/>
                  <a:pt x="976526" y="437607"/>
                </a:cubicBezTo>
                <a:lnTo>
                  <a:pt x="976526" y="215989"/>
                </a:lnTo>
                <a:lnTo>
                  <a:pt x="1039124" y="215989"/>
                </a:lnTo>
                <a:lnTo>
                  <a:pt x="1039124" y="392173"/>
                </a:lnTo>
                <a:cubicBezTo>
                  <a:pt x="1047874" y="394529"/>
                  <a:pt x="1056456" y="396128"/>
                  <a:pt x="1064870" y="396969"/>
                </a:cubicBezTo>
                <a:cubicBezTo>
                  <a:pt x="1073284" y="397810"/>
                  <a:pt x="1081866" y="398231"/>
                  <a:pt x="1090616" y="398231"/>
                </a:cubicBezTo>
                <a:cubicBezTo>
                  <a:pt x="1094318" y="398231"/>
                  <a:pt x="1098861" y="398063"/>
                  <a:pt x="1104246" y="397726"/>
                </a:cubicBezTo>
                <a:cubicBezTo>
                  <a:pt x="1109631" y="397390"/>
                  <a:pt x="1115184" y="396801"/>
                  <a:pt x="1120905" y="395959"/>
                </a:cubicBezTo>
                <a:cubicBezTo>
                  <a:pt x="1126627" y="395118"/>
                  <a:pt x="1132264" y="394192"/>
                  <a:pt x="1137817" y="393183"/>
                </a:cubicBezTo>
                <a:cubicBezTo>
                  <a:pt x="1143370" y="392173"/>
                  <a:pt x="1148166" y="391164"/>
                  <a:pt x="1152205" y="390154"/>
                </a:cubicBezTo>
                <a:lnTo>
                  <a:pt x="1163311" y="447704"/>
                </a:lnTo>
                <a:cubicBezTo>
                  <a:pt x="1157589" y="449723"/>
                  <a:pt x="1151111" y="451322"/>
                  <a:pt x="1143875" y="452500"/>
                </a:cubicBezTo>
                <a:cubicBezTo>
                  <a:pt x="1136639" y="453678"/>
                  <a:pt x="1129487" y="454687"/>
                  <a:pt x="1122420" y="455529"/>
                </a:cubicBezTo>
                <a:cubicBezTo>
                  <a:pt x="1115352" y="456370"/>
                  <a:pt x="1108706" y="456959"/>
                  <a:pt x="1102479" y="457296"/>
                </a:cubicBezTo>
                <a:cubicBezTo>
                  <a:pt x="1096253" y="457632"/>
                  <a:pt x="1091457" y="457800"/>
                  <a:pt x="1088092" y="457800"/>
                </a:cubicBezTo>
                <a:close/>
                <a:moveTo>
                  <a:pt x="2572782" y="459315"/>
                </a:moveTo>
                <a:cubicBezTo>
                  <a:pt x="2556628" y="459315"/>
                  <a:pt x="2541651" y="456370"/>
                  <a:pt x="2527852" y="450480"/>
                </a:cubicBezTo>
                <a:cubicBezTo>
                  <a:pt x="2514054" y="444591"/>
                  <a:pt x="2502190" y="436177"/>
                  <a:pt x="2492262" y="425239"/>
                </a:cubicBezTo>
                <a:cubicBezTo>
                  <a:pt x="2482334" y="414301"/>
                  <a:pt x="2474594" y="401176"/>
                  <a:pt x="2469040" y="385863"/>
                </a:cubicBezTo>
                <a:cubicBezTo>
                  <a:pt x="2463487" y="370550"/>
                  <a:pt x="2460711" y="353638"/>
                  <a:pt x="2460711" y="335128"/>
                </a:cubicBezTo>
                <a:cubicBezTo>
                  <a:pt x="2460711" y="316281"/>
                  <a:pt x="2463403" y="299201"/>
                  <a:pt x="2468788" y="283888"/>
                </a:cubicBezTo>
                <a:cubicBezTo>
                  <a:pt x="2474173" y="268575"/>
                  <a:pt x="2481829" y="255366"/>
                  <a:pt x="2491758" y="244259"/>
                </a:cubicBezTo>
                <a:cubicBezTo>
                  <a:pt x="2501686" y="233153"/>
                  <a:pt x="2513465" y="224571"/>
                  <a:pt x="2527095" y="218513"/>
                </a:cubicBezTo>
                <a:cubicBezTo>
                  <a:pt x="2540726" y="212455"/>
                  <a:pt x="2555954" y="209427"/>
                  <a:pt x="2572782" y="209427"/>
                </a:cubicBezTo>
                <a:cubicBezTo>
                  <a:pt x="2589609" y="209427"/>
                  <a:pt x="2604838" y="212455"/>
                  <a:pt x="2618468" y="218513"/>
                </a:cubicBezTo>
                <a:cubicBezTo>
                  <a:pt x="2632098" y="224571"/>
                  <a:pt x="2643794" y="233153"/>
                  <a:pt x="2653554" y="244259"/>
                </a:cubicBezTo>
                <a:cubicBezTo>
                  <a:pt x="2663314" y="255366"/>
                  <a:pt x="2670886" y="268575"/>
                  <a:pt x="2676271" y="283888"/>
                </a:cubicBezTo>
                <a:cubicBezTo>
                  <a:pt x="2681656" y="299201"/>
                  <a:pt x="2684348" y="316281"/>
                  <a:pt x="2684348" y="335128"/>
                </a:cubicBezTo>
                <a:cubicBezTo>
                  <a:pt x="2684348" y="353638"/>
                  <a:pt x="2681656" y="370550"/>
                  <a:pt x="2676271" y="385863"/>
                </a:cubicBezTo>
                <a:cubicBezTo>
                  <a:pt x="2670886" y="401176"/>
                  <a:pt x="2663230" y="414301"/>
                  <a:pt x="2653302" y="425239"/>
                </a:cubicBezTo>
                <a:cubicBezTo>
                  <a:pt x="2643373" y="436177"/>
                  <a:pt x="2631594" y="444591"/>
                  <a:pt x="2617964" y="450480"/>
                </a:cubicBezTo>
                <a:cubicBezTo>
                  <a:pt x="2604334" y="456370"/>
                  <a:pt x="2589273" y="459315"/>
                  <a:pt x="2572782" y="459315"/>
                </a:cubicBezTo>
                <a:close/>
                <a:moveTo>
                  <a:pt x="1810782" y="459315"/>
                </a:moveTo>
                <a:cubicBezTo>
                  <a:pt x="1794628" y="459315"/>
                  <a:pt x="1779651" y="456370"/>
                  <a:pt x="1765853" y="450480"/>
                </a:cubicBezTo>
                <a:cubicBezTo>
                  <a:pt x="1752054" y="444591"/>
                  <a:pt x="1740191" y="436177"/>
                  <a:pt x="1730262" y="425239"/>
                </a:cubicBezTo>
                <a:cubicBezTo>
                  <a:pt x="1720334" y="414301"/>
                  <a:pt x="1712594" y="401176"/>
                  <a:pt x="1707040" y="385863"/>
                </a:cubicBezTo>
                <a:cubicBezTo>
                  <a:pt x="1701488" y="370550"/>
                  <a:pt x="1698711" y="353638"/>
                  <a:pt x="1698711" y="335128"/>
                </a:cubicBezTo>
                <a:cubicBezTo>
                  <a:pt x="1698711" y="316281"/>
                  <a:pt x="1701403" y="299201"/>
                  <a:pt x="1706788" y="283888"/>
                </a:cubicBezTo>
                <a:cubicBezTo>
                  <a:pt x="1712173" y="268575"/>
                  <a:pt x="1719829" y="255366"/>
                  <a:pt x="1729758" y="244259"/>
                </a:cubicBezTo>
                <a:cubicBezTo>
                  <a:pt x="1739686" y="233153"/>
                  <a:pt x="1751465" y="224571"/>
                  <a:pt x="1765095" y="218513"/>
                </a:cubicBezTo>
                <a:cubicBezTo>
                  <a:pt x="1778726" y="212455"/>
                  <a:pt x="1793954" y="209427"/>
                  <a:pt x="1810782" y="209427"/>
                </a:cubicBezTo>
                <a:cubicBezTo>
                  <a:pt x="1827610" y="209427"/>
                  <a:pt x="1842838" y="212455"/>
                  <a:pt x="1856469" y="218513"/>
                </a:cubicBezTo>
                <a:cubicBezTo>
                  <a:pt x="1870099" y="224571"/>
                  <a:pt x="1881794" y="233153"/>
                  <a:pt x="1891554" y="244259"/>
                </a:cubicBezTo>
                <a:cubicBezTo>
                  <a:pt x="1901314" y="255366"/>
                  <a:pt x="1908886" y="268575"/>
                  <a:pt x="1914271" y="283888"/>
                </a:cubicBezTo>
                <a:cubicBezTo>
                  <a:pt x="1919656" y="299201"/>
                  <a:pt x="1922348" y="316281"/>
                  <a:pt x="1922348" y="335128"/>
                </a:cubicBezTo>
                <a:cubicBezTo>
                  <a:pt x="1922348" y="353638"/>
                  <a:pt x="1919656" y="370550"/>
                  <a:pt x="1914271" y="385863"/>
                </a:cubicBezTo>
                <a:cubicBezTo>
                  <a:pt x="1908886" y="401176"/>
                  <a:pt x="1901230" y="414301"/>
                  <a:pt x="1891302" y="425239"/>
                </a:cubicBezTo>
                <a:cubicBezTo>
                  <a:pt x="1881374" y="436177"/>
                  <a:pt x="1869594" y="444591"/>
                  <a:pt x="1855964" y="450480"/>
                </a:cubicBezTo>
                <a:cubicBezTo>
                  <a:pt x="1842334" y="456370"/>
                  <a:pt x="1827273" y="459315"/>
                  <a:pt x="1810782" y="459315"/>
                </a:cubicBezTo>
                <a:close/>
                <a:moveTo>
                  <a:pt x="810657" y="459315"/>
                </a:moveTo>
                <a:cubicBezTo>
                  <a:pt x="794503" y="459315"/>
                  <a:pt x="779526" y="456370"/>
                  <a:pt x="765728" y="450480"/>
                </a:cubicBezTo>
                <a:cubicBezTo>
                  <a:pt x="751929" y="444591"/>
                  <a:pt x="740066" y="436177"/>
                  <a:pt x="730138" y="425239"/>
                </a:cubicBezTo>
                <a:cubicBezTo>
                  <a:pt x="720209" y="414301"/>
                  <a:pt x="712469" y="401176"/>
                  <a:pt x="706916" y="385863"/>
                </a:cubicBezTo>
                <a:cubicBezTo>
                  <a:pt x="701362" y="370550"/>
                  <a:pt x="698586" y="353638"/>
                  <a:pt x="698586" y="335128"/>
                </a:cubicBezTo>
                <a:cubicBezTo>
                  <a:pt x="698586" y="316281"/>
                  <a:pt x="701278" y="299201"/>
                  <a:pt x="706663" y="283888"/>
                </a:cubicBezTo>
                <a:cubicBezTo>
                  <a:pt x="712048" y="268575"/>
                  <a:pt x="719704" y="255366"/>
                  <a:pt x="729633" y="244259"/>
                </a:cubicBezTo>
                <a:cubicBezTo>
                  <a:pt x="739561" y="233153"/>
                  <a:pt x="751340" y="224571"/>
                  <a:pt x="764970" y="218513"/>
                </a:cubicBezTo>
                <a:cubicBezTo>
                  <a:pt x="778601" y="212455"/>
                  <a:pt x="793830" y="209427"/>
                  <a:pt x="810657" y="209427"/>
                </a:cubicBezTo>
                <a:cubicBezTo>
                  <a:pt x="827485" y="209427"/>
                  <a:pt x="842713" y="212455"/>
                  <a:pt x="856344" y="218513"/>
                </a:cubicBezTo>
                <a:cubicBezTo>
                  <a:pt x="869974" y="224571"/>
                  <a:pt x="881669" y="233153"/>
                  <a:pt x="891429" y="244259"/>
                </a:cubicBezTo>
                <a:cubicBezTo>
                  <a:pt x="901189" y="255366"/>
                  <a:pt x="908761" y="268575"/>
                  <a:pt x="914146" y="283888"/>
                </a:cubicBezTo>
                <a:cubicBezTo>
                  <a:pt x="919531" y="299201"/>
                  <a:pt x="922223" y="316281"/>
                  <a:pt x="922223" y="335128"/>
                </a:cubicBezTo>
                <a:cubicBezTo>
                  <a:pt x="922223" y="353638"/>
                  <a:pt x="919531" y="370550"/>
                  <a:pt x="914146" y="385863"/>
                </a:cubicBezTo>
                <a:cubicBezTo>
                  <a:pt x="908761" y="401176"/>
                  <a:pt x="901105" y="414301"/>
                  <a:pt x="891177" y="425239"/>
                </a:cubicBezTo>
                <a:cubicBezTo>
                  <a:pt x="881248" y="436177"/>
                  <a:pt x="869469" y="444591"/>
                  <a:pt x="855839" y="450480"/>
                </a:cubicBezTo>
                <a:cubicBezTo>
                  <a:pt x="842209" y="456370"/>
                  <a:pt x="827148" y="459315"/>
                  <a:pt x="810657" y="459315"/>
                </a:cubicBezTo>
                <a:close/>
                <a:moveTo>
                  <a:pt x="546919" y="477993"/>
                </a:moveTo>
                <a:cubicBezTo>
                  <a:pt x="563410" y="477993"/>
                  <a:pt x="576620" y="474207"/>
                  <a:pt x="586548" y="466635"/>
                </a:cubicBezTo>
                <a:cubicBezTo>
                  <a:pt x="596476" y="459062"/>
                  <a:pt x="601441" y="446189"/>
                  <a:pt x="601441" y="428016"/>
                </a:cubicBezTo>
                <a:cubicBezTo>
                  <a:pt x="601441" y="408832"/>
                  <a:pt x="596392" y="395286"/>
                  <a:pt x="586296" y="387377"/>
                </a:cubicBezTo>
                <a:cubicBezTo>
                  <a:pt x="576199" y="379468"/>
                  <a:pt x="561223" y="375514"/>
                  <a:pt x="541366" y="375514"/>
                </a:cubicBezTo>
                <a:lnTo>
                  <a:pt x="516125" y="375514"/>
                </a:lnTo>
                <a:lnTo>
                  <a:pt x="516125" y="476479"/>
                </a:lnTo>
                <a:cubicBezTo>
                  <a:pt x="519827" y="477152"/>
                  <a:pt x="524960" y="477573"/>
                  <a:pt x="531522" y="477741"/>
                </a:cubicBezTo>
                <a:cubicBezTo>
                  <a:pt x="538085" y="477909"/>
                  <a:pt x="543217" y="477993"/>
                  <a:pt x="546919" y="477993"/>
                </a:cubicBezTo>
                <a:close/>
                <a:moveTo>
                  <a:pt x="3324752" y="482537"/>
                </a:moveTo>
                <a:cubicBezTo>
                  <a:pt x="3341916" y="482537"/>
                  <a:pt x="3354958" y="473198"/>
                  <a:pt x="3363876" y="454519"/>
                </a:cubicBezTo>
                <a:cubicBezTo>
                  <a:pt x="3372794" y="435841"/>
                  <a:pt x="3377254" y="408664"/>
                  <a:pt x="3377254" y="372990"/>
                </a:cubicBezTo>
                <a:cubicBezTo>
                  <a:pt x="3377254" y="336979"/>
                  <a:pt x="3372794" y="309634"/>
                  <a:pt x="3363876" y="290956"/>
                </a:cubicBezTo>
                <a:cubicBezTo>
                  <a:pt x="3354958" y="272277"/>
                  <a:pt x="3341916" y="262938"/>
                  <a:pt x="3324752" y="262938"/>
                </a:cubicBezTo>
                <a:cubicBezTo>
                  <a:pt x="3307924" y="262938"/>
                  <a:pt x="3294968" y="272277"/>
                  <a:pt x="3285880" y="290956"/>
                </a:cubicBezTo>
                <a:cubicBezTo>
                  <a:pt x="3276794" y="309634"/>
                  <a:pt x="3272250" y="336979"/>
                  <a:pt x="3272250" y="372990"/>
                </a:cubicBezTo>
                <a:cubicBezTo>
                  <a:pt x="3272250" y="408664"/>
                  <a:pt x="3276794" y="435841"/>
                  <a:pt x="3285880" y="454519"/>
                </a:cubicBezTo>
                <a:cubicBezTo>
                  <a:pt x="3294968" y="473198"/>
                  <a:pt x="3307924" y="482537"/>
                  <a:pt x="3324752" y="482537"/>
                </a:cubicBezTo>
                <a:close/>
                <a:moveTo>
                  <a:pt x="1323054" y="522923"/>
                </a:moveTo>
                <a:lnTo>
                  <a:pt x="1260961" y="512826"/>
                </a:lnTo>
                <a:lnTo>
                  <a:pt x="1260961" y="453257"/>
                </a:lnTo>
                <a:lnTo>
                  <a:pt x="1206945" y="453257"/>
                </a:lnTo>
                <a:lnTo>
                  <a:pt x="1206945" y="401765"/>
                </a:lnTo>
                <a:lnTo>
                  <a:pt x="1260961" y="401765"/>
                </a:lnTo>
                <a:lnTo>
                  <a:pt x="1260961" y="304334"/>
                </a:lnTo>
                <a:cubicBezTo>
                  <a:pt x="1260961" y="284477"/>
                  <a:pt x="1262980" y="268407"/>
                  <a:pt x="1267019" y="256123"/>
                </a:cubicBezTo>
                <a:cubicBezTo>
                  <a:pt x="1271057" y="243839"/>
                  <a:pt x="1276947" y="234331"/>
                  <a:pt x="1284688" y="227600"/>
                </a:cubicBezTo>
                <a:cubicBezTo>
                  <a:pt x="1292428" y="220869"/>
                  <a:pt x="1301852" y="216326"/>
                  <a:pt x="1312958" y="213970"/>
                </a:cubicBezTo>
                <a:cubicBezTo>
                  <a:pt x="1324064" y="211614"/>
                  <a:pt x="1336853" y="210436"/>
                  <a:pt x="1351325" y="210436"/>
                </a:cubicBezTo>
                <a:cubicBezTo>
                  <a:pt x="1363777" y="210436"/>
                  <a:pt x="1376650" y="211446"/>
                  <a:pt x="1389944" y="213465"/>
                </a:cubicBezTo>
                <a:cubicBezTo>
                  <a:pt x="1403238" y="215484"/>
                  <a:pt x="1415606" y="218850"/>
                  <a:pt x="1427048" y="223562"/>
                </a:cubicBezTo>
                <a:lnTo>
                  <a:pt x="1418466" y="277073"/>
                </a:lnTo>
                <a:cubicBezTo>
                  <a:pt x="1412745" y="274381"/>
                  <a:pt x="1407444" y="272193"/>
                  <a:pt x="1402564" y="270510"/>
                </a:cubicBezTo>
                <a:cubicBezTo>
                  <a:pt x="1397684" y="268828"/>
                  <a:pt x="1392973" y="267566"/>
                  <a:pt x="1388429" y="266724"/>
                </a:cubicBezTo>
                <a:cubicBezTo>
                  <a:pt x="1383886" y="265883"/>
                  <a:pt x="1379174" y="265294"/>
                  <a:pt x="1374294" y="264957"/>
                </a:cubicBezTo>
                <a:cubicBezTo>
                  <a:pt x="1369414" y="264621"/>
                  <a:pt x="1364114" y="264452"/>
                  <a:pt x="1358392" y="264452"/>
                </a:cubicBezTo>
                <a:cubicBezTo>
                  <a:pt x="1353007" y="264452"/>
                  <a:pt x="1348127" y="264957"/>
                  <a:pt x="1343752" y="265967"/>
                </a:cubicBezTo>
                <a:cubicBezTo>
                  <a:pt x="1339377" y="266977"/>
                  <a:pt x="1335675" y="268996"/>
                  <a:pt x="1332646" y="272025"/>
                </a:cubicBezTo>
                <a:cubicBezTo>
                  <a:pt x="1329617" y="275054"/>
                  <a:pt x="1327261" y="279261"/>
                  <a:pt x="1325579" y="284645"/>
                </a:cubicBezTo>
                <a:cubicBezTo>
                  <a:pt x="1323896" y="290030"/>
                  <a:pt x="1323054" y="297098"/>
                  <a:pt x="1323054" y="305848"/>
                </a:cubicBezTo>
                <a:lnTo>
                  <a:pt x="1323054" y="401765"/>
                </a:lnTo>
                <a:lnTo>
                  <a:pt x="1422505" y="401765"/>
                </a:lnTo>
                <a:lnTo>
                  <a:pt x="1422505" y="453257"/>
                </a:lnTo>
                <a:lnTo>
                  <a:pt x="1323054" y="453257"/>
                </a:lnTo>
                <a:close/>
                <a:moveTo>
                  <a:pt x="539852" y="532010"/>
                </a:moveTo>
                <a:cubicBezTo>
                  <a:pt x="534131" y="532010"/>
                  <a:pt x="527568" y="531841"/>
                  <a:pt x="520164" y="531505"/>
                </a:cubicBezTo>
                <a:cubicBezTo>
                  <a:pt x="512760" y="531168"/>
                  <a:pt x="505187" y="530748"/>
                  <a:pt x="497447" y="530243"/>
                </a:cubicBezTo>
                <a:cubicBezTo>
                  <a:pt x="489706" y="529738"/>
                  <a:pt x="482049" y="528981"/>
                  <a:pt x="474477" y="527971"/>
                </a:cubicBezTo>
                <a:cubicBezTo>
                  <a:pt x="466905" y="526961"/>
                  <a:pt x="460090" y="525784"/>
                  <a:pt x="454032" y="524437"/>
                </a:cubicBezTo>
                <a:lnTo>
                  <a:pt x="454032" y="215989"/>
                </a:lnTo>
                <a:lnTo>
                  <a:pt x="516125" y="215989"/>
                </a:lnTo>
                <a:lnTo>
                  <a:pt x="516125" y="321498"/>
                </a:lnTo>
                <a:lnTo>
                  <a:pt x="538337" y="321498"/>
                </a:lnTo>
                <a:cubicBezTo>
                  <a:pt x="578723" y="321498"/>
                  <a:pt x="609938" y="329827"/>
                  <a:pt x="631982" y="346486"/>
                </a:cubicBezTo>
                <a:cubicBezTo>
                  <a:pt x="654026" y="363146"/>
                  <a:pt x="665048" y="390154"/>
                  <a:pt x="665048" y="427511"/>
                </a:cubicBezTo>
                <a:cubicBezTo>
                  <a:pt x="665048" y="464531"/>
                  <a:pt x="654111" y="491203"/>
                  <a:pt x="632235" y="507526"/>
                </a:cubicBezTo>
                <a:cubicBezTo>
                  <a:pt x="610359" y="523848"/>
                  <a:pt x="579565" y="532010"/>
                  <a:pt x="539852" y="532010"/>
                </a:cubicBezTo>
                <a:close/>
                <a:moveTo>
                  <a:pt x="3816452" y="535544"/>
                </a:moveTo>
                <a:cubicBezTo>
                  <a:pt x="3797604" y="535544"/>
                  <a:pt x="3780694" y="532430"/>
                  <a:pt x="3765716" y="526204"/>
                </a:cubicBezTo>
                <a:cubicBezTo>
                  <a:pt x="3750740" y="519978"/>
                  <a:pt x="3738708" y="513836"/>
                  <a:pt x="3729622" y="507778"/>
                </a:cubicBezTo>
                <a:lnTo>
                  <a:pt x="3751834" y="462344"/>
                </a:lnTo>
                <a:cubicBezTo>
                  <a:pt x="3760248" y="468065"/>
                  <a:pt x="3770260" y="472861"/>
                  <a:pt x="3781872" y="476731"/>
                </a:cubicBezTo>
                <a:cubicBezTo>
                  <a:pt x="3793482" y="480602"/>
                  <a:pt x="3805178" y="482537"/>
                  <a:pt x="3816956" y="482537"/>
                </a:cubicBezTo>
                <a:cubicBezTo>
                  <a:pt x="3829072" y="482537"/>
                  <a:pt x="3838580" y="479255"/>
                  <a:pt x="3845480" y="472693"/>
                </a:cubicBezTo>
                <a:cubicBezTo>
                  <a:pt x="3852378" y="466130"/>
                  <a:pt x="3855828" y="457127"/>
                  <a:pt x="3855828" y="445685"/>
                </a:cubicBezTo>
                <a:cubicBezTo>
                  <a:pt x="3855828" y="437944"/>
                  <a:pt x="3854230" y="431550"/>
                  <a:pt x="3851032" y="426501"/>
                </a:cubicBezTo>
                <a:cubicBezTo>
                  <a:pt x="3847836" y="421453"/>
                  <a:pt x="3843712" y="417414"/>
                  <a:pt x="3838664" y="414385"/>
                </a:cubicBezTo>
                <a:cubicBezTo>
                  <a:pt x="3833616" y="411357"/>
                  <a:pt x="3827894" y="409169"/>
                  <a:pt x="3821500" y="407823"/>
                </a:cubicBezTo>
                <a:cubicBezTo>
                  <a:pt x="3815106" y="406477"/>
                  <a:pt x="3808712" y="405803"/>
                  <a:pt x="3802316" y="405803"/>
                </a:cubicBezTo>
                <a:lnTo>
                  <a:pt x="3779094" y="405803"/>
                </a:lnTo>
                <a:lnTo>
                  <a:pt x="3779094" y="354311"/>
                </a:lnTo>
                <a:lnTo>
                  <a:pt x="3798278" y="354311"/>
                </a:lnTo>
                <a:cubicBezTo>
                  <a:pt x="3818470" y="354311"/>
                  <a:pt x="3835130" y="351030"/>
                  <a:pt x="3848256" y="344467"/>
                </a:cubicBezTo>
                <a:cubicBezTo>
                  <a:pt x="3861380" y="337904"/>
                  <a:pt x="3867944" y="326378"/>
                  <a:pt x="3867944" y="309887"/>
                </a:cubicBezTo>
                <a:cubicBezTo>
                  <a:pt x="3867944" y="296425"/>
                  <a:pt x="3863652" y="285150"/>
                  <a:pt x="3855072" y="276063"/>
                </a:cubicBezTo>
                <a:cubicBezTo>
                  <a:pt x="3846488" y="266977"/>
                  <a:pt x="3831596" y="262433"/>
                  <a:pt x="3810394" y="262433"/>
                </a:cubicBezTo>
                <a:cubicBezTo>
                  <a:pt x="3793230" y="262433"/>
                  <a:pt x="3778506" y="264284"/>
                  <a:pt x="3766222" y="267986"/>
                </a:cubicBezTo>
                <a:cubicBezTo>
                  <a:pt x="3753938" y="271688"/>
                  <a:pt x="3743924" y="275222"/>
                  <a:pt x="3736184" y="278588"/>
                </a:cubicBezTo>
                <a:lnTo>
                  <a:pt x="3724068" y="226591"/>
                </a:lnTo>
                <a:cubicBezTo>
                  <a:pt x="3727770" y="224908"/>
                  <a:pt x="3732988" y="223057"/>
                  <a:pt x="3739718" y="221037"/>
                </a:cubicBezTo>
                <a:cubicBezTo>
                  <a:pt x="3746450" y="219018"/>
                  <a:pt x="3753770" y="217167"/>
                  <a:pt x="3761678" y="215484"/>
                </a:cubicBezTo>
                <a:cubicBezTo>
                  <a:pt x="3769588" y="213802"/>
                  <a:pt x="3777832" y="212371"/>
                  <a:pt x="3786414" y="211193"/>
                </a:cubicBezTo>
                <a:cubicBezTo>
                  <a:pt x="3794996" y="210015"/>
                  <a:pt x="3803158" y="209427"/>
                  <a:pt x="3810898" y="209427"/>
                </a:cubicBezTo>
                <a:cubicBezTo>
                  <a:pt x="3831764" y="209427"/>
                  <a:pt x="3849770" y="211867"/>
                  <a:pt x="3864916" y="216746"/>
                </a:cubicBezTo>
                <a:cubicBezTo>
                  <a:pt x="3880060" y="221626"/>
                  <a:pt x="3892512" y="228526"/>
                  <a:pt x="3902272" y="237444"/>
                </a:cubicBezTo>
                <a:cubicBezTo>
                  <a:pt x="3912032" y="246363"/>
                  <a:pt x="3919268" y="256880"/>
                  <a:pt x="3923980" y="268996"/>
                </a:cubicBezTo>
                <a:cubicBezTo>
                  <a:pt x="3928692" y="281112"/>
                  <a:pt x="3931048" y="294405"/>
                  <a:pt x="3931048" y="308877"/>
                </a:cubicBezTo>
                <a:cubicBezTo>
                  <a:pt x="3931048" y="327051"/>
                  <a:pt x="3926588" y="342700"/>
                  <a:pt x="3917668" y="355826"/>
                </a:cubicBezTo>
                <a:cubicBezTo>
                  <a:pt x="3908750" y="368951"/>
                  <a:pt x="3896214" y="378879"/>
                  <a:pt x="3880060" y="385610"/>
                </a:cubicBezTo>
                <a:cubicBezTo>
                  <a:pt x="3891840" y="391668"/>
                  <a:pt x="3901262" y="400419"/>
                  <a:pt x="3908330" y="411861"/>
                </a:cubicBezTo>
                <a:cubicBezTo>
                  <a:pt x="3915398" y="423304"/>
                  <a:pt x="3918932" y="435252"/>
                  <a:pt x="3918932" y="447704"/>
                </a:cubicBezTo>
                <a:cubicBezTo>
                  <a:pt x="3918932" y="460156"/>
                  <a:pt x="3916912" y="471767"/>
                  <a:pt x="3912874" y="482537"/>
                </a:cubicBezTo>
                <a:cubicBezTo>
                  <a:pt x="3908834" y="493306"/>
                  <a:pt x="3902608" y="502646"/>
                  <a:pt x="3894196" y="510555"/>
                </a:cubicBezTo>
                <a:cubicBezTo>
                  <a:pt x="3885780" y="518464"/>
                  <a:pt x="3875096" y="524606"/>
                  <a:pt x="3862138" y="528981"/>
                </a:cubicBezTo>
                <a:cubicBezTo>
                  <a:pt x="3849180" y="533356"/>
                  <a:pt x="3833952" y="535544"/>
                  <a:pt x="3816452" y="535544"/>
                </a:cubicBezTo>
                <a:close/>
                <a:moveTo>
                  <a:pt x="3567354" y="535544"/>
                </a:moveTo>
                <a:cubicBezTo>
                  <a:pt x="3549854" y="535544"/>
                  <a:pt x="3532268" y="532178"/>
                  <a:pt x="3514600" y="525447"/>
                </a:cubicBezTo>
                <a:cubicBezTo>
                  <a:pt x="3496930" y="518716"/>
                  <a:pt x="3481366" y="508283"/>
                  <a:pt x="3467904" y="494148"/>
                </a:cubicBezTo>
                <a:lnTo>
                  <a:pt x="3498698" y="450733"/>
                </a:lnTo>
                <a:cubicBezTo>
                  <a:pt x="3509130" y="461839"/>
                  <a:pt x="3519732" y="469748"/>
                  <a:pt x="3530502" y="474460"/>
                </a:cubicBezTo>
                <a:cubicBezTo>
                  <a:pt x="3541272" y="479171"/>
                  <a:pt x="3551536" y="481527"/>
                  <a:pt x="3561296" y="481527"/>
                </a:cubicBezTo>
                <a:cubicBezTo>
                  <a:pt x="3573076" y="481527"/>
                  <a:pt x="3582836" y="478078"/>
                  <a:pt x="3590576" y="471178"/>
                </a:cubicBezTo>
                <a:cubicBezTo>
                  <a:pt x="3598316" y="464279"/>
                  <a:pt x="3602186" y="454435"/>
                  <a:pt x="3602188" y="441646"/>
                </a:cubicBezTo>
                <a:cubicBezTo>
                  <a:pt x="3602186" y="432559"/>
                  <a:pt x="3599074" y="423641"/>
                  <a:pt x="3592848" y="414890"/>
                </a:cubicBezTo>
                <a:cubicBezTo>
                  <a:pt x="3586622" y="406140"/>
                  <a:pt x="3578712" y="397053"/>
                  <a:pt x="3569120" y="387630"/>
                </a:cubicBezTo>
                <a:cubicBezTo>
                  <a:pt x="3559528" y="378206"/>
                  <a:pt x="3549264" y="368362"/>
                  <a:pt x="3538326" y="358097"/>
                </a:cubicBezTo>
                <a:cubicBezTo>
                  <a:pt x="3527388" y="347833"/>
                  <a:pt x="3517124" y="336727"/>
                  <a:pt x="3507532" y="324779"/>
                </a:cubicBezTo>
                <a:cubicBezTo>
                  <a:pt x="3497940" y="312831"/>
                  <a:pt x="3490032" y="299790"/>
                  <a:pt x="3483806" y="285655"/>
                </a:cubicBezTo>
                <a:cubicBezTo>
                  <a:pt x="3477580" y="271520"/>
                  <a:pt x="3474466" y="256039"/>
                  <a:pt x="3474466" y="239211"/>
                </a:cubicBezTo>
                <a:cubicBezTo>
                  <a:pt x="3474466" y="237192"/>
                  <a:pt x="3474382" y="233658"/>
                  <a:pt x="3474214" y="228610"/>
                </a:cubicBezTo>
                <a:cubicBezTo>
                  <a:pt x="3474046" y="223562"/>
                  <a:pt x="3474466" y="219355"/>
                  <a:pt x="3475476" y="215989"/>
                </a:cubicBezTo>
                <a:lnTo>
                  <a:pt x="3679426" y="215989"/>
                </a:lnTo>
                <a:lnTo>
                  <a:pt x="3679426" y="267481"/>
                </a:lnTo>
                <a:lnTo>
                  <a:pt x="3545142" y="267481"/>
                </a:lnTo>
                <a:cubicBezTo>
                  <a:pt x="3545142" y="272530"/>
                  <a:pt x="3546908" y="278083"/>
                  <a:pt x="3550442" y="284141"/>
                </a:cubicBezTo>
                <a:cubicBezTo>
                  <a:pt x="3553976" y="290198"/>
                  <a:pt x="3558268" y="296172"/>
                  <a:pt x="3563316" y="302062"/>
                </a:cubicBezTo>
                <a:cubicBezTo>
                  <a:pt x="3568364" y="307952"/>
                  <a:pt x="3573748" y="313673"/>
                  <a:pt x="3579470" y="319226"/>
                </a:cubicBezTo>
                <a:cubicBezTo>
                  <a:pt x="3585190" y="324779"/>
                  <a:pt x="3590240" y="329575"/>
                  <a:pt x="3594614" y="333613"/>
                </a:cubicBezTo>
                <a:cubicBezTo>
                  <a:pt x="3603364" y="341691"/>
                  <a:pt x="3611946" y="350104"/>
                  <a:pt x="3620360" y="358855"/>
                </a:cubicBezTo>
                <a:cubicBezTo>
                  <a:pt x="3628774" y="367605"/>
                  <a:pt x="3636346" y="376692"/>
                  <a:pt x="3643078" y="386115"/>
                </a:cubicBezTo>
                <a:cubicBezTo>
                  <a:pt x="3649808" y="395539"/>
                  <a:pt x="3655194" y="405214"/>
                  <a:pt x="3659232" y="415143"/>
                </a:cubicBezTo>
                <a:cubicBezTo>
                  <a:pt x="3663270" y="425071"/>
                  <a:pt x="3665290" y="435420"/>
                  <a:pt x="3665290" y="446189"/>
                </a:cubicBezTo>
                <a:cubicBezTo>
                  <a:pt x="3665290" y="460998"/>
                  <a:pt x="3662598" y="474039"/>
                  <a:pt x="3657212" y="485313"/>
                </a:cubicBezTo>
                <a:cubicBezTo>
                  <a:pt x="3651828" y="496588"/>
                  <a:pt x="3644592" y="505927"/>
                  <a:pt x="3635506" y="513331"/>
                </a:cubicBezTo>
                <a:cubicBezTo>
                  <a:pt x="3626418" y="520735"/>
                  <a:pt x="3615986" y="526288"/>
                  <a:pt x="3604206" y="529990"/>
                </a:cubicBezTo>
                <a:cubicBezTo>
                  <a:pt x="3592426" y="533692"/>
                  <a:pt x="3580142" y="535544"/>
                  <a:pt x="3567354" y="535544"/>
                </a:cubicBezTo>
                <a:close/>
                <a:moveTo>
                  <a:pt x="3324752" y="535544"/>
                </a:moveTo>
                <a:cubicBezTo>
                  <a:pt x="3290088" y="535544"/>
                  <a:pt x="3263332" y="522081"/>
                  <a:pt x="3244486" y="495157"/>
                </a:cubicBezTo>
                <a:cubicBezTo>
                  <a:pt x="3225638" y="468233"/>
                  <a:pt x="3216214" y="427511"/>
                  <a:pt x="3216214" y="372990"/>
                </a:cubicBezTo>
                <a:cubicBezTo>
                  <a:pt x="3216214" y="317796"/>
                  <a:pt x="3225470" y="276737"/>
                  <a:pt x="3243980" y="249813"/>
                </a:cubicBezTo>
                <a:cubicBezTo>
                  <a:pt x="3262490" y="222889"/>
                  <a:pt x="3289414" y="209427"/>
                  <a:pt x="3324752" y="209427"/>
                </a:cubicBezTo>
                <a:cubicBezTo>
                  <a:pt x="3360090" y="209427"/>
                  <a:pt x="3387014" y="222889"/>
                  <a:pt x="3405524" y="249813"/>
                </a:cubicBezTo>
                <a:cubicBezTo>
                  <a:pt x="3424034" y="276737"/>
                  <a:pt x="3433290" y="317796"/>
                  <a:pt x="3433290" y="372990"/>
                </a:cubicBezTo>
                <a:cubicBezTo>
                  <a:pt x="3433290" y="427847"/>
                  <a:pt x="3424034" y="468654"/>
                  <a:pt x="3405524" y="495410"/>
                </a:cubicBezTo>
                <a:cubicBezTo>
                  <a:pt x="3387014" y="522166"/>
                  <a:pt x="3360090" y="535544"/>
                  <a:pt x="3324752" y="535544"/>
                </a:cubicBezTo>
                <a:close/>
                <a:moveTo>
                  <a:pt x="3062528" y="535544"/>
                </a:moveTo>
                <a:cubicBezTo>
                  <a:pt x="3045028" y="535544"/>
                  <a:pt x="3027444" y="532178"/>
                  <a:pt x="3009774" y="525447"/>
                </a:cubicBezTo>
                <a:cubicBezTo>
                  <a:pt x="2992106" y="518716"/>
                  <a:pt x="2976540" y="508283"/>
                  <a:pt x="2963078" y="494148"/>
                </a:cubicBezTo>
                <a:lnTo>
                  <a:pt x="2993872" y="450733"/>
                </a:lnTo>
                <a:cubicBezTo>
                  <a:pt x="3004306" y="461839"/>
                  <a:pt x="3014908" y="469748"/>
                  <a:pt x="3025676" y="474460"/>
                </a:cubicBezTo>
                <a:cubicBezTo>
                  <a:pt x="3036446" y="479171"/>
                  <a:pt x="3046712" y="481527"/>
                  <a:pt x="3056472" y="481527"/>
                </a:cubicBezTo>
                <a:cubicBezTo>
                  <a:pt x="3068250" y="481527"/>
                  <a:pt x="3078010" y="478078"/>
                  <a:pt x="3085752" y="471178"/>
                </a:cubicBezTo>
                <a:cubicBezTo>
                  <a:pt x="3093492" y="464279"/>
                  <a:pt x="3097362" y="454435"/>
                  <a:pt x="3097362" y="441646"/>
                </a:cubicBezTo>
                <a:cubicBezTo>
                  <a:pt x="3097362" y="432559"/>
                  <a:pt x="3094248" y="423641"/>
                  <a:pt x="3088022" y="414890"/>
                </a:cubicBezTo>
                <a:cubicBezTo>
                  <a:pt x="3081796" y="406140"/>
                  <a:pt x="3073888" y="397053"/>
                  <a:pt x="3064296" y="387630"/>
                </a:cubicBezTo>
                <a:cubicBezTo>
                  <a:pt x="3054704" y="378206"/>
                  <a:pt x="3044440" y="368362"/>
                  <a:pt x="3033502" y="358097"/>
                </a:cubicBezTo>
                <a:cubicBezTo>
                  <a:pt x="3022564" y="347833"/>
                  <a:pt x="3012298" y="336727"/>
                  <a:pt x="3002708" y="324779"/>
                </a:cubicBezTo>
                <a:cubicBezTo>
                  <a:pt x="2993116" y="312831"/>
                  <a:pt x="2985206" y="299790"/>
                  <a:pt x="2978980" y="285655"/>
                </a:cubicBezTo>
                <a:cubicBezTo>
                  <a:pt x="2972754" y="271520"/>
                  <a:pt x="2969642" y="256039"/>
                  <a:pt x="2969642" y="239211"/>
                </a:cubicBezTo>
                <a:cubicBezTo>
                  <a:pt x="2969642" y="237192"/>
                  <a:pt x="2969558" y="233658"/>
                  <a:pt x="2969388" y="228610"/>
                </a:cubicBezTo>
                <a:cubicBezTo>
                  <a:pt x="2969220" y="223562"/>
                  <a:pt x="2969640" y="219355"/>
                  <a:pt x="2970650" y="215989"/>
                </a:cubicBezTo>
                <a:lnTo>
                  <a:pt x="3174600" y="215989"/>
                </a:lnTo>
                <a:lnTo>
                  <a:pt x="3174600" y="267481"/>
                </a:lnTo>
                <a:lnTo>
                  <a:pt x="3040316" y="267481"/>
                </a:lnTo>
                <a:cubicBezTo>
                  <a:pt x="3040316" y="272530"/>
                  <a:pt x="3042084" y="278083"/>
                  <a:pt x="3045618" y="284141"/>
                </a:cubicBezTo>
                <a:cubicBezTo>
                  <a:pt x="3049152" y="290198"/>
                  <a:pt x="3053442" y="296172"/>
                  <a:pt x="3058490" y="302062"/>
                </a:cubicBezTo>
                <a:cubicBezTo>
                  <a:pt x="3063538" y="307952"/>
                  <a:pt x="3068924" y="313673"/>
                  <a:pt x="3074644" y="319226"/>
                </a:cubicBezTo>
                <a:cubicBezTo>
                  <a:pt x="3080366" y="324779"/>
                  <a:pt x="3085414" y="329575"/>
                  <a:pt x="3089790" y="333613"/>
                </a:cubicBezTo>
                <a:cubicBezTo>
                  <a:pt x="3098540" y="341691"/>
                  <a:pt x="3107122" y="350104"/>
                  <a:pt x="3115536" y="358855"/>
                </a:cubicBezTo>
                <a:cubicBezTo>
                  <a:pt x="3123950" y="367605"/>
                  <a:pt x="3131522" y="376692"/>
                  <a:pt x="3138252" y="386115"/>
                </a:cubicBezTo>
                <a:cubicBezTo>
                  <a:pt x="3144984" y="395539"/>
                  <a:pt x="3150368" y="405214"/>
                  <a:pt x="3154408" y="415143"/>
                </a:cubicBezTo>
                <a:cubicBezTo>
                  <a:pt x="3158446" y="425071"/>
                  <a:pt x="3160464" y="435420"/>
                  <a:pt x="3160464" y="446189"/>
                </a:cubicBezTo>
                <a:cubicBezTo>
                  <a:pt x="3160464" y="460998"/>
                  <a:pt x="3157772" y="474039"/>
                  <a:pt x="3152388" y="485313"/>
                </a:cubicBezTo>
                <a:cubicBezTo>
                  <a:pt x="3147002" y="496588"/>
                  <a:pt x="3139766" y="505927"/>
                  <a:pt x="3130680" y="513331"/>
                </a:cubicBezTo>
                <a:cubicBezTo>
                  <a:pt x="3121594" y="520735"/>
                  <a:pt x="3111160" y="526288"/>
                  <a:pt x="3099382" y="529990"/>
                </a:cubicBezTo>
                <a:cubicBezTo>
                  <a:pt x="3087602" y="533692"/>
                  <a:pt x="3075318" y="535544"/>
                  <a:pt x="3062528" y="535544"/>
                </a:cubicBezTo>
                <a:close/>
                <a:moveTo>
                  <a:pt x="2292890" y="561290"/>
                </a:moveTo>
                <a:cubicBezTo>
                  <a:pt x="2282120" y="561290"/>
                  <a:pt x="2272949" y="557756"/>
                  <a:pt x="2265377" y="550688"/>
                </a:cubicBezTo>
                <a:cubicBezTo>
                  <a:pt x="2257805" y="543621"/>
                  <a:pt x="2254018" y="533861"/>
                  <a:pt x="2254018" y="521408"/>
                </a:cubicBezTo>
                <a:cubicBezTo>
                  <a:pt x="2254018" y="509293"/>
                  <a:pt x="2257805" y="499701"/>
                  <a:pt x="2265377" y="492633"/>
                </a:cubicBezTo>
                <a:cubicBezTo>
                  <a:pt x="2272949" y="485566"/>
                  <a:pt x="2282120" y="482032"/>
                  <a:pt x="2292890" y="482032"/>
                </a:cubicBezTo>
                <a:cubicBezTo>
                  <a:pt x="2303660" y="482032"/>
                  <a:pt x="2312914" y="485566"/>
                  <a:pt x="2320655" y="492633"/>
                </a:cubicBezTo>
                <a:cubicBezTo>
                  <a:pt x="2328396" y="499701"/>
                  <a:pt x="2332266" y="509293"/>
                  <a:pt x="2332266" y="521408"/>
                </a:cubicBezTo>
                <a:cubicBezTo>
                  <a:pt x="2332266" y="533861"/>
                  <a:pt x="2328396" y="543621"/>
                  <a:pt x="2320655" y="550688"/>
                </a:cubicBezTo>
                <a:cubicBezTo>
                  <a:pt x="2312914" y="557756"/>
                  <a:pt x="2303660" y="561290"/>
                  <a:pt x="2292890" y="561290"/>
                </a:cubicBezTo>
                <a:close/>
                <a:moveTo>
                  <a:pt x="1959420" y="563309"/>
                </a:moveTo>
                <a:lnTo>
                  <a:pt x="1959420" y="511817"/>
                </a:lnTo>
                <a:lnTo>
                  <a:pt x="2025047" y="511817"/>
                </a:lnTo>
                <a:lnTo>
                  <a:pt x="2025047" y="310392"/>
                </a:lnTo>
                <a:cubicBezTo>
                  <a:pt x="2025047" y="277746"/>
                  <a:pt x="2031610" y="252926"/>
                  <a:pt x="2044735" y="235930"/>
                </a:cubicBezTo>
                <a:cubicBezTo>
                  <a:pt x="2057860" y="218934"/>
                  <a:pt x="2078727" y="210436"/>
                  <a:pt x="2107333" y="210436"/>
                </a:cubicBezTo>
                <a:cubicBezTo>
                  <a:pt x="2117767" y="210436"/>
                  <a:pt x="2127106" y="211109"/>
                  <a:pt x="2135351" y="212455"/>
                </a:cubicBezTo>
                <a:cubicBezTo>
                  <a:pt x="2143597" y="213802"/>
                  <a:pt x="2150580" y="215400"/>
                  <a:pt x="2156302" y="217251"/>
                </a:cubicBezTo>
                <a:cubicBezTo>
                  <a:pt x="2162023" y="219102"/>
                  <a:pt x="2166650" y="220869"/>
                  <a:pt x="2170184" y="222552"/>
                </a:cubicBezTo>
                <a:cubicBezTo>
                  <a:pt x="2173718" y="224235"/>
                  <a:pt x="2175990" y="225413"/>
                  <a:pt x="2176999" y="226086"/>
                </a:cubicBezTo>
                <a:lnTo>
                  <a:pt x="2168922" y="276063"/>
                </a:lnTo>
                <a:cubicBezTo>
                  <a:pt x="2166230" y="275054"/>
                  <a:pt x="2160677" y="272866"/>
                  <a:pt x="2152263" y="269501"/>
                </a:cubicBezTo>
                <a:cubicBezTo>
                  <a:pt x="2143849" y="266135"/>
                  <a:pt x="2133416" y="264452"/>
                  <a:pt x="2120964" y="264452"/>
                </a:cubicBezTo>
                <a:cubicBezTo>
                  <a:pt x="2111204" y="264452"/>
                  <a:pt x="2103126" y="267313"/>
                  <a:pt x="2096732" y="273034"/>
                </a:cubicBezTo>
                <a:cubicBezTo>
                  <a:pt x="2090338" y="278756"/>
                  <a:pt x="2087140" y="289694"/>
                  <a:pt x="2087140" y="305848"/>
                </a:cubicBezTo>
                <a:lnTo>
                  <a:pt x="2087140" y="563309"/>
                </a:lnTo>
                <a:close/>
                <a:moveTo>
                  <a:pt x="1607052" y="565833"/>
                </a:moveTo>
                <a:cubicBezTo>
                  <a:pt x="1594263" y="565833"/>
                  <a:pt x="1581811" y="564234"/>
                  <a:pt x="1569695" y="561037"/>
                </a:cubicBezTo>
                <a:cubicBezTo>
                  <a:pt x="1557579" y="557840"/>
                  <a:pt x="1546810" y="552455"/>
                  <a:pt x="1537386" y="544883"/>
                </a:cubicBezTo>
                <a:cubicBezTo>
                  <a:pt x="1527963" y="537310"/>
                  <a:pt x="1520474" y="527214"/>
                  <a:pt x="1514921" y="514593"/>
                </a:cubicBezTo>
                <a:cubicBezTo>
                  <a:pt x="1509368" y="501973"/>
                  <a:pt x="1506592" y="486071"/>
                  <a:pt x="1506592" y="466887"/>
                </a:cubicBezTo>
                <a:lnTo>
                  <a:pt x="1506592" y="453257"/>
                </a:lnTo>
                <a:lnTo>
                  <a:pt x="1454595" y="453257"/>
                </a:lnTo>
                <a:lnTo>
                  <a:pt x="1454595" y="401765"/>
                </a:lnTo>
                <a:lnTo>
                  <a:pt x="1506592" y="401765"/>
                </a:lnTo>
                <a:lnTo>
                  <a:pt x="1506592" y="215989"/>
                </a:lnTo>
                <a:lnTo>
                  <a:pt x="1569190" y="215989"/>
                </a:lnTo>
                <a:lnTo>
                  <a:pt x="1569190" y="401765"/>
                </a:lnTo>
                <a:lnTo>
                  <a:pt x="1666621" y="401765"/>
                </a:lnTo>
                <a:lnTo>
                  <a:pt x="1666621" y="453257"/>
                </a:lnTo>
                <a:lnTo>
                  <a:pt x="1569190" y="453257"/>
                </a:lnTo>
                <a:lnTo>
                  <a:pt x="1569190" y="465878"/>
                </a:lnTo>
                <a:cubicBezTo>
                  <a:pt x="1569190" y="475974"/>
                  <a:pt x="1570368" y="484135"/>
                  <a:pt x="1572724" y="490362"/>
                </a:cubicBezTo>
                <a:cubicBezTo>
                  <a:pt x="1575080" y="496588"/>
                  <a:pt x="1578193" y="501384"/>
                  <a:pt x="1582063" y="504749"/>
                </a:cubicBezTo>
                <a:cubicBezTo>
                  <a:pt x="1585933" y="508115"/>
                  <a:pt x="1590477" y="510302"/>
                  <a:pt x="1595693" y="511312"/>
                </a:cubicBezTo>
                <a:cubicBezTo>
                  <a:pt x="1600910" y="512322"/>
                  <a:pt x="1606379" y="512826"/>
                  <a:pt x="1612100" y="512826"/>
                </a:cubicBezTo>
                <a:cubicBezTo>
                  <a:pt x="1622533" y="512826"/>
                  <a:pt x="1633555" y="511396"/>
                  <a:pt x="1645166" y="508535"/>
                </a:cubicBezTo>
                <a:cubicBezTo>
                  <a:pt x="1656777" y="505675"/>
                  <a:pt x="1666453" y="502898"/>
                  <a:pt x="1674194" y="500206"/>
                </a:cubicBezTo>
                <a:lnTo>
                  <a:pt x="1684795" y="550688"/>
                </a:lnTo>
                <a:cubicBezTo>
                  <a:pt x="1673689" y="556073"/>
                  <a:pt x="1661236" y="559943"/>
                  <a:pt x="1647438" y="562299"/>
                </a:cubicBezTo>
                <a:cubicBezTo>
                  <a:pt x="1633639" y="564655"/>
                  <a:pt x="1620178" y="565833"/>
                  <a:pt x="1607052" y="565833"/>
                </a:cubicBezTo>
                <a:close/>
                <a:moveTo>
                  <a:pt x="0" y="796029"/>
                </a:moveTo>
                <a:lnTo>
                  <a:pt x="4876802" y="796029"/>
                </a:lnTo>
                <a:lnTo>
                  <a:pt x="4824822" y="344498"/>
                </a:lnTo>
                <a:cubicBezTo>
                  <a:pt x="4801968" y="145891"/>
                  <a:pt x="4682292" y="207"/>
                  <a:pt x="4541980" y="155"/>
                </a:cubicBezTo>
                <a:lnTo>
                  <a:pt x="0" y="0"/>
                </a:lnTo>
                <a:close/>
              </a:path>
            </a:pathLst>
          </a:custGeom>
          <a:solidFill>
            <a:schemeClr val="bg1"/>
          </a:solidFill>
          <a:ln w="2834" cap="flat">
            <a:noFill/>
            <a:prstDash val="solid"/>
            <a:miter/>
          </a:ln>
        </p:spPr>
        <p:txBody>
          <a:bodyPr wrap="square" rtlCol="0" anchor="ctr">
            <a:noAutofit/>
          </a:bodyPr>
          <a:lstStyle/>
          <a:p>
            <a:endParaRPr lang="en-US" dirty="0"/>
          </a:p>
        </p:txBody>
      </p:sp>
      <p:pic>
        <p:nvPicPr>
          <p:cNvPr id="8" name="Imagen 7" descr="Un dibujo de una cara feliz&#10;&#10;Descripción generada automáticamente con confianza baja">
            <a:extLst>
              <a:ext uri="{FF2B5EF4-FFF2-40B4-BE49-F238E27FC236}">
                <a16:creationId xmlns:a16="http://schemas.microsoft.com/office/drawing/2014/main" id="{A82FAAE7-F450-2EFB-B470-9CA2B285AACF}"/>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7824450" y="406400"/>
            <a:ext cx="1801936" cy="934010"/>
          </a:xfrm>
          <a:prstGeom prst="rect">
            <a:avLst/>
          </a:prstGeom>
        </p:spPr>
      </p:pic>
      <p:sp>
        <p:nvSpPr>
          <p:cNvPr id="10" name="Título 9">
            <a:extLst>
              <a:ext uri="{FF2B5EF4-FFF2-40B4-BE49-F238E27FC236}">
                <a16:creationId xmlns:a16="http://schemas.microsoft.com/office/drawing/2014/main" id="{7E8DAFFC-ADDB-1273-AA91-4852BCB21C8E}"/>
              </a:ext>
            </a:extLst>
          </p:cNvPr>
          <p:cNvSpPr>
            <a:spLocks noGrp="1"/>
          </p:cNvSpPr>
          <p:nvPr>
            <p:ph type="title" hasCustomPrompt="1"/>
          </p:nvPr>
        </p:nvSpPr>
        <p:spPr>
          <a:xfrm>
            <a:off x="7104380" y="1495932"/>
            <a:ext cx="10692384" cy="646331"/>
          </a:xfrm>
        </p:spPr>
        <p:txBody>
          <a:bodyPr/>
          <a:lstStyle>
            <a:lvl1pPr>
              <a:defRPr sz="4200" b="1" i="0">
                <a:solidFill>
                  <a:schemeClr val="bg1"/>
                </a:solidFill>
                <a:latin typeface="Ubuntu" panose="020B0504030602030204" pitchFamily="34" charset="0"/>
              </a:defRPr>
            </a:lvl1pPr>
          </a:lstStyle>
          <a:p>
            <a:r>
              <a:rPr lang="es-ES" dirty="0"/>
              <a:t>ASDFASFD</a:t>
            </a:r>
          </a:p>
        </p:txBody>
      </p:sp>
      <p:sp>
        <p:nvSpPr>
          <p:cNvPr id="11" name="object 12">
            <a:extLst>
              <a:ext uri="{FF2B5EF4-FFF2-40B4-BE49-F238E27FC236}">
                <a16:creationId xmlns:a16="http://schemas.microsoft.com/office/drawing/2014/main" id="{527854C5-8C21-D1AB-7E04-F771C691CE29}"/>
              </a:ext>
            </a:extLst>
          </p:cNvPr>
          <p:cNvSpPr txBox="1"/>
          <p:nvPr userDrawn="1"/>
        </p:nvSpPr>
        <p:spPr>
          <a:xfrm>
            <a:off x="7104380" y="807573"/>
            <a:ext cx="9881870" cy="567463"/>
          </a:xfrm>
          <a:prstGeom prst="rect">
            <a:avLst/>
          </a:prstGeom>
        </p:spPr>
        <p:txBody>
          <a:bodyPr vert="horz" wrap="square" lIns="0" tIns="13335" rIns="0" bIns="0" rtlCol="0">
            <a:spAutoFit/>
          </a:bodyPr>
          <a:lstStyle/>
          <a:p>
            <a:pPr marL="12700">
              <a:lnSpc>
                <a:spcPct val="100000"/>
              </a:lnSpc>
              <a:spcBef>
                <a:spcPts val="105"/>
              </a:spcBef>
            </a:pPr>
            <a:r>
              <a:rPr lang="en-US" sz="3600" spc="-30" dirty="0">
                <a:solidFill>
                  <a:srgbClr val="12A9D8"/>
                </a:solidFill>
                <a:latin typeface="Ubuntu Mono" panose="020B0509030602030204" pitchFamily="49" charset="0"/>
                <a:cs typeface="Ubuntu"/>
              </a:rPr>
              <a:t>Thinking about…</a:t>
            </a:r>
            <a:endParaRPr lang="en-US" sz="3600" dirty="0">
              <a:solidFill>
                <a:srgbClr val="12A9D8"/>
              </a:solidFill>
              <a:latin typeface="Ubuntu"/>
              <a:cs typeface="Ubuntu"/>
            </a:endParaRPr>
          </a:p>
        </p:txBody>
      </p:sp>
      <p:sp>
        <p:nvSpPr>
          <p:cNvPr id="15" name="Marcador de texto 14">
            <a:extLst>
              <a:ext uri="{FF2B5EF4-FFF2-40B4-BE49-F238E27FC236}">
                <a16:creationId xmlns:a16="http://schemas.microsoft.com/office/drawing/2014/main" id="{894536B8-BEFF-96E8-2A83-A0B97363D840}"/>
              </a:ext>
            </a:extLst>
          </p:cNvPr>
          <p:cNvSpPr>
            <a:spLocks noGrp="1"/>
          </p:cNvSpPr>
          <p:nvPr>
            <p:ph type="body" sz="quarter" idx="10"/>
          </p:nvPr>
        </p:nvSpPr>
        <p:spPr>
          <a:xfrm>
            <a:off x="7104380" y="3225800"/>
            <a:ext cx="12244070" cy="6931641"/>
          </a:xfrm>
          <a:prstGeom prst="rect">
            <a:avLst/>
          </a:prstGeom>
        </p:spPr>
        <p:txBody>
          <a:bodyPr/>
          <a:lstStyle>
            <a:lvl1pPr>
              <a:defRPr sz="2900" b="0" i="0">
                <a:solidFill>
                  <a:schemeClr val="bg1"/>
                </a:solidFill>
                <a:latin typeface="Ubuntu Light" panose="020B0304030602030204" pitchFamily="34" charset="0"/>
              </a:defRPr>
            </a:lvl1pPr>
            <a:lvl2pPr>
              <a:defRPr sz="2900" b="0" i="0">
                <a:solidFill>
                  <a:schemeClr val="bg1"/>
                </a:solidFill>
                <a:latin typeface="Ubuntu Light" panose="020B0304030602030204" pitchFamily="34" charset="0"/>
              </a:defRPr>
            </a:lvl2pPr>
            <a:lvl3pPr>
              <a:defRPr sz="2900" b="0" i="0">
                <a:solidFill>
                  <a:schemeClr val="bg1"/>
                </a:solidFill>
                <a:latin typeface="Ubuntu Light" panose="020B0304030602030204" pitchFamily="34" charset="0"/>
              </a:defRPr>
            </a:lvl3pPr>
            <a:lvl4pPr>
              <a:defRPr sz="2900" b="0" i="0">
                <a:solidFill>
                  <a:schemeClr val="bg1"/>
                </a:solidFill>
                <a:latin typeface="Ubuntu Light" panose="020B0304030602030204" pitchFamily="34" charset="0"/>
              </a:defRPr>
            </a:lvl4pPr>
            <a:lvl5pPr>
              <a:defRPr sz="2900" b="0" i="0">
                <a:solidFill>
                  <a:schemeClr val="bg1"/>
                </a:solidFill>
                <a:latin typeface="Ubuntu Light" panose="020B0304030602030204" pitchFamily="34" charset="0"/>
              </a:defRPr>
            </a:lvl5pPr>
          </a:lstStyle>
          <a:p>
            <a:pPr lvl="0"/>
            <a:r>
              <a:rPr lang="es-ES" dirty="0"/>
              <a:t>Haga clic para modificar los estilos de texto del patrón</a:t>
            </a:r>
          </a:p>
          <a:p>
            <a:pPr lvl="1"/>
            <a:r>
              <a:rPr lang="es-ES" dirty="0"/>
              <a:t>Segundo nivel</a:t>
            </a:r>
          </a:p>
          <a:p>
            <a:pPr lvl="2"/>
            <a:r>
              <a:rPr lang="es-ES" dirty="0"/>
              <a:t> nivel</a:t>
            </a:r>
          </a:p>
          <a:p>
            <a:pPr lvl="3"/>
            <a:r>
              <a:rPr lang="es-ES" dirty="0"/>
              <a:t>Cuarto nivel</a:t>
            </a:r>
          </a:p>
          <a:p>
            <a:pPr lvl="4"/>
            <a:r>
              <a:rPr lang="es-ES" dirty="0"/>
              <a:t>Quinto nivel</a:t>
            </a:r>
          </a:p>
        </p:txBody>
      </p:sp>
      <p:sp>
        <p:nvSpPr>
          <p:cNvPr id="16" name="CuadroTexto 15">
            <a:extLst>
              <a:ext uri="{FF2B5EF4-FFF2-40B4-BE49-F238E27FC236}">
                <a16:creationId xmlns:a16="http://schemas.microsoft.com/office/drawing/2014/main" id="{9D153551-888E-2E4A-C9F1-C375C679B619}"/>
              </a:ext>
            </a:extLst>
          </p:cNvPr>
          <p:cNvSpPr txBox="1"/>
          <p:nvPr userDrawn="1"/>
        </p:nvSpPr>
        <p:spPr>
          <a:xfrm>
            <a:off x="4870450" y="-151634"/>
            <a:ext cx="3200400" cy="4508927"/>
          </a:xfrm>
          <a:prstGeom prst="rect">
            <a:avLst/>
          </a:prstGeom>
          <a:noFill/>
        </p:spPr>
        <p:txBody>
          <a:bodyPr wrap="square" rtlCol="0">
            <a:spAutoFit/>
          </a:bodyPr>
          <a:lstStyle/>
          <a:p>
            <a:r>
              <a:rPr lang="es-ES" sz="28700" b="1" i="0" dirty="0">
                <a:solidFill>
                  <a:srgbClr val="12A9D8"/>
                </a:solidFill>
                <a:latin typeface="Ubuntu" panose="020B0504030602030204" pitchFamily="34" charset="0"/>
              </a:rPr>
              <a:t>?</a:t>
            </a:r>
          </a:p>
        </p:txBody>
      </p:sp>
    </p:spTree>
    <p:extLst>
      <p:ext uri="{BB962C8B-B14F-4D97-AF65-F5344CB8AC3E}">
        <p14:creationId xmlns:p14="http://schemas.microsoft.com/office/powerpoint/2010/main" val="248229059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4_Title and Content">
    <p:spTree>
      <p:nvGrpSpPr>
        <p:cNvPr id="1" name=""/>
        <p:cNvGrpSpPr/>
        <p:nvPr/>
      </p:nvGrpSpPr>
      <p:grpSpPr>
        <a:xfrm>
          <a:off x="0" y="0"/>
          <a:ext cx="0" cy="0"/>
          <a:chOff x="0" y="0"/>
          <a:chExt cx="0" cy="0"/>
        </a:xfrm>
      </p:grpSpPr>
      <p:pic>
        <p:nvPicPr>
          <p:cNvPr id="7" name="Imagen 6" descr="Imagen de la pantalla de un video juego&#10;&#10;Descripción generada automáticamente con confianza baja">
            <a:extLst>
              <a:ext uri="{FF2B5EF4-FFF2-40B4-BE49-F238E27FC236}">
                <a16:creationId xmlns:a16="http://schemas.microsoft.com/office/drawing/2014/main" id="{D8AD8A54-9B7D-3A3A-1197-8C3A342C398A}"/>
              </a:ext>
            </a:extLst>
          </p:cNvPr>
          <p:cNvPicPr>
            <a:picLocks noChangeAspect="1"/>
          </p:cNvPicPr>
          <p:nvPr userDrawn="1"/>
        </p:nvPicPr>
        <p:blipFill rotWithShape="1">
          <a:blip r:embed="rId2">
            <a:extLst>
              <a:ext uri="{28A0092B-C50C-407E-A947-70E740481C1C}">
                <a14:useLocalDpi xmlns:a14="http://schemas.microsoft.com/office/drawing/2010/main"/>
              </a:ext>
            </a:extLst>
          </a:blip>
          <a:srcRect t="-162"/>
          <a:stretch/>
        </p:blipFill>
        <p:spPr>
          <a:xfrm>
            <a:off x="0" y="-17753"/>
            <a:ext cx="6318250" cy="11346153"/>
          </a:xfrm>
          <a:prstGeom prst="rect">
            <a:avLst/>
          </a:prstGeom>
        </p:spPr>
      </p:pic>
      <p:sp>
        <p:nvSpPr>
          <p:cNvPr id="3" name="Rectángulo 2">
            <a:extLst>
              <a:ext uri="{FF2B5EF4-FFF2-40B4-BE49-F238E27FC236}">
                <a16:creationId xmlns:a16="http://schemas.microsoft.com/office/drawing/2014/main" id="{8E2A0C8C-2F63-07D5-D3ED-F129D31CE088}"/>
              </a:ext>
            </a:extLst>
          </p:cNvPr>
          <p:cNvSpPr/>
          <p:nvPr userDrawn="1"/>
        </p:nvSpPr>
        <p:spPr>
          <a:xfrm>
            <a:off x="6318250" y="-17753"/>
            <a:ext cx="13785850" cy="11346153"/>
          </a:xfrm>
          <a:prstGeom prst="rect">
            <a:avLst/>
          </a:prstGeom>
          <a:solidFill>
            <a:srgbClr val="330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4" name="Holder 4"/>
          <p:cNvSpPr>
            <a:spLocks noGrp="1"/>
          </p:cNvSpPr>
          <p:nvPr>
            <p:ph type="ftr" sz="quarter" idx="5"/>
          </p:nvPr>
        </p:nvSpPr>
        <p:spPr>
          <a:xfrm>
            <a:off x="16647741" y="10759212"/>
            <a:ext cx="2962677" cy="200055"/>
          </a:xfrm>
          <a:prstGeom prst="rect">
            <a:avLst/>
          </a:prstGeom>
        </p:spPr>
        <p:txBody>
          <a:bodyPr lIns="0" tIns="0" rIns="0" bIns="0"/>
          <a:lstStyle>
            <a:lvl1pPr>
              <a:defRPr sz="1300" b="0" i="0">
                <a:solidFill>
                  <a:schemeClr val="bg1"/>
                </a:solidFill>
                <a:latin typeface="Ubuntu Light"/>
                <a:cs typeface="Ubuntu Light"/>
              </a:defRPr>
            </a:lvl1pPr>
          </a:lstStyle>
          <a:p>
            <a:pPr marL="26034">
              <a:spcBef>
                <a:spcPts val="30"/>
              </a:spcBef>
            </a:pPr>
            <a:r>
              <a:rPr lang="es-ES" dirty="0"/>
              <a:t>Public</a:t>
            </a:r>
            <a:r>
              <a:rPr lang="es-ES" spc="-40" dirty="0"/>
              <a:t> </a:t>
            </a:r>
            <a:r>
              <a:rPr lang="es-ES" dirty="0"/>
              <a:t>©</a:t>
            </a:r>
            <a:r>
              <a:rPr lang="es-ES" spc="-40" dirty="0"/>
              <a:t> </a:t>
            </a:r>
            <a:r>
              <a:rPr lang="es-ES" dirty="0"/>
              <a:t>2023</a:t>
            </a:r>
            <a:r>
              <a:rPr lang="es-ES" spc="-40" dirty="0"/>
              <a:t> </a:t>
            </a:r>
            <a:r>
              <a:rPr lang="es-ES" spc="-10" dirty="0"/>
              <a:t>Sogeti.</a:t>
            </a:r>
            <a:r>
              <a:rPr lang="es-ES" spc="-35" dirty="0"/>
              <a:t> </a:t>
            </a:r>
            <a:r>
              <a:rPr lang="es-ES" dirty="0" err="1"/>
              <a:t>All</a:t>
            </a:r>
            <a:r>
              <a:rPr lang="es-ES" spc="-40" dirty="0"/>
              <a:t> </a:t>
            </a:r>
            <a:r>
              <a:rPr lang="es-ES" dirty="0"/>
              <a:t>rights</a:t>
            </a:r>
            <a:r>
              <a:rPr lang="es-ES" spc="-40" dirty="0"/>
              <a:t> </a:t>
            </a:r>
            <a:r>
              <a:rPr lang="es-ES" spc="-10" dirty="0" err="1"/>
              <a:t>reserved</a:t>
            </a:r>
            <a:endParaRPr lang="es-ES" spc="-10" dirty="0"/>
          </a:p>
        </p:txBody>
      </p:sp>
      <p:sp>
        <p:nvSpPr>
          <p:cNvPr id="2" name="CuadroTexto 1">
            <a:extLst>
              <a:ext uri="{FF2B5EF4-FFF2-40B4-BE49-F238E27FC236}">
                <a16:creationId xmlns:a16="http://schemas.microsoft.com/office/drawing/2014/main" id="{72E5CF79-7DA3-E21E-3060-87CB44907F25}"/>
              </a:ext>
            </a:extLst>
          </p:cNvPr>
          <p:cNvSpPr txBox="1"/>
          <p:nvPr userDrawn="1"/>
        </p:nvSpPr>
        <p:spPr>
          <a:xfrm>
            <a:off x="755650" y="10845800"/>
            <a:ext cx="7772400" cy="292388"/>
          </a:xfrm>
          <a:prstGeom prst="rect">
            <a:avLst/>
          </a:prstGeom>
          <a:noFill/>
        </p:spPr>
        <p:txBody>
          <a:bodyPr wrap="square" rtlCol="0">
            <a:spAutoFit/>
          </a:bodyPr>
          <a:lstStyle/>
          <a:p>
            <a:r>
              <a:rPr lang="es-ES" sz="1300" b="0" i="0" dirty="0">
                <a:solidFill>
                  <a:schemeClr val="bg1"/>
                </a:solidFill>
                <a:latin typeface="Ubuntu Medium" panose="020B0504030602030204" pitchFamily="34" charset="0"/>
              </a:rPr>
              <a:t>#FlourishingDigitalBusinessWithQuality </a:t>
            </a:r>
            <a:r>
              <a:rPr lang="es-ES" sz="1300" b="1" i="0" dirty="0">
                <a:solidFill>
                  <a:schemeClr val="bg1"/>
                </a:solidFill>
                <a:latin typeface="Ubuntu" panose="020B0504030602030204" pitchFamily="34" charset="0"/>
              </a:rPr>
              <a:t> </a:t>
            </a:r>
            <a:r>
              <a:rPr lang="es-ES" sz="1300" b="1" i="0" dirty="0">
                <a:solidFill>
                  <a:srgbClr val="290E3B"/>
                </a:solidFill>
                <a:latin typeface="Ubuntu" panose="020B0504030602030204" pitchFamily="34" charset="0"/>
              </a:rPr>
              <a:t>·</a:t>
            </a:r>
            <a:r>
              <a:rPr lang="es-ES" sz="1300" b="0" i="0" dirty="0">
                <a:solidFill>
                  <a:schemeClr val="tx2"/>
                </a:solidFill>
                <a:latin typeface="Ubuntu Medium" panose="020B0504030602030204" pitchFamily="34" charset="0"/>
              </a:rPr>
              <a:t>   </a:t>
            </a:r>
            <a:r>
              <a:rPr lang="es-ES" sz="1300" b="1" i="0" dirty="0">
                <a:solidFill>
                  <a:srgbClr val="12A9D8"/>
                </a:solidFill>
                <a:latin typeface="Ubuntu" panose="020B0504030602030204" pitchFamily="34" charset="0"/>
              </a:rPr>
              <a:t>Sogeti España</a:t>
            </a:r>
          </a:p>
        </p:txBody>
      </p:sp>
      <p:sp>
        <p:nvSpPr>
          <p:cNvPr id="5" name="Forma libre 4">
            <a:extLst>
              <a:ext uri="{FF2B5EF4-FFF2-40B4-BE49-F238E27FC236}">
                <a16:creationId xmlns:a16="http://schemas.microsoft.com/office/drawing/2014/main" id="{FBAABD7F-C513-9B40-6AE2-E43DB3944CCE}"/>
              </a:ext>
            </a:extLst>
          </p:cNvPr>
          <p:cNvSpPr/>
          <p:nvPr userDrawn="1"/>
        </p:nvSpPr>
        <p:spPr>
          <a:xfrm flipV="1">
            <a:off x="755650" y="10384024"/>
            <a:ext cx="2362200" cy="385576"/>
          </a:xfrm>
          <a:custGeom>
            <a:avLst/>
            <a:gdLst/>
            <a:ahLst/>
            <a:cxnLst/>
            <a:rect l="l" t="t" r="r" b="b"/>
            <a:pathLst>
              <a:path w="4876802" h="796029">
                <a:moveTo>
                  <a:pt x="2572782" y="405299"/>
                </a:moveTo>
                <a:cubicBezTo>
                  <a:pt x="2589609" y="405299"/>
                  <a:pt x="2601809" y="398820"/>
                  <a:pt x="2609382" y="385863"/>
                </a:cubicBezTo>
                <a:cubicBezTo>
                  <a:pt x="2616954" y="372906"/>
                  <a:pt x="2620740" y="355826"/>
                  <a:pt x="2620740" y="334623"/>
                </a:cubicBezTo>
                <a:cubicBezTo>
                  <a:pt x="2620740" y="313420"/>
                  <a:pt x="2616618" y="296256"/>
                  <a:pt x="2608372" y="283131"/>
                </a:cubicBezTo>
                <a:cubicBezTo>
                  <a:pt x="2600126" y="270006"/>
                  <a:pt x="2587927" y="263443"/>
                  <a:pt x="2571772" y="263443"/>
                </a:cubicBezTo>
                <a:cubicBezTo>
                  <a:pt x="2554945" y="263443"/>
                  <a:pt x="2542744" y="270006"/>
                  <a:pt x="2535172" y="283131"/>
                </a:cubicBezTo>
                <a:cubicBezTo>
                  <a:pt x="2527600" y="296256"/>
                  <a:pt x="2523814" y="313420"/>
                  <a:pt x="2523814" y="334623"/>
                </a:cubicBezTo>
                <a:cubicBezTo>
                  <a:pt x="2523814" y="355826"/>
                  <a:pt x="2527937" y="372906"/>
                  <a:pt x="2536182" y="385863"/>
                </a:cubicBezTo>
                <a:cubicBezTo>
                  <a:pt x="2544428" y="398820"/>
                  <a:pt x="2556628" y="405299"/>
                  <a:pt x="2572782" y="405299"/>
                </a:cubicBezTo>
                <a:close/>
                <a:moveTo>
                  <a:pt x="1810782" y="405299"/>
                </a:moveTo>
                <a:cubicBezTo>
                  <a:pt x="1827610" y="405299"/>
                  <a:pt x="1839810" y="398820"/>
                  <a:pt x="1847382" y="385863"/>
                </a:cubicBezTo>
                <a:cubicBezTo>
                  <a:pt x="1854954" y="372906"/>
                  <a:pt x="1858740" y="355826"/>
                  <a:pt x="1858740" y="334623"/>
                </a:cubicBezTo>
                <a:cubicBezTo>
                  <a:pt x="1858740" y="313420"/>
                  <a:pt x="1854618" y="296256"/>
                  <a:pt x="1846372" y="283131"/>
                </a:cubicBezTo>
                <a:cubicBezTo>
                  <a:pt x="1838127" y="270006"/>
                  <a:pt x="1825927" y="263443"/>
                  <a:pt x="1809772" y="263443"/>
                </a:cubicBezTo>
                <a:cubicBezTo>
                  <a:pt x="1792945" y="263443"/>
                  <a:pt x="1780745" y="270006"/>
                  <a:pt x="1773173" y="283131"/>
                </a:cubicBezTo>
                <a:cubicBezTo>
                  <a:pt x="1765600" y="296256"/>
                  <a:pt x="1761814" y="313420"/>
                  <a:pt x="1761814" y="334623"/>
                </a:cubicBezTo>
                <a:cubicBezTo>
                  <a:pt x="1761814" y="355826"/>
                  <a:pt x="1765937" y="372906"/>
                  <a:pt x="1774182" y="385863"/>
                </a:cubicBezTo>
                <a:cubicBezTo>
                  <a:pt x="1782428" y="398820"/>
                  <a:pt x="1794628" y="405299"/>
                  <a:pt x="1810782" y="405299"/>
                </a:cubicBezTo>
                <a:close/>
                <a:moveTo>
                  <a:pt x="810657" y="405299"/>
                </a:moveTo>
                <a:cubicBezTo>
                  <a:pt x="827485" y="405299"/>
                  <a:pt x="839684" y="398820"/>
                  <a:pt x="847257" y="385863"/>
                </a:cubicBezTo>
                <a:cubicBezTo>
                  <a:pt x="854829" y="372906"/>
                  <a:pt x="858615" y="355826"/>
                  <a:pt x="858616" y="334623"/>
                </a:cubicBezTo>
                <a:cubicBezTo>
                  <a:pt x="858615" y="313420"/>
                  <a:pt x="854493" y="296256"/>
                  <a:pt x="846247" y="283131"/>
                </a:cubicBezTo>
                <a:cubicBezTo>
                  <a:pt x="838002" y="270006"/>
                  <a:pt x="825802" y="263443"/>
                  <a:pt x="809647" y="263443"/>
                </a:cubicBezTo>
                <a:cubicBezTo>
                  <a:pt x="792820" y="263443"/>
                  <a:pt x="780620" y="270006"/>
                  <a:pt x="773048" y="283131"/>
                </a:cubicBezTo>
                <a:cubicBezTo>
                  <a:pt x="765475" y="296256"/>
                  <a:pt x="761689" y="313420"/>
                  <a:pt x="761689" y="334623"/>
                </a:cubicBezTo>
                <a:cubicBezTo>
                  <a:pt x="761689" y="355826"/>
                  <a:pt x="765812" y="372906"/>
                  <a:pt x="774057" y="385863"/>
                </a:cubicBezTo>
                <a:cubicBezTo>
                  <a:pt x="782303" y="398820"/>
                  <a:pt x="794503" y="405299"/>
                  <a:pt x="810657" y="405299"/>
                </a:cubicBezTo>
                <a:close/>
                <a:moveTo>
                  <a:pt x="3325256" y="411861"/>
                </a:moveTo>
                <a:cubicBezTo>
                  <a:pt x="3316506" y="411861"/>
                  <a:pt x="3309608" y="408496"/>
                  <a:pt x="3304560" y="401765"/>
                </a:cubicBezTo>
                <a:cubicBezTo>
                  <a:pt x="3299512" y="395034"/>
                  <a:pt x="3296988" y="387125"/>
                  <a:pt x="3296988" y="378038"/>
                </a:cubicBezTo>
                <a:cubicBezTo>
                  <a:pt x="3296988" y="368951"/>
                  <a:pt x="3299512" y="361126"/>
                  <a:pt x="3304560" y="354564"/>
                </a:cubicBezTo>
                <a:cubicBezTo>
                  <a:pt x="3309608" y="348001"/>
                  <a:pt x="3316506" y="344720"/>
                  <a:pt x="3325256" y="344720"/>
                </a:cubicBezTo>
                <a:cubicBezTo>
                  <a:pt x="3333334" y="344720"/>
                  <a:pt x="3339980" y="348001"/>
                  <a:pt x="3345198" y="354564"/>
                </a:cubicBezTo>
                <a:cubicBezTo>
                  <a:pt x="3350414" y="361126"/>
                  <a:pt x="3353022" y="368951"/>
                  <a:pt x="3353022" y="378038"/>
                </a:cubicBezTo>
                <a:cubicBezTo>
                  <a:pt x="3353022" y="387125"/>
                  <a:pt x="3350414" y="395034"/>
                  <a:pt x="3345198" y="401765"/>
                </a:cubicBezTo>
                <a:cubicBezTo>
                  <a:pt x="3339980" y="408496"/>
                  <a:pt x="3333334" y="411861"/>
                  <a:pt x="3325256" y="411861"/>
                </a:cubicBezTo>
                <a:close/>
                <a:moveTo>
                  <a:pt x="2207070" y="453257"/>
                </a:moveTo>
                <a:lnTo>
                  <a:pt x="2207070" y="401765"/>
                </a:lnTo>
                <a:lnTo>
                  <a:pt x="2272697" y="401765"/>
                </a:lnTo>
                <a:lnTo>
                  <a:pt x="2272697" y="314430"/>
                </a:lnTo>
                <a:cubicBezTo>
                  <a:pt x="2272697" y="297939"/>
                  <a:pt x="2274043" y="283299"/>
                  <a:pt x="2276735" y="270510"/>
                </a:cubicBezTo>
                <a:cubicBezTo>
                  <a:pt x="2279428" y="257721"/>
                  <a:pt x="2284055" y="246868"/>
                  <a:pt x="2290618" y="237949"/>
                </a:cubicBezTo>
                <a:cubicBezTo>
                  <a:pt x="2297181" y="229031"/>
                  <a:pt x="2305931" y="222215"/>
                  <a:pt x="2316869" y="217504"/>
                </a:cubicBezTo>
                <a:cubicBezTo>
                  <a:pt x="2327807" y="212792"/>
                  <a:pt x="2341353" y="210436"/>
                  <a:pt x="2357508" y="210436"/>
                </a:cubicBezTo>
                <a:cubicBezTo>
                  <a:pt x="2366931" y="210436"/>
                  <a:pt x="2377280" y="211530"/>
                  <a:pt x="2388554" y="213718"/>
                </a:cubicBezTo>
                <a:cubicBezTo>
                  <a:pt x="2399829" y="215905"/>
                  <a:pt x="2411860" y="220028"/>
                  <a:pt x="2424649" y="226086"/>
                </a:cubicBezTo>
                <a:lnTo>
                  <a:pt x="2416572" y="276063"/>
                </a:lnTo>
                <a:cubicBezTo>
                  <a:pt x="2406475" y="271352"/>
                  <a:pt x="2397388" y="268239"/>
                  <a:pt x="2389312" y="266724"/>
                </a:cubicBezTo>
                <a:cubicBezTo>
                  <a:pt x="2381234" y="265210"/>
                  <a:pt x="2374335" y="264452"/>
                  <a:pt x="2368614" y="264452"/>
                </a:cubicBezTo>
                <a:cubicBezTo>
                  <a:pt x="2356498" y="264452"/>
                  <a:pt x="2347832" y="267902"/>
                  <a:pt x="2342615" y="274801"/>
                </a:cubicBezTo>
                <a:cubicBezTo>
                  <a:pt x="2337398" y="281701"/>
                  <a:pt x="2334790" y="292218"/>
                  <a:pt x="2334790" y="306353"/>
                </a:cubicBezTo>
                <a:lnTo>
                  <a:pt x="2334790" y="453257"/>
                </a:lnTo>
                <a:close/>
                <a:moveTo>
                  <a:pt x="1088092" y="457800"/>
                </a:moveTo>
                <a:cubicBezTo>
                  <a:pt x="1064870" y="457800"/>
                  <a:pt x="1044593" y="455949"/>
                  <a:pt x="1027260" y="452247"/>
                </a:cubicBezTo>
                <a:cubicBezTo>
                  <a:pt x="1009928" y="448545"/>
                  <a:pt x="993016" y="443665"/>
                  <a:pt x="976526" y="437607"/>
                </a:cubicBezTo>
                <a:lnTo>
                  <a:pt x="976526" y="215989"/>
                </a:lnTo>
                <a:lnTo>
                  <a:pt x="1039124" y="215989"/>
                </a:lnTo>
                <a:lnTo>
                  <a:pt x="1039124" y="392173"/>
                </a:lnTo>
                <a:cubicBezTo>
                  <a:pt x="1047874" y="394529"/>
                  <a:pt x="1056456" y="396128"/>
                  <a:pt x="1064870" y="396969"/>
                </a:cubicBezTo>
                <a:cubicBezTo>
                  <a:pt x="1073284" y="397810"/>
                  <a:pt x="1081866" y="398231"/>
                  <a:pt x="1090616" y="398231"/>
                </a:cubicBezTo>
                <a:cubicBezTo>
                  <a:pt x="1094318" y="398231"/>
                  <a:pt x="1098861" y="398063"/>
                  <a:pt x="1104246" y="397726"/>
                </a:cubicBezTo>
                <a:cubicBezTo>
                  <a:pt x="1109631" y="397390"/>
                  <a:pt x="1115184" y="396801"/>
                  <a:pt x="1120905" y="395959"/>
                </a:cubicBezTo>
                <a:cubicBezTo>
                  <a:pt x="1126627" y="395118"/>
                  <a:pt x="1132264" y="394192"/>
                  <a:pt x="1137817" y="393183"/>
                </a:cubicBezTo>
                <a:cubicBezTo>
                  <a:pt x="1143370" y="392173"/>
                  <a:pt x="1148166" y="391164"/>
                  <a:pt x="1152205" y="390154"/>
                </a:cubicBezTo>
                <a:lnTo>
                  <a:pt x="1163311" y="447704"/>
                </a:lnTo>
                <a:cubicBezTo>
                  <a:pt x="1157589" y="449723"/>
                  <a:pt x="1151111" y="451322"/>
                  <a:pt x="1143875" y="452500"/>
                </a:cubicBezTo>
                <a:cubicBezTo>
                  <a:pt x="1136639" y="453678"/>
                  <a:pt x="1129487" y="454687"/>
                  <a:pt x="1122420" y="455529"/>
                </a:cubicBezTo>
                <a:cubicBezTo>
                  <a:pt x="1115352" y="456370"/>
                  <a:pt x="1108706" y="456959"/>
                  <a:pt x="1102479" y="457296"/>
                </a:cubicBezTo>
                <a:cubicBezTo>
                  <a:pt x="1096253" y="457632"/>
                  <a:pt x="1091457" y="457800"/>
                  <a:pt x="1088092" y="457800"/>
                </a:cubicBezTo>
                <a:close/>
                <a:moveTo>
                  <a:pt x="2572782" y="459315"/>
                </a:moveTo>
                <a:cubicBezTo>
                  <a:pt x="2556628" y="459315"/>
                  <a:pt x="2541651" y="456370"/>
                  <a:pt x="2527852" y="450480"/>
                </a:cubicBezTo>
                <a:cubicBezTo>
                  <a:pt x="2514054" y="444591"/>
                  <a:pt x="2502190" y="436177"/>
                  <a:pt x="2492262" y="425239"/>
                </a:cubicBezTo>
                <a:cubicBezTo>
                  <a:pt x="2482334" y="414301"/>
                  <a:pt x="2474594" y="401176"/>
                  <a:pt x="2469040" y="385863"/>
                </a:cubicBezTo>
                <a:cubicBezTo>
                  <a:pt x="2463487" y="370550"/>
                  <a:pt x="2460711" y="353638"/>
                  <a:pt x="2460711" y="335128"/>
                </a:cubicBezTo>
                <a:cubicBezTo>
                  <a:pt x="2460711" y="316281"/>
                  <a:pt x="2463403" y="299201"/>
                  <a:pt x="2468788" y="283888"/>
                </a:cubicBezTo>
                <a:cubicBezTo>
                  <a:pt x="2474173" y="268575"/>
                  <a:pt x="2481829" y="255366"/>
                  <a:pt x="2491758" y="244259"/>
                </a:cubicBezTo>
                <a:cubicBezTo>
                  <a:pt x="2501686" y="233153"/>
                  <a:pt x="2513465" y="224571"/>
                  <a:pt x="2527095" y="218513"/>
                </a:cubicBezTo>
                <a:cubicBezTo>
                  <a:pt x="2540726" y="212455"/>
                  <a:pt x="2555954" y="209427"/>
                  <a:pt x="2572782" y="209427"/>
                </a:cubicBezTo>
                <a:cubicBezTo>
                  <a:pt x="2589609" y="209427"/>
                  <a:pt x="2604838" y="212455"/>
                  <a:pt x="2618468" y="218513"/>
                </a:cubicBezTo>
                <a:cubicBezTo>
                  <a:pt x="2632098" y="224571"/>
                  <a:pt x="2643794" y="233153"/>
                  <a:pt x="2653554" y="244259"/>
                </a:cubicBezTo>
                <a:cubicBezTo>
                  <a:pt x="2663314" y="255366"/>
                  <a:pt x="2670886" y="268575"/>
                  <a:pt x="2676271" y="283888"/>
                </a:cubicBezTo>
                <a:cubicBezTo>
                  <a:pt x="2681656" y="299201"/>
                  <a:pt x="2684348" y="316281"/>
                  <a:pt x="2684348" y="335128"/>
                </a:cubicBezTo>
                <a:cubicBezTo>
                  <a:pt x="2684348" y="353638"/>
                  <a:pt x="2681656" y="370550"/>
                  <a:pt x="2676271" y="385863"/>
                </a:cubicBezTo>
                <a:cubicBezTo>
                  <a:pt x="2670886" y="401176"/>
                  <a:pt x="2663230" y="414301"/>
                  <a:pt x="2653302" y="425239"/>
                </a:cubicBezTo>
                <a:cubicBezTo>
                  <a:pt x="2643373" y="436177"/>
                  <a:pt x="2631594" y="444591"/>
                  <a:pt x="2617964" y="450480"/>
                </a:cubicBezTo>
                <a:cubicBezTo>
                  <a:pt x="2604334" y="456370"/>
                  <a:pt x="2589273" y="459315"/>
                  <a:pt x="2572782" y="459315"/>
                </a:cubicBezTo>
                <a:close/>
                <a:moveTo>
                  <a:pt x="1810782" y="459315"/>
                </a:moveTo>
                <a:cubicBezTo>
                  <a:pt x="1794628" y="459315"/>
                  <a:pt x="1779651" y="456370"/>
                  <a:pt x="1765853" y="450480"/>
                </a:cubicBezTo>
                <a:cubicBezTo>
                  <a:pt x="1752054" y="444591"/>
                  <a:pt x="1740191" y="436177"/>
                  <a:pt x="1730262" y="425239"/>
                </a:cubicBezTo>
                <a:cubicBezTo>
                  <a:pt x="1720334" y="414301"/>
                  <a:pt x="1712594" y="401176"/>
                  <a:pt x="1707040" y="385863"/>
                </a:cubicBezTo>
                <a:cubicBezTo>
                  <a:pt x="1701488" y="370550"/>
                  <a:pt x="1698711" y="353638"/>
                  <a:pt x="1698711" y="335128"/>
                </a:cubicBezTo>
                <a:cubicBezTo>
                  <a:pt x="1698711" y="316281"/>
                  <a:pt x="1701403" y="299201"/>
                  <a:pt x="1706788" y="283888"/>
                </a:cubicBezTo>
                <a:cubicBezTo>
                  <a:pt x="1712173" y="268575"/>
                  <a:pt x="1719829" y="255366"/>
                  <a:pt x="1729758" y="244259"/>
                </a:cubicBezTo>
                <a:cubicBezTo>
                  <a:pt x="1739686" y="233153"/>
                  <a:pt x="1751465" y="224571"/>
                  <a:pt x="1765095" y="218513"/>
                </a:cubicBezTo>
                <a:cubicBezTo>
                  <a:pt x="1778726" y="212455"/>
                  <a:pt x="1793954" y="209427"/>
                  <a:pt x="1810782" y="209427"/>
                </a:cubicBezTo>
                <a:cubicBezTo>
                  <a:pt x="1827610" y="209427"/>
                  <a:pt x="1842838" y="212455"/>
                  <a:pt x="1856469" y="218513"/>
                </a:cubicBezTo>
                <a:cubicBezTo>
                  <a:pt x="1870099" y="224571"/>
                  <a:pt x="1881794" y="233153"/>
                  <a:pt x="1891554" y="244259"/>
                </a:cubicBezTo>
                <a:cubicBezTo>
                  <a:pt x="1901314" y="255366"/>
                  <a:pt x="1908886" y="268575"/>
                  <a:pt x="1914271" y="283888"/>
                </a:cubicBezTo>
                <a:cubicBezTo>
                  <a:pt x="1919656" y="299201"/>
                  <a:pt x="1922348" y="316281"/>
                  <a:pt x="1922348" y="335128"/>
                </a:cubicBezTo>
                <a:cubicBezTo>
                  <a:pt x="1922348" y="353638"/>
                  <a:pt x="1919656" y="370550"/>
                  <a:pt x="1914271" y="385863"/>
                </a:cubicBezTo>
                <a:cubicBezTo>
                  <a:pt x="1908886" y="401176"/>
                  <a:pt x="1901230" y="414301"/>
                  <a:pt x="1891302" y="425239"/>
                </a:cubicBezTo>
                <a:cubicBezTo>
                  <a:pt x="1881374" y="436177"/>
                  <a:pt x="1869594" y="444591"/>
                  <a:pt x="1855964" y="450480"/>
                </a:cubicBezTo>
                <a:cubicBezTo>
                  <a:pt x="1842334" y="456370"/>
                  <a:pt x="1827273" y="459315"/>
                  <a:pt x="1810782" y="459315"/>
                </a:cubicBezTo>
                <a:close/>
                <a:moveTo>
                  <a:pt x="810657" y="459315"/>
                </a:moveTo>
                <a:cubicBezTo>
                  <a:pt x="794503" y="459315"/>
                  <a:pt x="779526" y="456370"/>
                  <a:pt x="765728" y="450480"/>
                </a:cubicBezTo>
                <a:cubicBezTo>
                  <a:pt x="751929" y="444591"/>
                  <a:pt x="740066" y="436177"/>
                  <a:pt x="730138" y="425239"/>
                </a:cubicBezTo>
                <a:cubicBezTo>
                  <a:pt x="720209" y="414301"/>
                  <a:pt x="712469" y="401176"/>
                  <a:pt x="706916" y="385863"/>
                </a:cubicBezTo>
                <a:cubicBezTo>
                  <a:pt x="701362" y="370550"/>
                  <a:pt x="698586" y="353638"/>
                  <a:pt x="698586" y="335128"/>
                </a:cubicBezTo>
                <a:cubicBezTo>
                  <a:pt x="698586" y="316281"/>
                  <a:pt x="701278" y="299201"/>
                  <a:pt x="706663" y="283888"/>
                </a:cubicBezTo>
                <a:cubicBezTo>
                  <a:pt x="712048" y="268575"/>
                  <a:pt x="719704" y="255366"/>
                  <a:pt x="729633" y="244259"/>
                </a:cubicBezTo>
                <a:cubicBezTo>
                  <a:pt x="739561" y="233153"/>
                  <a:pt x="751340" y="224571"/>
                  <a:pt x="764970" y="218513"/>
                </a:cubicBezTo>
                <a:cubicBezTo>
                  <a:pt x="778601" y="212455"/>
                  <a:pt x="793830" y="209427"/>
                  <a:pt x="810657" y="209427"/>
                </a:cubicBezTo>
                <a:cubicBezTo>
                  <a:pt x="827485" y="209427"/>
                  <a:pt x="842713" y="212455"/>
                  <a:pt x="856344" y="218513"/>
                </a:cubicBezTo>
                <a:cubicBezTo>
                  <a:pt x="869974" y="224571"/>
                  <a:pt x="881669" y="233153"/>
                  <a:pt x="891429" y="244259"/>
                </a:cubicBezTo>
                <a:cubicBezTo>
                  <a:pt x="901189" y="255366"/>
                  <a:pt x="908761" y="268575"/>
                  <a:pt x="914146" y="283888"/>
                </a:cubicBezTo>
                <a:cubicBezTo>
                  <a:pt x="919531" y="299201"/>
                  <a:pt x="922223" y="316281"/>
                  <a:pt x="922223" y="335128"/>
                </a:cubicBezTo>
                <a:cubicBezTo>
                  <a:pt x="922223" y="353638"/>
                  <a:pt x="919531" y="370550"/>
                  <a:pt x="914146" y="385863"/>
                </a:cubicBezTo>
                <a:cubicBezTo>
                  <a:pt x="908761" y="401176"/>
                  <a:pt x="901105" y="414301"/>
                  <a:pt x="891177" y="425239"/>
                </a:cubicBezTo>
                <a:cubicBezTo>
                  <a:pt x="881248" y="436177"/>
                  <a:pt x="869469" y="444591"/>
                  <a:pt x="855839" y="450480"/>
                </a:cubicBezTo>
                <a:cubicBezTo>
                  <a:pt x="842209" y="456370"/>
                  <a:pt x="827148" y="459315"/>
                  <a:pt x="810657" y="459315"/>
                </a:cubicBezTo>
                <a:close/>
                <a:moveTo>
                  <a:pt x="546919" y="477993"/>
                </a:moveTo>
                <a:cubicBezTo>
                  <a:pt x="563410" y="477993"/>
                  <a:pt x="576620" y="474207"/>
                  <a:pt x="586548" y="466635"/>
                </a:cubicBezTo>
                <a:cubicBezTo>
                  <a:pt x="596476" y="459062"/>
                  <a:pt x="601441" y="446189"/>
                  <a:pt x="601441" y="428016"/>
                </a:cubicBezTo>
                <a:cubicBezTo>
                  <a:pt x="601441" y="408832"/>
                  <a:pt x="596392" y="395286"/>
                  <a:pt x="586296" y="387377"/>
                </a:cubicBezTo>
                <a:cubicBezTo>
                  <a:pt x="576199" y="379468"/>
                  <a:pt x="561223" y="375514"/>
                  <a:pt x="541366" y="375514"/>
                </a:cubicBezTo>
                <a:lnTo>
                  <a:pt x="516125" y="375514"/>
                </a:lnTo>
                <a:lnTo>
                  <a:pt x="516125" y="476479"/>
                </a:lnTo>
                <a:cubicBezTo>
                  <a:pt x="519827" y="477152"/>
                  <a:pt x="524960" y="477573"/>
                  <a:pt x="531522" y="477741"/>
                </a:cubicBezTo>
                <a:cubicBezTo>
                  <a:pt x="538085" y="477909"/>
                  <a:pt x="543217" y="477993"/>
                  <a:pt x="546919" y="477993"/>
                </a:cubicBezTo>
                <a:close/>
                <a:moveTo>
                  <a:pt x="3324752" y="482537"/>
                </a:moveTo>
                <a:cubicBezTo>
                  <a:pt x="3341916" y="482537"/>
                  <a:pt x="3354958" y="473198"/>
                  <a:pt x="3363876" y="454519"/>
                </a:cubicBezTo>
                <a:cubicBezTo>
                  <a:pt x="3372794" y="435841"/>
                  <a:pt x="3377254" y="408664"/>
                  <a:pt x="3377254" y="372990"/>
                </a:cubicBezTo>
                <a:cubicBezTo>
                  <a:pt x="3377254" y="336979"/>
                  <a:pt x="3372794" y="309634"/>
                  <a:pt x="3363876" y="290956"/>
                </a:cubicBezTo>
                <a:cubicBezTo>
                  <a:pt x="3354958" y="272277"/>
                  <a:pt x="3341916" y="262938"/>
                  <a:pt x="3324752" y="262938"/>
                </a:cubicBezTo>
                <a:cubicBezTo>
                  <a:pt x="3307924" y="262938"/>
                  <a:pt x="3294968" y="272277"/>
                  <a:pt x="3285880" y="290956"/>
                </a:cubicBezTo>
                <a:cubicBezTo>
                  <a:pt x="3276794" y="309634"/>
                  <a:pt x="3272250" y="336979"/>
                  <a:pt x="3272250" y="372990"/>
                </a:cubicBezTo>
                <a:cubicBezTo>
                  <a:pt x="3272250" y="408664"/>
                  <a:pt x="3276794" y="435841"/>
                  <a:pt x="3285880" y="454519"/>
                </a:cubicBezTo>
                <a:cubicBezTo>
                  <a:pt x="3294968" y="473198"/>
                  <a:pt x="3307924" y="482537"/>
                  <a:pt x="3324752" y="482537"/>
                </a:cubicBezTo>
                <a:close/>
                <a:moveTo>
                  <a:pt x="1323054" y="522923"/>
                </a:moveTo>
                <a:lnTo>
                  <a:pt x="1260961" y="512826"/>
                </a:lnTo>
                <a:lnTo>
                  <a:pt x="1260961" y="453257"/>
                </a:lnTo>
                <a:lnTo>
                  <a:pt x="1206945" y="453257"/>
                </a:lnTo>
                <a:lnTo>
                  <a:pt x="1206945" y="401765"/>
                </a:lnTo>
                <a:lnTo>
                  <a:pt x="1260961" y="401765"/>
                </a:lnTo>
                <a:lnTo>
                  <a:pt x="1260961" y="304334"/>
                </a:lnTo>
                <a:cubicBezTo>
                  <a:pt x="1260961" y="284477"/>
                  <a:pt x="1262980" y="268407"/>
                  <a:pt x="1267019" y="256123"/>
                </a:cubicBezTo>
                <a:cubicBezTo>
                  <a:pt x="1271057" y="243839"/>
                  <a:pt x="1276947" y="234331"/>
                  <a:pt x="1284688" y="227600"/>
                </a:cubicBezTo>
                <a:cubicBezTo>
                  <a:pt x="1292428" y="220869"/>
                  <a:pt x="1301852" y="216326"/>
                  <a:pt x="1312958" y="213970"/>
                </a:cubicBezTo>
                <a:cubicBezTo>
                  <a:pt x="1324064" y="211614"/>
                  <a:pt x="1336853" y="210436"/>
                  <a:pt x="1351325" y="210436"/>
                </a:cubicBezTo>
                <a:cubicBezTo>
                  <a:pt x="1363777" y="210436"/>
                  <a:pt x="1376650" y="211446"/>
                  <a:pt x="1389944" y="213465"/>
                </a:cubicBezTo>
                <a:cubicBezTo>
                  <a:pt x="1403238" y="215484"/>
                  <a:pt x="1415606" y="218850"/>
                  <a:pt x="1427048" y="223562"/>
                </a:cubicBezTo>
                <a:lnTo>
                  <a:pt x="1418466" y="277073"/>
                </a:lnTo>
                <a:cubicBezTo>
                  <a:pt x="1412745" y="274381"/>
                  <a:pt x="1407444" y="272193"/>
                  <a:pt x="1402564" y="270510"/>
                </a:cubicBezTo>
                <a:cubicBezTo>
                  <a:pt x="1397684" y="268828"/>
                  <a:pt x="1392973" y="267566"/>
                  <a:pt x="1388429" y="266724"/>
                </a:cubicBezTo>
                <a:cubicBezTo>
                  <a:pt x="1383886" y="265883"/>
                  <a:pt x="1379174" y="265294"/>
                  <a:pt x="1374294" y="264957"/>
                </a:cubicBezTo>
                <a:cubicBezTo>
                  <a:pt x="1369414" y="264621"/>
                  <a:pt x="1364114" y="264452"/>
                  <a:pt x="1358392" y="264452"/>
                </a:cubicBezTo>
                <a:cubicBezTo>
                  <a:pt x="1353007" y="264452"/>
                  <a:pt x="1348127" y="264957"/>
                  <a:pt x="1343752" y="265967"/>
                </a:cubicBezTo>
                <a:cubicBezTo>
                  <a:pt x="1339377" y="266977"/>
                  <a:pt x="1335675" y="268996"/>
                  <a:pt x="1332646" y="272025"/>
                </a:cubicBezTo>
                <a:cubicBezTo>
                  <a:pt x="1329617" y="275054"/>
                  <a:pt x="1327261" y="279261"/>
                  <a:pt x="1325579" y="284645"/>
                </a:cubicBezTo>
                <a:cubicBezTo>
                  <a:pt x="1323896" y="290030"/>
                  <a:pt x="1323054" y="297098"/>
                  <a:pt x="1323054" y="305848"/>
                </a:cubicBezTo>
                <a:lnTo>
                  <a:pt x="1323054" y="401765"/>
                </a:lnTo>
                <a:lnTo>
                  <a:pt x="1422505" y="401765"/>
                </a:lnTo>
                <a:lnTo>
                  <a:pt x="1422505" y="453257"/>
                </a:lnTo>
                <a:lnTo>
                  <a:pt x="1323054" y="453257"/>
                </a:lnTo>
                <a:close/>
                <a:moveTo>
                  <a:pt x="539852" y="532010"/>
                </a:moveTo>
                <a:cubicBezTo>
                  <a:pt x="534131" y="532010"/>
                  <a:pt x="527568" y="531841"/>
                  <a:pt x="520164" y="531505"/>
                </a:cubicBezTo>
                <a:cubicBezTo>
                  <a:pt x="512760" y="531168"/>
                  <a:pt x="505187" y="530748"/>
                  <a:pt x="497447" y="530243"/>
                </a:cubicBezTo>
                <a:cubicBezTo>
                  <a:pt x="489706" y="529738"/>
                  <a:pt x="482049" y="528981"/>
                  <a:pt x="474477" y="527971"/>
                </a:cubicBezTo>
                <a:cubicBezTo>
                  <a:pt x="466905" y="526961"/>
                  <a:pt x="460090" y="525784"/>
                  <a:pt x="454032" y="524437"/>
                </a:cubicBezTo>
                <a:lnTo>
                  <a:pt x="454032" y="215989"/>
                </a:lnTo>
                <a:lnTo>
                  <a:pt x="516125" y="215989"/>
                </a:lnTo>
                <a:lnTo>
                  <a:pt x="516125" y="321498"/>
                </a:lnTo>
                <a:lnTo>
                  <a:pt x="538337" y="321498"/>
                </a:lnTo>
                <a:cubicBezTo>
                  <a:pt x="578723" y="321498"/>
                  <a:pt x="609938" y="329827"/>
                  <a:pt x="631982" y="346486"/>
                </a:cubicBezTo>
                <a:cubicBezTo>
                  <a:pt x="654026" y="363146"/>
                  <a:pt x="665048" y="390154"/>
                  <a:pt x="665048" y="427511"/>
                </a:cubicBezTo>
                <a:cubicBezTo>
                  <a:pt x="665048" y="464531"/>
                  <a:pt x="654111" y="491203"/>
                  <a:pt x="632235" y="507526"/>
                </a:cubicBezTo>
                <a:cubicBezTo>
                  <a:pt x="610359" y="523848"/>
                  <a:pt x="579565" y="532010"/>
                  <a:pt x="539852" y="532010"/>
                </a:cubicBezTo>
                <a:close/>
                <a:moveTo>
                  <a:pt x="3816452" y="535544"/>
                </a:moveTo>
                <a:cubicBezTo>
                  <a:pt x="3797604" y="535544"/>
                  <a:pt x="3780694" y="532430"/>
                  <a:pt x="3765716" y="526204"/>
                </a:cubicBezTo>
                <a:cubicBezTo>
                  <a:pt x="3750740" y="519978"/>
                  <a:pt x="3738708" y="513836"/>
                  <a:pt x="3729622" y="507778"/>
                </a:cubicBezTo>
                <a:lnTo>
                  <a:pt x="3751834" y="462344"/>
                </a:lnTo>
                <a:cubicBezTo>
                  <a:pt x="3760248" y="468065"/>
                  <a:pt x="3770260" y="472861"/>
                  <a:pt x="3781872" y="476731"/>
                </a:cubicBezTo>
                <a:cubicBezTo>
                  <a:pt x="3793482" y="480602"/>
                  <a:pt x="3805178" y="482537"/>
                  <a:pt x="3816956" y="482537"/>
                </a:cubicBezTo>
                <a:cubicBezTo>
                  <a:pt x="3829072" y="482537"/>
                  <a:pt x="3838580" y="479255"/>
                  <a:pt x="3845480" y="472693"/>
                </a:cubicBezTo>
                <a:cubicBezTo>
                  <a:pt x="3852378" y="466130"/>
                  <a:pt x="3855828" y="457127"/>
                  <a:pt x="3855828" y="445685"/>
                </a:cubicBezTo>
                <a:cubicBezTo>
                  <a:pt x="3855828" y="437944"/>
                  <a:pt x="3854230" y="431550"/>
                  <a:pt x="3851032" y="426501"/>
                </a:cubicBezTo>
                <a:cubicBezTo>
                  <a:pt x="3847836" y="421453"/>
                  <a:pt x="3843712" y="417414"/>
                  <a:pt x="3838664" y="414385"/>
                </a:cubicBezTo>
                <a:cubicBezTo>
                  <a:pt x="3833616" y="411357"/>
                  <a:pt x="3827894" y="409169"/>
                  <a:pt x="3821500" y="407823"/>
                </a:cubicBezTo>
                <a:cubicBezTo>
                  <a:pt x="3815106" y="406477"/>
                  <a:pt x="3808712" y="405803"/>
                  <a:pt x="3802316" y="405803"/>
                </a:cubicBezTo>
                <a:lnTo>
                  <a:pt x="3779094" y="405803"/>
                </a:lnTo>
                <a:lnTo>
                  <a:pt x="3779094" y="354311"/>
                </a:lnTo>
                <a:lnTo>
                  <a:pt x="3798278" y="354311"/>
                </a:lnTo>
                <a:cubicBezTo>
                  <a:pt x="3818470" y="354311"/>
                  <a:pt x="3835130" y="351030"/>
                  <a:pt x="3848256" y="344467"/>
                </a:cubicBezTo>
                <a:cubicBezTo>
                  <a:pt x="3861380" y="337904"/>
                  <a:pt x="3867944" y="326378"/>
                  <a:pt x="3867944" y="309887"/>
                </a:cubicBezTo>
                <a:cubicBezTo>
                  <a:pt x="3867944" y="296425"/>
                  <a:pt x="3863652" y="285150"/>
                  <a:pt x="3855072" y="276063"/>
                </a:cubicBezTo>
                <a:cubicBezTo>
                  <a:pt x="3846488" y="266977"/>
                  <a:pt x="3831596" y="262433"/>
                  <a:pt x="3810394" y="262433"/>
                </a:cubicBezTo>
                <a:cubicBezTo>
                  <a:pt x="3793230" y="262433"/>
                  <a:pt x="3778506" y="264284"/>
                  <a:pt x="3766222" y="267986"/>
                </a:cubicBezTo>
                <a:cubicBezTo>
                  <a:pt x="3753938" y="271688"/>
                  <a:pt x="3743924" y="275222"/>
                  <a:pt x="3736184" y="278588"/>
                </a:cubicBezTo>
                <a:lnTo>
                  <a:pt x="3724068" y="226591"/>
                </a:lnTo>
                <a:cubicBezTo>
                  <a:pt x="3727770" y="224908"/>
                  <a:pt x="3732988" y="223057"/>
                  <a:pt x="3739718" y="221037"/>
                </a:cubicBezTo>
                <a:cubicBezTo>
                  <a:pt x="3746450" y="219018"/>
                  <a:pt x="3753770" y="217167"/>
                  <a:pt x="3761678" y="215484"/>
                </a:cubicBezTo>
                <a:cubicBezTo>
                  <a:pt x="3769588" y="213802"/>
                  <a:pt x="3777832" y="212371"/>
                  <a:pt x="3786414" y="211193"/>
                </a:cubicBezTo>
                <a:cubicBezTo>
                  <a:pt x="3794996" y="210015"/>
                  <a:pt x="3803158" y="209427"/>
                  <a:pt x="3810898" y="209427"/>
                </a:cubicBezTo>
                <a:cubicBezTo>
                  <a:pt x="3831764" y="209427"/>
                  <a:pt x="3849770" y="211867"/>
                  <a:pt x="3864916" y="216746"/>
                </a:cubicBezTo>
                <a:cubicBezTo>
                  <a:pt x="3880060" y="221626"/>
                  <a:pt x="3892512" y="228526"/>
                  <a:pt x="3902272" y="237444"/>
                </a:cubicBezTo>
                <a:cubicBezTo>
                  <a:pt x="3912032" y="246363"/>
                  <a:pt x="3919268" y="256880"/>
                  <a:pt x="3923980" y="268996"/>
                </a:cubicBezTo>
                <a:cubicBezTo>
                  <a:pt x="3928692" y="281112"/>
                  <a:pt x="3931048" y="294405"/>
                  <a:pt x="3931048" y="308877"/>
                </a:cubicBezTo>
                <a:cubicBezTo>
                  <a:pt x="3931048" y="327051"/>
                  <a:pt x="3926588" y="342700"/>
                  <a:pt x="3917668" y="355826"/>
                </a:cubicBezTo>
                <a:cubicBezTo>
                  <a:pt x="3908750" y="368951"/>
                  <a:pt x="3896214" y="378879"/>
                  <a:pt x="3880060" y="385610"/>
                </a:cubicBezTo>
                <a:cubicBezTo>
                  <a:pt x="3891840" y="391668"/>
                  <a:pt x="3901262" y="400419"/>
                  <a:pt x="3908330" y="411861"/>
                </a:cubicBezTo>
                <a:cubicBezTo>
                  <a:pt x="3915398" y="423304"/>
                  <a:pt x="3918932" y="435252"/>
                  <a:pt x="3918932" y="447704"/>
                </a:cubicBezTo>
                <a:cubicBezTo>
                  <a:pt x="3918932" y="460156"/>
                  <a:pt x="3916912" y="471767"/>
                  <a:pt x="3912874" y="482537"/>
                </a:cubicBezTo>
                <a:cubicBezTo>
                  <a:pt x="3908834" y="493306"/>
                  <a:pt x="3902608" y="502646"/>
                  <a:pt x="3894196" y="510555"/>
                </a:cubicBezTo>
                <a:cubicBezTo>
                  <a:pt x="3885780" y="518464"/>
                  <a:pt x="3875096" y="524606"/>
                  <a:pt x="3862138" y="528981"/>
                </a:cubicBezTo>
                <a:cubicBezTo>
                  <a:pt x="3849180" y="533356"/>
                  <a:pt x="3833952" y="535544"/>
                  <a:pt x="3816452" y="535544"/>
                </a:cubicBezTo>
                <a:close/>
                <a:moveTo>
                  <a:pt x="3567354" y="535544"/>
                </a:moveTo>
                <a:cubicBezTo>
                  <a:pt x="3549854" y="535544"/>
                  <a:pt x="3532268" y="532178"/>
                  <a:pt x="3514600" y="525447"/>
                </a:cubicBezTo>
                <a:cubicBezTo>
                  <a:pt x="3496930" y="518716"/>
                  <a:pt x="3481366" y="508283"/>
                  <a:pt x="3467904" y="494148"/>
                </a:cubicBezTo>
                <a:lnTo>
                  <a:pt x="3498698" y="450733"/>
                </a:lnTo>
                <a:cubicBezTo>
                  <a:pt x="3509130" y="461839"/>
                  <a:pt x="3519732" y="469748"/>
                  <a:pt x="3530502" y="474460"/>
                </a:cubicBezTo>
                <a:cubicBezTo>
                  <a:pt x="3541272" y="479171"/>
                  <a:pt x="3551536" y="481527"/>
                  <a:pt x="3561296" y="481527"/>
                </a:cubicBezTo>
                <a:cubicBezTo>
                  <a:pt x="3573076" y="481527"/>
                  <a:pt x="3582836" y="478078"/>
                  <a:pt x="3590576" y="471178"/>
                </a:cubicBezTo>
                <a:cubicBezTo>
                  <a:pt x="3598316" y="464279"/>
                  <a:pt x="3602186" y="454435"/>
                  <a:pt x="3602188" y="441646"/>
                </a:cubicBezTo>
                <a:cubicBezTo>
                  <a:pt x="3602186" y="432559"/>
                  <a:pt x="3599074" y="423641"/>
                  <a:pt x="3592848" y="414890"/>
                </a:cubicBezTo>
                <a:cubicBezTo>
                  <a:pt x="3586622" y="406140"/>
                  <a:pt x="3578712" y="397053"/>
                  <a:pt x="3569120" y="387630"/>
                </a:cubicBezTo>
                <a:cubicBezTo>
                  <a:pt x="3559528" y="378206"/>
                  <a:pt x="3549264" y="368362"/>
                  <a:pt x="3538326" y="358097"/>
                </a:cubicBezTo>
                <a:cubicBezTo>
                  <a:pt x="3527388" y="347833"/>
                  <a:pt x="3517124" y="336727"/>
                  <a:pt x="3507532" y="324779"/>
                </a:cubicBezTo>
                <a:cubicBezTo>
                  <a:pt x="3497940" y="312831"/>
                  <a:pt x="3490032" y="299790"/>
                  <a:pt x="3483806" y="285655"/>
                </a:cubicBezTo>
                <a:cubicBezTo>
                  <a:pt x="3477580" y="271520"/>
                  <a:pt x="3474466" y="256039"/>
                  <a:pt x="3474466" y="239211"/>
                </a:cubicBezTo>
                <a:cubicBezTo>
                  <a:pt x="3474466" y="237192"/>
                  <a:pt x="3474382" y="233658"/>
                  <a:pt x="3474214" y="228610"/>
                </a:cubicBezTo>
                <a:cubicBezTo>
                  <a:pt x="3474046" y="223562"/>
                  <a:pt x="3474466" y="219355"/>
                  <a:pt x="3475476" y="215989"/>
                </a:cubicBezTo>
                <a:lnTo>
                  <a:pt x="3679426" y="215989"/>
                </a:lnTo>
                <a:lnTo>
                  <a:pt x="3679426" y="267481"/>
                </a:lnTo>
                <a:lnTo>
                  <a:pt x="3545142" y="267481"/>
                </a:lnTo>
                <a:cubicBezTo>
                  <a:pt x="3545142" y="272530"/>
                  <a:pt x="3546908" y="278083"/>
                  <a:pt x="3550442" y="284141"/>
                </a:cubicBezTo>
                <a:cubicBezTo>
                  <a:pt x="3553976" y="290198"/>
                  <a:pt x="3558268" y="296172"/>
                  <a:pt x="3563316" y="302062"/>
                </a:cubicBezTo>
                <a:cubicBezTo>
                  <a:pt x="3568364" y="307952"/>
                  <a:pt x="3573748" y="313673"/>
                  <a:pt x="3579470" y="319226"/>
                </a:cubicBezTo>
                <a:cubicBezTo>
                  <a:pt x="3585190" y="324779"/>
                  <a:pt x="3590240" y="329575"/>
                  <a:pt x="3594614" y="333613"/>
                </a:cubicBezTo>
                <a:cubicBezTo>
                  <a:pt x="3603364" y="341691"/>
                  <a:pt x="3611946" y="350104"/>
                  <a:pt x="3620360" y="358855"/>
                </a:cubicBezTo>
                <a:cubicBezTo>
                  <a:pt x="3628774" y="367605"/>
                  <a:pt x="3636346" y="376692"/>
                  <a:pt x="3643078" y="386115"/>
                </a:cubicBezTo>
                <a:cubicBezTo>
                  <a:pt x="3649808" y="395539"/>
                  <a:pt x="3655194" y="405214"/>
                  <a:pt x="3659232" y="415143"/>
                </a:cubicBezTo>
                <a:cubicBezTo>
                  <a:pt x="3663270" y="425071"/>
                  <a:pt x="3665290" y="435420"/>
                  <a:pt x="3665290" y="446189"/>
                </a:cubicBezTo>
                <a:cubicBezTo>
                  <a:pt x="3665290" y="460998"/>
                  <a:pt x="3662598" y="474039"/>
                  <a:pt x="3657212" y="485313"/>
                </a:cubicBezTo>
                <a:cubicBezTo>
                  <a:pt x="3651828" y="496588"/>
                  <a:pt x="3644592" y="505927"/>
                  <a:pt x="3635506" y="513331"/>
                </a:cubicBezTo>
                <a:cubicBezTo>
                  <a:pt x="3626418" y="520735"/>
                  <a:pt x="3615986" y="526288"/>
                  <a:pt x="3604206" y="529990"/>
                </a:cubicBezTo>
                <a:cubicBezTo>
                  <a:pt x="3592426" y="533692"/>
                  <a:pt x="3580142" y="535544"/>
                  <a:pt x="3567354" y="535544"/>
                </a:cubicBezTo>
                <a:close/>
                <a:moveTo>
                  <a:pt x="3324752" y="535544"/>
                </a:moveTo>
                <a:cubicBezTo>
                  <a:pt x="3290088" y="535544"/>
                  <a:pt x="3263332" y="522081"/>
                  <a:pt x="3244486" y="495157"/>
                </a:cubicBezTo>
                <a:cubicBezTo>
                  <a:pt x="3225638" y="468233"/>
                  <a:pt x="3216214" y="427511"/>
                  <a:pt x="3216214" y="372990"/>
                </a:cubicBezTo>
                <a:cubicBezTo>
                  <a:pt x="3216214" y="317796"/>
                  <a:pt x="3225470" y="276737"/>
                  <a:pt x="3243980" y="249813"/>
                </a:cubicBezTo>
                <a:cubicBezTo>
                  <a:pt x="3262490" y="222889"/>
                  <a:pt x="3289414" y="209427"/>
                  <a:pt x="3324752" y="209427"/>
                </a:cubicBezTo>
                <a:cubicBezTo>
                  <a:pt x="3360090" y="209427"/>
                  <a:pt x="3387014" y="222889"/>
                  <a:pt x="3405524" y="249813"/>
                </a:cubicBezTo>
                <a:cubicBezTo>
                  <a:pt x="3424034" y="276737"/>
                  <a:pt x="3433290" y="317796"/>
                  <a:pt x="3433290" y="372990"/>
                </a:cubicBezTo>
                <a:cubicBezTo>
                  <a:pt x="3433290" y="427847"/>
                  <a:pt x="3424034" y="468654"/>
                  <a:pt x="3405524" y="495410"/>
                </a:cubicBezTo>
                <a:cubicBezTo>
                  <a:pt x="3387014" y="522166"/>
                  <a:pt x="3360090" y="535544"/>
                  <a:pt x="3324752" y="535544"/>
                </a:cubicBezTo>
                <a:close/>
                <a:moveTo>
                  <a:pt x="3062528" y="535544"/>
                </a:moveTo>
                <a:cubicBezTo>
                  <a:pt x="3045028" y="535544"/>
                  <a:pt x="3027444" y="532178"/>
                  <a:pt x="3009774" y="525447"/>
                </a:cubicBezTo>
                <a:cubicBezTo>
                  <a:pt x="2992106" y="518716"/>
                  <a:pt x="2976540" y="508283"/>
                  <a:pt x="2963078" y="494148"/>
                </a:cubicBezTo>
                <a:lnTo>
                  <a:pt x="2993872" y="450733"/>
                </a:lnTo>
                <a:cubicBezTo>
                  <a:pt x="3004306" y="461839"/>
                  <a:pt x="3014908" y="469748"/>
                  <a:pt x="3025676" y="474460"/>
                </a:cubicBezTo>
                <a:cubicBezTo>
                  <a:pt x="3036446" y="479171"/>
                  <a:pt x="3046712" y="481527"/>
                  <a:pt x="3056472" y="481527"/>
                </a:cubicBezTo>
                <a:cubicBezTo>
                  <a:pt x="3068250" y="481527"/>
                  <a:pt x="3078010" y="478078"/>
                  <a:pt x="3085752" y="471178"/>
                </a:cubicBezTo>
                <a:cubicBezTo>
                  <a:pt x="3093492" y="464279"/>
                  <a:pt x="3097362" y="454435"/>
                  <a:pt x="3097362" y="441646"/>
                </a:cubicBezTo>
                <a:cubicBezTo>
                  <a:pt x="3097362" y="432559"/>
                  <a:pt x="3094248" y="423641"/>
                  <a:pt x="3088022" y="414890"/>
                </a:cubicBezTo>
                <a:cubicBezTo>
                  <a:pt x="3081796" y="406140"/>
                  <a:pt x="3073888" y="397053"/>
                  <a:pt x="3064296" y="387630"/>
                </a:cubicBezTo>
                <a:cubicBezTo>
                  <a:pt x="3054704" y="378206"/>
                  <a:pt x="3044440" y="368362"/>
                  <a:pt x="3033502" y="358097"/>
                </a:cubicBezTo>
                <a:cubicBezTo>
                  <a:pt x="3022564" y="347833"/>
                  <a:pt x="3012298" y="336727"/>
                  <a:pt x="3002708" y="324779"/>
                </a:cubicBezTo>
                <a:cubicBezTo>
                  <a:pt x="2993116" y="312831"/>
                  <a:pt x="2985206" y="299790"/>
                  <a:pt x="2978980" y="285655"/>
                </a:cubicBezTo>
                <a:cubicBezTo>
                  <a:pt x="2972754" y="271520"/>
                  <a:pt x="2969642" y="256039"/>
                  <a:pt x="2969642" y="239211"/>
                </a:cubicBezTo>
                <a:cubicBezTo>
                  <a:pt x="2969642" y="237192"/>
                  <a:pt x="2969558" y="233658"/>
                  <a:pt x="2969388" y="228610"/>
                </a:cubicBezTo>
                <a:cubicBezTo>
                  <a:pt x="2969220" y="223562"/>
                  <a:pt x="2969640" y="219355"/>
                  <a:pt x="2970650" y="215989"/>
                </a:cubicBezTo>
                <a:lnTo>
                  <a:pt x="3174600" y="215989"/>
                </a:lnTo>
                <a:lnTo>
                  <a:pt x="3174600" y="267481"/>
                </a:lnTo>
                <a:lnTo>
                  <a:pt x="3040316" y="267481"/>
                </a:lnTo>
                <a:cubicBezTo>
                  <a:pt x="3040316" y="272530"/>
                  <a:pt x="3042084" y="278083"/>
                  <a:pt x="3045618" y="284141"/>
                </a:cubicBezTo>
                <a:cubicBezTo>
                  <a:pt x="3049152" y="290198"/>
                  <a:pt x="3053442" y="296172"/>
                  <a:pt x="3058490" y="302062"/>
                </a:cubicBezTo>
                <a:cubicBezTo>
                  <a:pt x="3063538" y="307952"/>
                  <a:pt x="3068924" y="313673"/>
                  <a:pt x="3074644" y="319226"/>
                </a:cubicBezTo>
                <a:cubicBezTo>
                  <a:pt x="3080366" y="324779"/>
                  <a:pt x="3085414" y="329575"/>
                  <a:pt x="3089790" y="333613"/>
                </a:cubicBezTo>
                <a:cubicBezTo>
                  <a:pt x="3098540" y="341691"/>
                  <a:pt x="3107122" y="350104"/>
                  <a:pt x="3115536" y="358855"/>
                </a:cubicBezTo>
                <a:cubicBezTo>
                  <a:pt x="3123950" y="367605"/>
                  <a:pt x="3131522" y="376692"/>
                  <a:pt x="3138252" y="386115"/>
                </a:cubicBezTo>
                <a:cubicBezTo>
                  <a:pt x="3144984" y="395539"/>
                  <a:pt x="3150368" y="405214"/>
                  <a:pt x="3154408" y="415143"/>
                </a:cubicBezTo>
                <a:cubicBezTo>
                  <a:pt x="3158446" y="425071"/>
                  <a:pt x="3160464" y="435420"/>
                  <a:pt x="3160464" y="446189"/>
                </a:cubicBezTo>
                <a:cubicBezTo>
                  <a:pt x="3160464" y="460998"/>
                  <a:pt x="3157772" y="474039"/>
                  <a:pt x="3152388" y="485313"/>
                </a:cubicBezTo>
                <a:cubicBezTo>
                  <a:pt x="3147002" y="496588"/>
                  <a:pt x="3139766" y="505927"/>
                  <a:pt x="3130680" y="513331"/>
                </a:cubicBezTo>
                <a:cubicBezTo>
                  <a:pt x="3121594" y="520735"/>
                  <a:pt x="3111160" y="526288"/>
                  <a:pt x="3099382" y="529990"/>
                </a:cubicBezTo>
                <a:cubicBezTo>
                  <a:pt x="3087602" y="533692"/>
                  <a:pt x="3075318" y="535544"/>
                  <a:pt x="3062528" y="535544"/>
                </a:cubicBezTo>
                <a:close/>
                <a:moveTo>
                  <a:pt x="2292890" y="561290"/>
                </a:moveTo>
                <a:cubicBezTo>
                  <a:pt x="2282120" y="561290"/>
                  <a:pt x="2272949" y="557756"/>
                  <a:pt x="2265377" y="550688"/>
                </a:cubicBezTo>
                <a:cubicBezTo>
                  <a:pt x="2257805" y="543621"/>
                  <a:pt x="2254018" y="533861"/>
                  <a:pt x="2254018" y="521408"/>
                </a:cubicBezTo>
                <a:cubicBezTo>
                  <a:pt x="2254018" y="509293"/>
                  <a:pt x="2257805" y="499701"/>
                  <a:pt x="2265377" y="492633"/>
                </a:cubicBezTo>
                <a:cubicBezTo>
                  <a:pt x="2272949" y="485566"/>
                  <a:pt x="2282120" y="482032"/>
                  <a:pt x="2292890" y="482032"/>
                </a:cubicBezTo>
                <a:cubicBezTo>
                  <a:pt x="2303660" y="482032"/>
                  <a:pt x="2312914" y="485566"/>
                  <a:pt x="2320655" y="492633"/>
                </a:cubicBezTo>
                <a:cubicBezTo>
                  <a:pt x="2328396" y="499701"/>
                  <a:pt x="2332266" y="509293"/>
                  <a:pt x="2332266" y="521408"/>
                </a:cubicBezTo>
                <a:cubicBezTo>
                  <a:pt x="2332266" y="533861"/>
                  <a:pt x="2328396" y="543621"/>
                  <a:pt x="2320655" y="550688"/>
                </a:cubicBezTo>
                <a:cubicBezTo>
                  <a:pt x="2312914" y="557756"/>
                  <a:pt x="2303660" y="561290"/>
                  <a:pt x="2292890" y="561290"/>
                </a:cubicBezTo>
                <a:close/>
                <a:moveTo>
                  <a:pt x="1959420" y="563309"/>
                </a:moveTo>
                <a:lnTo>
                  <a:pt x="1959420" y="511817"/>
                </a:lnTo>
                <a:lnTo>
                  <a:pt x="2025047" y="511817"/>
                </a:lnTo>
                <a:lnTo>
                  <a:pt x="2025047" y="310392"/>
                </a:lnTo>
                <a:cubicBezTo>
                  <a:pt x="2025047" y="277746"/>
                  <a:pt x="2031610" y="252926"/>
                  <a:pt x="2044735" y="235930"/>
                </a:cubicBezTo>
                <a:cubicBezTo>
                  <a:pt x="2057860" y="218934"/>
                  <a:pt x="2078727" y="210436"/>
                  <a:pt x="2107333" y="210436"/>
                </a:cubicBezTo>
                <a:cubicBezTo>
                  <a:pt x="2117767" y="210436"/>
                  <a:pt x="2127106" y="211109"/>
                  <a:pt x="2135351" y="212455"/>
                </a:cubicBezTo>
                <a:cubicBezTo>
                  <a:pt x="2143597" y="213802"/>
                  <a:pt x="2150580" y="215400"/>
                  <a:pt x="2156302" y="217251"/>
                </a:cubicBezTo>
                <a:cubicBezTo>
                  <a:pt x="2162023" y="219102"/>
                  <a:pt x="2166650" y="220869"/>
                  <a:pt x="2170184" y="222552"/>
                </a:cubicBezTo>
                <a:cubicBezTo>
                  <a:pt x="2173718" y="224235"/>
                  <a:pt x="2175990" y="225413"/>
                  <a:pt x="2176999" y="226086"/>
                </a:cubicBezTo>
                <a:lnTo>
                  <a:pt x="2168922" y="276063"/>
                </a:lnTo>
                <a:cubicBezTo>
                  <a:pt x="2166230" y="275054"/>
                  <a:pt x="2160677" y="272866"/>
                  <a:pt x="2152263" y="269501"/>
                </a:cubicBezTo>
                <a:cubicBezTo>
                  <a:pt x="2143849" y="266135"/>
                  <a:pt x="2133416" y="264452"/>
                  <a:pt x="2120964" y="264452"/>
                </a:cubicBezTo>
                <a:cubicBezTo>
                  <a:pt x="2111204" y="264452"/>
                  <a:pt x="2103126" y="267313"/>
                  <a:pt x="2096732" y="273034"/>
                </a:cubicBezTo>
                <a:cubicBezTo>
                  <a:pt x="2090338" y="278756"/>
                  <a:pt x="2087140" y="289694"/>
                  <a:pt x="2087140" y="305848"/>
                </a:cubicBezTo>
                <a:lnTo>
                  <a:pt x="2087140" y="563309"/>
                </a:lnTo>
                <a:close/>
                <a:moveTo>
                  <a:pt x="1607052" y="565833"/>
                </a:moveTo>
                <a:cubicBezTo>
                  <a:pt x="1594263" y="565833"/>
                  <a:pt x="1581811" y="564234"/>
                  <a:pt x="1569695" y="561037"/>
                </a:cubicBezTo>
                <a:cubicBezTo>
                  <a:pt x="1557579" y="557840"/>
                  <a:pt x="1546810" y="552455"/>
                  <a:pt x="1537386" y="544883"/>
                </a:cubicBezTo>
                <a:cubicBezTo>
                  <a:pt x="1527963" y="537310"/>
                  <a:pt x="1520474" y="527214"/>
                  <a:pt x="1514921" y="514593"/>
                </a:cubicBezTo>
                <a:cubicBezTo>
                  <a:pt x="1509368" y="501973"/>
                  <a:pt x="1506592" y="486071"/>
                  <a:pt x="1506592" y="466887"/>
                </a:cubicBezTo>
                <a:lnTo>
                  <a:pt x="1506592" y="453257"/>
                </a:lnTo>
                <a:lnTo>
                  <a:pt x="1454595" y="453257"/>
                </a:lnTo>
                <a:lnTo>
                  <a:pt x="1454595" y="401765"/>
                </a:lnTo>
                <a:lnTo>
                  <a:pt x="1506592" y="401765"/>
                </a:lnTo>
                <a:lnTo>
                  <a:pt x="1506592" y="215989"/>
                </a:lnTo>
                <a:lnTo>
                  <a:pt x="1569190" y="215989"/>
                </a:lnTo>
                <a:lnTo>
                  <a:pt x="1569190" y="401765"/>
                </a:lnTo>
                <a:lnTo>
                  <a:pt x="1666621" y="401765"/>
                </a:lnTo>
                <a:lnTo>
                  <a:pt x="1666621" y="453257"/>
                </a:lnTo>
                <a:lnTo>
                  <a:pt x="1569190" y="453257"/>
                </a:lnTo>
                <a:lnTo>
                  <a:pt x="1569190" y="465878"/>
                </a:lnTo>
                <a:cubicBezTo>
                  <a:pt x="1569190" y="475974"/>
                  <a:pt x="1570368" y="484135"/>
                  <a:pt x="1572724" y="490362"/>
                </a:cubicBezTo>
                <a:cubicBezTo>
                  <a:pt x="1575080" y="496588"/>
                  <a:pt x="1578193" y="501384"/>
                  <a:pt x="1582063" y="504749"/>
                </a:cubicBezTo>
                <a:cubicBezTo>
                  <a:pt x="1585933" y="508115"/>
                  <a:pt x="1590477" y="510302"/>
                  <a:pt x="1595693" y="511312"/>
                </a:cubicBezTo>
                <a:cubicBezTo>
                  <a:pt x="1600910" y="512322"/>
                  <a:pt x="1606379" y="512826"/>
                  <a:pt x="1612100" y="512826"/>
                </a:cubicBezTo>
                <a:cubicBezTo>
                  <a:pt x="1622533" y="512826"/>
                  <a:pt x="1633555" y="511396"/>
                  <a:pt x="1645166" y="508535"/>
                </a:cubicBezTo>
                <a:cubicBezTo>
                  <a:pt x="1656777" y="505675"/>
                  <a:pt x="1666453" y="502898"/>
                  <a:pt x="1674194" y="500206"/>
                </a:cubicBezTo>
                <a:lnTo>
                  <a:pt x="1684795" y="550688"/>
                </a:lnTo>
                <a:cubicBezTo>
                  <a:pt x="1673689" y="556073"/>
                  <a:pt x="1661236" y="559943"/>
                  <a:pt x="1647438" y="562299"/>
                </a:cubicBezTo>
                <a:cubicBezTo>
                  <a:pt x="1633639" y="564655"/>
                  <a:pt x="1620178" y="565833"/>
                  <a:pt x="1607052" y="565833"/>
                </a:cubicBezTo>
                <a:close/>
                <a:moveTo>
                  <a:pt x="0" y="796029"/>
                </a:moveTo>
                <a:lnTo>
                  <a:pt x="4876802" y="796029"/>
                </a:lnTo>
                <a:lnTo>
                  <a:pt x="4824822" y="344498"/>
                </a:lnTo>
                <a:cubicBezTo>
                  <a:pt x="4801968" y="145891"/>
                  <a:pt x="4682292" y="207"/>
                  <a:pt x="4541980" y="155"/>
                </a:cubicBezTo>
                <a:lnTo>
                  <a:pt x="0" y="0"/>
                </a:lnTo>
                <a:close/>
              </a:path>
            </a:pathLst>
          </a:custGeom>
          <a:solidFill>
            <a:schemeClr val="bg1"/>
          </a:solidFill>
          <a:ln w="2834" cap="flat">
            <a:noFill/>
            <a:prstDash val="solid"/>
            <a:miter/>
          </a:ln>
        </p:spPr>
        <p:txBody>
          <a:bodyPr wrap="square" rtlCol="0" anchor="ctr">
            <a:noAutofit/>
          </a:bodyPr>
          <a:lstStyle/>
          <a:p>
            <a:endParaRPr lang="en-US" dirty="0"/>
          </a:p>
        </p:txBody>
      </p:sp>
      <p:pic>
        <p:nvPicPr>
          <p:cNvPr id="8" name="Imagen 7" descr="Un dibujo de una cara feliz&#10;&#10;Descripción generada automáticamente con confianza baja">
            <a:extLst>
              <a:ext uri="{FF2B5EF4-FFF2-40B4-BE49-F238E27FC236}">
                <a16:creationId xmlns:a16="http://schemas.microsoft.com/office/drawing/2014/main" id="{A82FAAE7-F450-2EFB-B470-9CA2B285AACF}"/>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7824450" y="406400"/>
            <a:ext cx="1801936" cy="934010"/>
          </a:xfrm>
          <a:prstGeom prst="rect">
            <a:avLst/>
          </a:prstGeom>
        </p:spPr>
      </p:pic>
      <p:sp>
        <p:nvSpPr>
          <p:cNvPr id="10" name="Título 9">
            <a:extLst>
              <a:ext uri="{FF2B5EF4-FFF2-40B4-BE49-F238E27FC236}">
                <a16:creationId xmlns:a16="http://schemas.microsoft.com/office/drawing/2014/main" id="{7E8DAFFC-ADDB-1273-AA91-4852BCB21C8E}"/>
              </a:ext>
            </a:extLst>
          </p:cNvPr>
          <p:cNvSpPr>
            <a:spLocks noGrp="1"/>
          </p:cNvSpPr>
          <p:nvPr>
            <p:ph type="title" hasCustomPrompt="1"/>
          </p:nvPr>
        </p:nvSpPr>
        <p:spPr>
          <a:xfrm>
            <a:off x="7104380" y="1495932"/>
            <a:ext cx="10692384" cy="646331"/>
          </a:xfrm>
        </p:spPr>
        <p:txBody>
          <a:bodyPr/>
          <a:lstStyle>
            <a:lvl1pPr>
              <a:defRPr sz="4200" b="1" i="0">
                <a:solidFill>
                  <a:schemeClr val="bg1"/>
                </a:solidFill>
                <a:latin typeface="Ubuntu" panose="020B0504030602030204" pitchFamily="34" charset="0"/>
              </a:defRPr>
            </a:lvl1pPr>
          </a:lstStyle>
          <a:p>
            <a:r>
              <a:rPr lang="es-ES" dirty="0"/>
              <a:t>ASDFASFD</a:t>
            </a:r>
          </a:p>
        </p:txBody>
      </p:sp>
      <p:sp>
        <p:nvSpPr>
          <p:cNvPr id="11" name="object 12">
            <a:extLst>
              <a:ext uri="{FF2B5EF4-FFF2-40B4-BE49-F238E27FC236}">
                <a16:creationId xmlns:a16="http://schemas.microsoft.com/office/drawing/2014/main" id="{527854C5-8C21-D1AB-7E04-F771C691CE29}"/>
              </a:ext>
            </a:extLst>
          </p:cNvPr>
          <p:cNvSpPr txBox="1"/>
          <p:nvPr userDrawn="1"/>
        </p:nvSpPr>
        <p:spPr>
          <a:xfrm>
            <a:off x="7104380" y="807573"/>
            <a:ext cx="9881870" cy="567463"/>
          </a:xfrm>
          <a:prstGeom prst="rect">
            <a:avLst/>
          </a:prstGeom>
        </p:spPr>
        <p:txBody>
          <a:bodyPr vert="horz" wrap="square" lIns="0" tIns="13335" rIns="0" bIns="0" rtlCol="0">
            <a:spAutoFit/>
          </a:bodyPr>
          <a:lstStyle/>
          <a:p>
            <a:pPr marL="12700">
              <a:lnSpc>
                <a:spcPct val="100000"/>
              </a:lnSpc>
              <a:spcBef>
                <a:spcPts val="105"/>
              </a:spcBef>
            </a:pPr>
            <a:r>
              <a:rPr lang="en-US" sz="3600" spc="-30" dirty="0">
                <a:solidFill>
                  <a:srgbClr val="12A9D8"/>
                </a:solidFill>
                <a:latin typeface="Ubuntu Mono" panose="020B0509030602030204" pitchFamily="49" charset="0"/>
                <a:cs typeface="Ubuntu"/>
              </a:rPr>
              <a:t>Thinking about…</a:t>
            </a:r>
            <a:endParaRPr lang="en-US" sz="3600" dirty="0">
              <a:solidFill>
                <a:srgbClr val="12A9D8"/>
              </a:solidFill>
              <a:latin typeface="Ubuntu"/>
              <a:cs typeface="Ubuntu"/>
            </a:endParaRPr>
          </a:p>
        </p:txBody>
      </p:sp>
      <p:sp>
        <p:nvSpPr>
          <p:cNvPr id="15" name="Marcador de texto 14">
            <a:extLst>
              <a:ext uri="{FF2B5EF4-FFF2-40B4-BE49-F238E27FC236}">
                <a16:creationId xmlns:a16="http://schemas.microsoft.com/office/drawing/2014/main" id="{894536B8-BEFF-96E8-2A83-A0B97363D840}"/>
              </a:ext>
            </a:extLst>
          </p:cNvPr>
          <p:cNvSpPr>
            <a:spLocks noGrp="1"/>
          </p:cNvSpPr>
          <p:nvPr>
            <p:ph type="body" sz="quarter" idx="10"/>
          </p:nvPr>
        </p:nvSpPr>
        <p:spPr>
          <a:xfrm>
            <a:off x="7104380" y="3225800"/>
            <a:ext cx="12244070" cy="6931641"/>
          </a:xfrm>
          <a:prstGeom prst="rect">
            <a:avLst/>
          </a:prstGeom>
        </p:spPr>
        <p:txBody>
          <a:bodyPr/>
          <a:lstStyle>
            <a:lvl1pPr>
              <a:defRPr sz="2900" b="0" i="0">
                <a:solidFill>
                  <a:schemeClr val="bg1"/>
                </a:solidFill>
                <a:latin typeface="Ubuntu Light" panose="020B0304030602030204" pitchFamily="34" charset="0"/>
              </a:defRPr>
            </a:lvl1pPr>
            <a:lvl2pPr>
              <a:defRPr sz="2900" b="0" i="0">
                <a:solidFill>
                  <a:schemeClr val="bg1"/>
                </a:solidFill>
                <a:latin typeface="Ubuntu Light" panose="020B0304030602030204" pitchFamily="34" charset="0"/>
              </a:defRPr>
            </a:lvl2pPr>
            <a:lvl3pPr>
              <a:defRPr sz="2900" b="0" i="0">
                <a:solidFill>
                  <a:schemeClr val="bg1"/>
                </a:solidFill>
                <a:latin typeface="Ubuntu Light" panose="020B0304030602030204" pitchFamily="34" charset="0"/>
              </a:defRPr>
            </a:lvl3pPr>
            <a:lvl4pPr>
              <a:defRPr sz="2900" b="0" i="0">
                <a:solidFill>
                  <a:schemeClr val="bg1"/>
                </a:solidFill>
                <a:latin typeface="Ubuntu Light" panose="020B0304030602030204" pitchFamily="34" charset="0"/>
              </a:defRPr>
            </a:lvl4pPr>
            <a:lvl5pPr>
              <a:defRPr sz="2900" b="0" i="0">
                <a:solidFill>
                  <a:schemeClr val="bg1"/>
                </a:solidFill>
                <a:latin typeface="Ubuntu Light" panose="020B0304030602030204" pitchFamily="34" charset="0"/>
              </a:defRPr>
            </a:lvl5pPr>
          </a:lstStyle>
          <a:p>
            <a:pPr lvl="0"/>
            <a:r>
              <a:rPr lang="es-ES" dirty="0"/>
              <a:t>Haga clic para modificar los estilos de texto del patrón</a:t>
            </a:r>
          </a:p>
          <a:p>
            <a:pPr lvl="1"/>
            <a:r>
              <a:rPr lang="es-ES" dirty="0"/>
              <a:t>Segundo nivel</a:t>
            </a:r>
          </a:p>
          <a:p>
            <a:pPr lvl="2"/>
            <a:r>
              <a:rPr lang="es-ES" dirty="0"/>
              <a:t> nivel</a:t>
            </a:r>
          </a:p>
          <a:p>
            <a:pPr lvl="3"/>
            <a:r>
              <a:rPr lang="es-ES" dirty="0"/>
              <a:t>Cuarto nivel</a:t>
            </a:r>
          </a:p>
          <a:p>
            <a:pPr lvl="4"/>
            <a:r>
              <a:rPr lang="es-ES" dirty="0"/>
              <a:t>Quinto nivel</a:t>
            </a:r>
          </a:p>
        </p:txBody>
      </p:sp>
      <p:sp>
        <p:nvSpPr>
          <p:cNvPr id="16" name="CuadroTexto 15">
            <a:extLst>
              <a:ext uri="{FF2B5EF4-FFF2-40B4-BE49-F238E27FC236}">
                <a16:creationId xmlns:a16="http://schemas.microsoft.com/office/drawing/2014/main" id="{9D153551-888E-2E4A-C9F1-C375C679B619}"/>
              </a:ext>
            </a:extLst>
          </p:cNvPr>
          <p:cNvSpPr txBox="1"/>
          <p:nvPr userDrawn="1"/>
        </p:nvSpPr>
        <p:spPr>
          <a:xfrm>
            <a:off x="4870450" y="-151634"/>
            <a:ext cx="3200400" cy="4508927"/>
          </a:xfrm>
          <a:prstGeom prst="rect">
            <a:avLst/>
          </a:prstGeom>
          <a:noFill/>
        </p:spPr>
        <p:txBody>
          <a:bodyPr wrap="square" rtlCol="0">
            <a:spAutoFit/>
          </a:bodyPr>
          <a:lstStyle/>
          <a:p>
            <a:r>
              <a:rPr lang="es-ES" sz="28700" b="1" i="0" dirty="0">
                <a:solidFill>
                  <a:srgbClr val="12A9D8"/>
                </a:solidFill>
                <a:latin typeface="Ubuntu" panose="020B0504030602030204" pitchFamily="34" charset="0"/>
              </a:rPr>
              <a:t>?</a:t>
            </a:r>
          </a:p>
        </p:txBody>
      </p:sp>
    </p:spTree>
    <p:extLst>
      <p:ext uri="{BB962C8B-B14F-4D97-AF65-F5344CB8AC3E}">
        <p14:creationId xmlns:p14="http://schemas.microsoft.com/office/powerpoint/2010/main" val="248432306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0_Title and Content">
    <p:spTree>
      <p:nvGrpSpPr>
        <p:cNvPr id="1" name=""/>
        <p:cNvGrpSpPr/>
        <p:nvPr/>
      </p:nvGrpSpPr>
      <p:grpSpPr>
        <a:xfrm>
          <a:off x="0" y="0"/>
          <a:ext cx="0" cy="0"/>
          <a:chOff x="0" y="0"/>
          <a:chExt cx="0" cy="0"/>
        </a:xfrm>
      </p:grpSpPr>
      <p:pic>
        <p:nvPicPr>
          <p:cNvPr id="7" name="Imagen 6" descr="Una planta en un bosque&#10;&#10;Descripción generada automáticamente con confianza media">
            <a:extLst>
              <a:ext uri="{FF2B5EF4-FFF2-40B4-BE49-F238E27FC236}">
                <a16:creationId xmlns:a16="http://schemas.microsoft.com/office/drawing/2014/main" id="{8F7E2781-54A5-0526-6441-F3F37BC78BFF}"/>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6348730" cy="11346153"/>
          </a:xfrm>
          <a:prstGeom prst="rect">
            <a:avLst/>
          </a:prstGeom>
        </p:spPr>
      </p:pic>
      <p:sp>
        <p:nvSpPr>
          <p:cNvPr id="3" name="Rectángulo 2">
            <a:extLst>
              <a:ext uri="{FF2B5EF4-FFF2-40B4-BE49-F238E27FC236}">
                <a16:creationId xmlns:a16="http://schemas.microsoft.com/office/drawing/2014/main" id="{8E2A0C8C-2F63-07D5-D3ED-F129D31CE088}"/>
              </a:ext>
            </a:extLst>
          </p:cNvPr>
          <p:cNvSpPr/>
          <p:nvPr userDrawn="1"/>
        </p:nvSpPr>
        <p:spPr>
          <a:xfrm>
            <a:off x="6318250" y="-17753"/>
            <a:ext cx="13785850" cy="11346153"/>
          </a:xfrm>
          <a:prstGeom prst="rect">
            <a:avLst/>
          </a:prstGeom>
          <a:solidFill>
            <a:srgbClr val="330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4" name="Holder 4"/>
          <p:cNvSpPr>
            <a:spLocks noGrp="1"/>
          </p:cNvSpPr>
          <p:nvPr>
            <p:ph type="ftr" sz="quarter" idx="5"/>
          </p:nvPr>
        </p:nvSpPr>
        <p:spPr>
          <a:xfrm>
            <a:off x="16647741" y="10759212"/>
            <a:ext cx="2962677" cy="200055"/>
          </a:xfrm>
          <a:prstGeom prst="rect">
            <a:avLst/>
          </a:prstGeom>
        </p:spPr>
        <p:txBody>
          <a:bodyPr lIns="0" tIns="0" rIns="0" bIns="0"/>
          <a:lstStyle>
            <a:lvl1pPr>
              <a:defRPr sz="1300" b="0" i="0">
                <a:solidFill>
                  <a:schemeClr val="bg1"/>
                </a:solidFill>
                <a:latin typeface="Ubuntu Light"/>
                <a:cs typeface="Ubuntu Light"/>
              </a:defRPr>
            </a:lvl1pPr>
          </a:lstStyle>
          <a:p>
            <a:pPr marL="26034">
              <a:spcBef>
                <a:spcPts val="30"/>
              </a:spcBef>
            </a:pPr>
            <a:r>
              <a:rPr lang="es-ES" dirty="0"/>
              <a:t>Public</a:t>
            </a:r>
            <a:r>
              <a:rPr lang="es-ES" spc="-40" dirty="0"/>
              <a:t> </a:t>
            </a:r>
            <a:r>
              <a:rPr lang="es-ES" dirty="0"/>
              <a:t>©</a:t>
            </a:r>
            <a:r>
              <a:rPr lang="es-ES" spc="-40" dirty="0"/>
              <a:t> </a:t>
            </a:r>
            <a:r>
              <a:rPr lang="es-ES" dirty="0"/>
              <a:t>2023</a:t>
            </a:r>
            <a:r>
              <a:rPr lang="es-ES" spc="-40" dirty="0"/>
              <a:t> </a:t>
            </a:r>
            <a:r>
              <a:rPr lang="es-ES" spc="-10" dirty="0"/>
              <a:t>Sogeti.</a:t>
            </a:r>
            <a:r>
              <a:rPr lang="es-ES" spc="-35" dirty="0"/>
              <a:t> </a:t>
            </a:r>
            <a:r>
              <a:rPr lang="es-ES" dirty="0" err="1"/>
              <a:t>All</a:t>
            </a:r>
            <a:r>
              <a:rPr lang="es-ES" spc="-40" dirty="0"/>
              <a:t> </a:t>
            </a:r>
            <a:r>
              <a:rPr lang="es-ES" dirty="0"/>
              <a:t>rights</a:t>
            </a:r>
            <a:r>
              <a:rPr lang="es-ES" spc="-40" dirty="0"/>
              <a:t> </a:t>
            </a:r>
            <a:r>
              <a:rPr lang="es-ES" spc="-10" dirty="0" err="1"/>
              <a:t>reserved</a:t>
            </a:r>
            <a:endParaRPr lang="es-ES" spc="-10" dirty="0"/>
          </a:p>
        </p:txBody>
      </p:sp>
      <p:sp>
        <p:nvSpPr>
          <p:cNvPr id="2" name="CuadroTexto 1">
            <a:extLst>
              <a:ext uri="{FF2B5EF4-FFF2-40B4-BE49-F238E27FC236}">
                <a16:creationId xmlns:a16="http://schemas.microsoft.com/office/drawing/2014/main" id="{72E5CF79-7DA3-E21E-3060-87CB44907F25}"/>
              </a:ext>
            </a:extLst>
          </p:cNvPr>
          <p:cNvSpPr txBox="1"/>
          <p:nvPr userDrawn="1"/>
        </p:nvSpPr>
        <p:spPr>
          <a:xfrm>
            <a:off x="755650" y="10845800"/>
            <a:ext cx="7772400" cy="292388"/>
          </a:xfrm>
          <a:prstGeom prst="rect">
            <a:avLst/>
          </a:prstGeom>
          <a:noFill/>
        </p:spPr>
        <p:txBody>
          <a:bodyPr wrap="square" rtlCol="0">
            <a:spAutoFit/>
          </a:bodyPr>
          <a:lstStyle/>
          <a:p>
            <a:r>
              <a:rPr lang="es-ES" sz="1300" b="0" i="0" dirty="0">
                <a:solidFill>
                  <a:schemeClr val="bg1"/>
                </a:solidFill>
                <a:latin typeface="Ubuntu Medium" panose="020B0504030602030204" pitchFamily="34" charset="0"/>
              </a:rPr>
              <a:t>#FlourishingDigitalBusinessWithQuality </a:t>
            </a:r>
            <a:r>
              <a:rPr lang="es-ES" sz="1300" b="1" i="0" dirty="0">
                <a:solidFill>
                  <a:schemeClr val="bg1"/>
                </a:solidFill>
                <a:latin typeface="Ubuntu" panose="020B0504030602030204" pitchFamily="34" charset="0"/>
              </a:rPr>
              <a:t> </a:t>
            </a:r>
            <a:r>
              <a:rPr lang="es-ES" sz="1300" b="1" i="0" dirty="0">
                <a:solidFill>
                  <a:srgbClr val="290E3B"/>
                </a:solidFill>
                <a:latin typeface="Ubuntu" panose="020B0504030602030204" pitchFamily="34" charset="0"/>
              </a:rPr>
              <a:t>·</a:t>
            </a:r>
            <a:r>
              <a:rPr lang="es-ES" sz="1300" b="0" i="0" dirty="0">
                <a:solidFill>
                  <a:schemeClr val="tx2"/>
                </a:solidFill>
                <a:latin typeface="Ubuntu Medium" panose="020B0504030602030204" pitchFamily="34" charset="0"/>
              </a:rPr>
              <a:t>   </a:t>
            </a:r>
            <a:r>
              <a:rPr lang="es-ES" sz="1300" b="1" i="0" dirty="0">
                <a:solidFill>
                  <a:srgbClr val="12A9D8"/>
                </a:solidFill>
                <a:latin typeface="Ubuntu" panose="020B0504030602030204" pitchFamily="34" charset="0"/>
              </a:rPr>
              <a:t>Sogeti España</a:t>
            </a:r>
          </a:p>
        </p:txBody>
      </p:sp>
      <p:sp>
        <p:nvSpPr>
          <p:cNvPr id="5" name="Forma libre 4">
            <a:extLst>
              <a:ext uri="{FF2B5EF4-FFF2-40B4-BE49-F238E27FC236}">
                <a16:creationId xmlns:a16="http://schemas.microsoft.com/office/drawing/2014/main" id="{FBAABD7F-C513-9B40-6AE2-E43DB3944CCE}"/>
              </a:ext>
            </a:extLst>
          </p:cNvPr>
          <p:cNvSpPr/>
          <p:nvPr userDrawn="1"/>
        </p:nvSpPr>
        <p:spPr>
          <a:xfrm flipV="1">
            <a:off x="755650" y="10384024"/>
            <a:ext cx="2362200" cy="385576"/>
          </a:xfrm>
          <a:custGeom>
            <a:avLst/>
            <a:gdLst/>
            <a:ahLst/>
            <a:cxnLst/>
            <a:rect l="l" t="t" r="r" b="b"/>
            <a:pathLst>
              <a:path w="4876802" h="796029">
                <a:moveTo>
                  <a:pt x="2572782" y="405299"/>
                </a:moveTo>
                <a:cubicBezTo>
                  <a:pt x="2589609" y="405299"/>
                  <a:pt x="2601809" y="398820"/>
                  <a:pt x="2609382" y="385863"/>
                </a:cubicBezTo>
                <a:cubicBezTo>
                  <a:pt x="2616954" y="372906"/>
                  <a:pt x="2620740" y="355826"/>
                  <a:pt x="2620740" y="334623"/>
                </a:cubicBezTo>
                <a:cubicBezTo>
                  <a:pt x="2620740" y="313420"/>
                  <a:pt x="2616618" y="296256"/>
                  <a:pt x="2608372" y="283131"/>
                </a:cubicBezTo>
                <a:cubicBezTo>
                  <a:pt x="2600126" y="270006"/>
                  <a:pt x="2587927" y="263443"/>
                  <a:pt x="2571772" y="263443"/>
                </a:cubicBezTo>
                <a:cubicBezTo>
                  <a:pt x="2554945" y="263443"/>
                  <a:pt x="2542744" y="270006"/>
                  <a:pt x="2535172" y="283131"/>
                </a:cubicBezTo>
                <a:cubicBezTo>
                  <a:pt x="2527600" y="296256"/>
                  <a:pt x="2523814" y="313420"/>
                  <a:pt x="2523814" y="334623"/>
                </a:cubicBezTo>
                <a:cubicBezTo>
                  <a:pt x="2523814" y="355826"/>
                  <a:pt x="2527937" y="372906"/>
                  <a:pt x="2536182" y="385863"/>
                </a:cubicBezTo>
                <a:cubicBezTo>
                  <a:pt x="2544428" y="398820"/>
                  <a:pt x="2556628" y="405299"/>
                  <a:pt x="2572782" y="405299"/>
                </a:cubicBezTo>
                <a:close/>
                <a:moveTo>
                  <a:pt x="1810782" y="405299"/>
                </a:moveTo>
                <a:cubicBezTo>
                  <a:pt x="1827610" y="405299"/>
                  <a:pt x="1839810" y="398820"/>
                  <a:pt x="1847382" y="385863"/>
                </a:cubicBezTo>
                <a:cubicBezTo>
                  <a:pt x="1854954" y="372906"/>
                  <a:pt x="1858740" y="355826"/>
                  <a:pt x="1858740" y="334623"/>
                </a:cubicBezTo>
                <a:cubicBezTo>
                  <a:pt x="1858740" y="313420"/>
                  <a:pt x="1854618" y="296256"/>
                  <a:pt x="1846372" y="283131"/>
                </a:cubicBezTo>
                <a:cubicBezTo>
                  <a:pt x="1838127" y="270006"/>
                  <a:pt x="1825927" y="263443"/>
                  <a:pt x="1809772" y="263443"/>
                </a:cubicBezTo>
                <a:cubicBezTo>
                  <a:pt x="1792945" y="263443"/>
                  <a:pt x="1780745" y="270006"/>
                  <a:pt x="1773173" y="283131"/>
                </a:cubicBezTo>
                <a:cubicBezTo>
                  <a:pt x="1765600" y="296256"/>
                  <a:pt x="1761814" y="313420"/>
                  <a:pt x="1761814" y="334623"/>
                </a:cubicBezTo>
                <a:cubicBezTo>
                  <a:pt x="1761814" y="355826"/>
                  <a:pt x="1765937" y="372906"/>
                  <a:pt x="1774182" y="385863"/>
                </a:cubicBezTo>
                <a:cubicBezTo>
                  <a:pt x="1782428" y="398820"/>
                  <a:pt x="1794628" y="405299"/>
                  <a:pt x="1810782" y="405299"/>
                </a:cubicBezTo>
                <a:close/>
                <a:moveTo>
                  <a:pt x="810657" y="405299"/>
                </a:moveTo>
                <a:cubicBezTo>
                  <a:pt x="827485" y="405299"/>
                  <a:pt x="839684" y="398820"/>
                  <a:pt x="847257" y="385863"/>
                </a:cubicBezTo>
                <a:cubicBezTo>
                  <a:pt x="854829" y="372906"/>
                  <a:pt x="858615" y="355826"/>
                  <a:pt x="858616" y="334623"/>
                </a:cubicBezTo>
                <a:cubicBezTo>
                  <a:pt x="858615" y="313420"/>
                  <a:pt x="854493" y="296256"/>
                  <a:pt x="846247" y="283131"/>
                </a:cubicBezTo>
                <a:cubicBezTo>
                  <a:pt x="838002" y="270006"/>
                  <a:pt x="825802" y="263443"/>
                  <a:pt x="809647" y="263443"/>
                </a:cubicBezTo>
                <a:cubicBezTo>
                  <a:pt x="792820" y="263443"/>
                  <a:pt x="780620" y="270006"/>
                  <a:pt x="773048" y="283131"/>
                </a:cubicBezTo>
                <a:cubicBezTo>
                  <a:pt x="765475" y="296256"/>
                  <a:pt x="761689" y="313420"/>
                  <a:pt x="761689" y="334623"/>
                </a:cubicBezTo>
                <a:cubicBezTo>
                  <a:pt x="761689" y="355826"/>
                  <a:pt x="765812" y="372906"/>
                  <a:pt x="774057" y="385863"/>
                </a:cubicBezTo>
                <a:cubicBezTo>
                  <a:pt x="782303" y="398820"/>
                  <a:pt x="794503" y="405299"/>
                  <a:pt x="810657" y="405299"/>
                </a:cubicBezTo>
                <a:close/>
                <a:moveTo>
                  <a:pt x="3325256" y="411861"/>
                </a:moveTo>
                <a:cubicBezTo>
                  <a:pt x="3316506" y="411861"/>
                  <a:pt x="3309608" y="408496"/>
                  <a:pt x="3304560" y="401765"/>
                </a:cubicBezTo>
                <a:cubicBezTo>
                  <a:pt x="3299512" y="395034"/>
                  <a:pt x="3296988" y="387125"/>
                  <a:pt x="3296988" y="378038"/>
                </a:cubicBezTo>
                <a:cubicBezTo>
                  <a:pt x="3296988" y="368951"/>
                  <a:pt x="3299512" y="361126"/>
                  <a:pt x="3304560" y="354564"/>
                </a:cubicBezTo>
                <a:cubicBezTo>
                  <a:pt x="3309608" y="348001"/>
                  <a:pt x="3316506" y="344720"/>
                  <a:pt x="3325256" y="344720"/>
                </a:cubicBezTo>
                <a:cubicBezTo>
                  <a:pt x="3333334" y="344720"/>
                  <a:pt x="3339980" y="348001"/>
                  <a:pt x="3345198" y="354564"/>
                </a:cubicBezTo>
                <a:cubicBezTo>
                  <a:pt x="3350414" y="361126"/>
                  <a:pt x="3353022" y="368951"/>
                  <a:pt x="3353022" y="378038"/>
                </a:cubicBezTo>
                <a:cubicBezTo>
                  <a:pt x="3353022" y="387125"/>
                  <a:pt x="3350414" y="395034"/>
                  <a:pt x="3345198" y="401765"/>
                </a:cubicBezTo>
                <a:cubicBezTo>
                  <a:pt x="3339980" y="408496"/>
                  <a:pt x="3333334" y="411861"/>
                  <a:pt x="3325256" y="411861"/>
                </a:cubicBezTo>
                <a:close/>
                <a:moveTo>
                  <a:pt x="2207070" y="453257"/>
                </a:moveTo>
                <a:lnTo>
                  <a:pt x="2207070" y="401765"/>
                </a:lnTo>
                <a:lnTo>
                  <a:pt x="2272697" y="401765"/>
                </a:lnTo>
                <a:lnTo>
                  <a:pt x="2272697" y="314430"/>
                </a:lnTo>
                <a:cubicBezTo>
                  <a:pt x="2272697" y="297939"/>
                  <a:pt x="2274043" y="283299"/>
                  <a:pt x="2276735" y="270510"/>
                </a:cubicBezTo>
                <a:cubicBezTo>
                  <a:pt x="2279428" y="257721"/>
                  <a:pt x="2284055" y="246868"/>
                  <a:pt x="2290618" y="237949"/>
                </a:cubicBezTo>
                <a:cubicBezTo>
                  <a:pt x="2297181" y="229031"/>
                  <a:pt x="2305931" y="222215"/>
                  <a:pt x="2316869" y="217504"/>
                </a:cubicBezTo>
                <a:cubicBezTo>
                  <a:pt x="2327807" y="212792"/>
                  <a:pt x="2341353" y="210436"/>
                  <a:pt x="2357508" y="210436"/>
                </a:cubicBezTo>
                <a:cubicBezTo>
                  <a:pt x="2366931" y="210436"/>
                  <a:pt x="2377280" y="211530"/>
                  <a:pt x="2388554" y="213718"/>
                </a:cubicBezTo>
                <a:cubicBezTo>
                  <a:pt x="2399829" y="215905"/>
                  <a:pt x="2411860" y="220028"/>
                  <a:pt x="2424649" y="226086"/>
                </a:cubicBezTo>
                <a:lnTo>
                  <a:pt x="2416572" y="276063"/>
                </a:lnTo>
                <a:cubicBezTo>
                  <a:pt x="2406475" y="271352"/>
                  <a:pt x="2397388" y="268239"/>
                  <a:pt x="2389312" y="266724"/>
                </a:cubicBezTo>
                <a:cubicBezTo>
                  <a:pt x="2381234" y="265210"/>
                  <a:pt x="2374335" y="264452"/>
                  <a:pt x="2368614" y="264452"/>
                </a:cubicBezTo>
                <a:cubicBezTo>
                  <a:pt x="2356498" y="264452"/>
                  <a:pt x="2347832" y="267902"/>
                  <a:pt x="2342615" y="274801"/>
                </a:cubicBezTo>
                <a:cubicBezTo>
                  <a:pt x="2337398" y="281701"/>
                  <a:pt x="2334790" y="292218"/>
                  <a:pt x="2334790" y="306353"/>
                </a:cubicBezTo>
                <a:lnTo>
                  <a:pt x="2334790" y="453257"/>
                </a:lnTo>
                <a:close/>
                <a:moveTo>
                  <a:pt x="1088092" y="457800"/>
                </a:moveTo>
                <a:cubicBezTo>
                  <a:pt x="1064870" y="457800"/>
                  <a:pt x="1044593" y="455949"/>
                  <a:pt x="1027260" y="452247"/>
                </a:cubicBezTo>
                <a:cubicBezTo>
                  <a:pt x="1009928" y="448545"/>
                  <a:pt x="993016" y="443665"/>
                  <a:pt x="976526" y="437607"/>
                </a:cubicBezTo>
                <a:lnTo>
                  <a:pt x="976526" y="215989"/>
                </a:lnTo>
                <a:lnTo>
                  <a:pt x="1039124" y="215989"/>
                </a:lnTo>
                <a:lnTo>
                  <a:pt x="1039124" y="392173"/>
                </a:lnTo>
                <a:cubicBezTo>
                  <a:pt x="1047874" y="394529"/>
                  <a:pt x="1056456" y="396128"/>
                  <a:pt x="1064870" y="396969"/>
                </a:cubicBezTo>
                <a:cubicBezTo>
                  <a:pt x="1073284" y="397810"/>
                  <a:pt x="1081866" y="398231"/>
                  <a:pt x="1090616" y="398231"/>
                </a:cubicBezTo>
                <a:cubicBezTo>
                  <a:pt x="1094318" y="398231"/>
                  <a:pt x="1098861" y="398063"/>
                  <a:pt x="1104246" y="397726"/>
                </a:cubicBezTo>
                <a:cubicBezTo>
                  <a:pt x="1109631" y="397390"/>
                  <a:pt x="1115184" y="396801"/>
                  <a:pt x="1120905" y="395959"/>
                </a:cubicBezTo>
                <a:cubicBezTo>
                  <a:pt x="1126627" y="395118"/>
                  <a:pt x="1132264" y="394192"/>
                  <a:pt x="1137817" y="393183"/>
                </a:cubicBezTo>
                <a:cubicBezTo>
                  <a:pt x="1143370" y="392173"/>
                  <a:pt x="1148166" y="391164"/>
                  <a:pt x="1152205" y="390154"/>
                </a:cubicBezTo>
                <a:lnTo>
                  <a:pt x="1163311" y="447704"/>
                </a:lnTo>
                <a:cubicBezTo>
                  <a:pt x="1157589" y="449723"/>
                  <a:pt x="1151111" y="451322"/>
                  <a:pt x="1143875" y="452500"/>
                </a:cubicBezTo>
                <a:cubicBezTo>
                  <a:pt x="1136639" y="453678"/>
                  <a:pt x="1129487" y="454687"/>
                  <a:pt x="1122420" y="455529"/>
                </a:cubicBezTo>
                <a:cubicBezTo>
                  <a:pt x="1115352" y="456370"/>
                  <a:pt x="1108706" y="456959"/>
                  <a:pt x="1102479" y="457296"/>
                </a:cubicBezTo>
                <a:cubicBezTo>
                  <a:pt x="1096253" y="457632"/>
                  <a:pt x="1091457" y="457800"/>
                  <a:pt x="1088092" y="457800"/>
                </a:cubicBezTo>
                <a:close/>
                <a:moveTo>
                  <a:pt x="2572782" y="459315"/>
                </a:moveTo>
                <a:cubicBezTo>
                  <a:pt x="2556628" y="459315"/>
                  <a:pt x="2541651" y="456370"/>
                  <a:pt x="2527852" y="450480"/>
                </a:cubicBezTo>
                <a:cubicBezTo>
                  <a:pt x="2514054" y="444591"/>
                  <a:pt x="2502190" y="436177"/>
                  <a:pt x="2492262" y="425239"/>
                </a:cubicBezTo>
                <a:cubicBezTo>
                  <a:pt x="2482334" y="414301"/>
                  <a:pt x="2474594" y="401176"/>
                  <a:pt x="2469040" y="385863"/>
                </a:cubicBezTo>
                <a:cubicBezTo>
                  <a:pt x="2463487" y="370550"/>
                  <a:pt x="2460711" y="353638"/>
                  <a:pt x="2460711" y="335128"/>
                </a:cubicBezTo>
                <a:cubicBezTo>
                  <a:pt x="2460711" y="316281"/>
                  <a:pt x="2463403" y="299201"/>
                  <a:pt x="2468788" y="283888"/>
                </a:cubicBezTo>
                <a:cubicBezTo>
                  <a:pt x="2474173" y="268575"/>
                  <a:pt x="2481829" y="255366"/>
                  <a:pt x="2491758" y="244259"/>
                </a:cubicBezTo>
                <a:cubicBezTo>
                  <a:pt x="2501686" y="233153"/>
                  <a:pt x="2513465" y="224571"/>
                  <a:pt x="2527095" y="218513"/>
                </a:cubicBezTo>
                <a:cubicBezTo>
                  <a:pt x="2540726" y="212455"/>
                  <a:pt x="2555954" y="209427"/>
                  <a:pt x="2572782" y="209427"/>
                </a:cubicBezTo>
                <a:cubicBezTo>
                  <a:pt x="2589609" y="209427"/>
                  <a:pt x="2604838" y="212455"/>
                  <a:pt x="2618468" y="218513"/>
                </a:cubicBezTo>
                <a:cubicBezTo>
                  <a:pt x="2632098" y="224571"/>
                  <a:pt x="2643794" y="233153"/>
                  <a:pt x="2653554" y="244259"/>
                </a:cubicBezTo>
                <a:cubicBezTo>
                  <a:pt x="2663314" y="255366"/>
                  <a:pt x="2670886" y="268575"/>
                  <a:pt x="2676271" y="283888"/>
                </a:cubicBezTo>
                <a:cubicBezTo>
                  <a:pt x="2681656" y="299201"/>
                  <a:pt x="2684348" y="316281"/>
                  <a:pt x="2684348" y="335128"/>
                </a:cubicBezTo>
                <a:cubicBezTo>
                  <a:pt x="2684348" y="353638"/>
                  <a:pt x="2681656" y="370550"/>
                  <a:pt x="2676271" y="385863"/>
                </a:cubicBezTo>
                <a:cubicBezTo>
                  <a:pt x="2670886" y="401176"/>
                  <a:pt x="2663230" y="414301"/>
                  <a:pt x="2653302" y="425239"/>
                </a:cubicBezTo>
                <a:cubicBezTo>
                  <a:pt x="2643373" y="436177"/>
                  <a:pt x="2631594" y="444591"/>
                  <a:pt x="2617964" y="450480"/>
                </a:cubicBezTo>
                <a:cubicBezTo>
                  <a:pt x="2604334" y="456370"/>
                  <a:pt x="2589273" y="459315"/>
                  <a:pt x="2572782" y="459315"/>
                </a:cubicBezTo>
                <a:close/>
                <a:moveTo>
                  <a:pt x="1810782" y="459315"/>
                </a:moveTo>
                <a:cubicBezTo>
                  <a:pt x="1794628" y="459315"/>
                  <a:pt x="1779651" y="456370"/>
                  <a:pt x="1765853" y="450480"/>
                </a:cubicBezTo>
                <a:cubicBezTo>
                  <a:pt x="1752054" y="444591"/>
                  <a:pt x="1740191" y="436177"/>
                  <a:pt x="1730262" y="425239"/>
                </a:cubicBezTo>
                <a:cubicBezTo>
                  <a:pt x="1720334" y="414301"/>
                  <a:pt x="1712594" y="401176"/>
                  <a:pt x="1707040" y="385863"/>
                </a:cubicBezTo>
                <a:cubicBezTo>
                  <a:pt x="1701488" y="370550"/>
                  <a:pt x="1698711" y="353638"/>
                  <a:pt x="1698711" y="335128"/>
                </a:cubicBezTo>
                <a:cubicBezTo>
                  <a:pt x="1698711" y="316281"/>
                  <a:pt x="1701403" y="299201"/>
                  <a:pt x="1706788" y="283888"/>
                </a:cubicBezTo>
                <a:cubicBezTo>
                  <a:pt x="1712173" y="268575"/>
                  <a:pt x="1719829" y="255366"/>
                  <a:pt x="1729758" y="244259"/>
                </a:cubicBezTo>
                <a:cubicBezTo>
                  <a:pt x="1739686" y="233153"/>
                  <a:pt x="1751465" y="224571"/>
                  <a:pt x="1765095" y="218513"/>
                </a:cubicBezTo>
                <a:cubicBezTo>
                  <a:pt x="1778726" y="212455"/>
                  <a:pt x="1793954" y="209427"/>
                  <a:pt x="1810782" y="209427"/>
                </a:cubicBezTo>
                <a:cubicBezTo>
                  <a:pt x="1827610" y="209427"/>
                  <a:pt x="1842838" y="212455"/>
                  <a:pt x="1856469" y="218513"/>
                </a:cubicBezTo>
                <a:cubicBezTo>
                  <a:pt x="1870099" y="224571"/>
                  <a:pt x="1881794" y="233153"/>
                  <a:pt x="1891554" y="244259"/>
                </a:cubicBezTo>
                <a:cubicBezTo>
                  <a:pt x="1901314" y="255366"/>
                  <a:pt x="1908886" y="268575"/>
                  <a:pt x="1914271" y="283888"/>
                </a:cubicBezTo>
                <a:cubicBezTo>
                  <a:pt x="1919656" y="299201"/>
                  <a:pt x="1922348" y="316281"/>
                  <a:pt x="1922348" y="335128"/>
                </a:cubicBezTo>
                <a:cubicBezTo>
                  <a:pt x="1922348" y="353638"/>
                  <a:pt x="1919656" y="370550"/>
                  <a:pt x="1914271" y="385863"/>
                </a:cubicBezTo>
                <a:cubicBezTo>
                  <a:pt x="1908886" y="401176"/>
                  <a:pt x="1901230" y="414301"/>
                  <a:pt x="1891302" y="425239"/>
                </a:cubicBezTo>
                <a:cubicBezTo>
                  <a:pt x="1881374" y="436177"/>
                  <a:pt x="1869594" y="444591"/>
                  <a:pt x="1855964" y="450480"/>
                </a:cubicBezTo>
                <a:cubicBezTo>
                  <a:pt x="1842334" y="456370"/>
                  <a:pt x="1827273" y="459315"/>
                  <a:pt x="1810782" y="459315"/>
                </a:cubicBezTo>
                <a:close/>
                <a:moveTo>
                  <a:pt x="810657" y="459315"/>
                </a:moveTo>
                <a:cubicBezTo>
                  <a:pt x="794503" y="459315"/>
                  <a:pt x="779526" y="456370"/>
                  <a:pt x="765728" y="450480"/>
                </a:cubicBezTo>
                <a:cubicBezTo>
                  <a:pt x="751929" y="444591"/>
                  <a:pt x="740066" y="436177"/>
                  <a:pt x="730138" y="425239"/>
                </a:cubicBezTo>
                <a:cubicBezTo>
                  <a:pt x="720209" y="414301"/>
                  <a:pt x="712469" y="401176"/>
                  <a:pt x="706916" y="385863"/>
                </a:cubicBezTo>
                <a:cubicBezTo>
                  <a:pt x="701362" y="370550"/>
                  <a:pt x="698586" y="353638"/>
                  <a:pt x="698586" y="335128"/>
                </a:cubicBezTo>
                <a:cubicBezTo>
                  <a:pt x="698586" y="316281"/>
                  <a:pt x="701278" y="299201"/>
                  <a:pt x="706663" y="283888"/>
                </a:cubicBezTo>
                <a:cubicBezTo>
                  <a:pt x="712048" y="268575"/>
                  <a:pt x="719704" y="255366"/>
                  <a:pt x="729633" y="244259"/>
                </a:cubicBezTo>
                <a:cubicBezTo>
                  <a:pt x="739561" y="233153"/>
                  <a:pt x="751340" y="224571"/>
                  <a:pt x="764970" y="218513"/>
                </a:cubicBezTo>
                <a:cubicBezTo>
                  <a:pt x="778601" y="212455"/>
                  <a:pt x="793830" y="209427"/>
                  <a:pt x="810657" y="209427"/>
                </a:cubicBezTo>
                <a:cubicBezTo>
                  <a:pt x="827485" y="209427"/>
                  <a:pt x="842713" y="212455"/>
                  <a:pt x="856344" y="218513"/>
                </a:cubicBezTo>
                <a:cubicBezTo>
                  <a:pt x="869974" y="224571"/>
                  <a:pt x="881669" y="233153"/>
                  <a:pt x="891429" y="244259"/>
                </a:cubicBezTo>
                <a:cubicBezTo>
                  <a:pt x="901189" y="255366"/>
                  <a:pt x="908761" y="268575"/>
                  <a:pt x="914146" y="283888"/>
                </a:cubicBezTo>
                <a:cubicBezTo>
                  <a:pt x="919531" y="299201"/>
                  <a:pt x="922223" y="316281"/>
                  <a:pt x="922223" y="335128"/>
                </a:cubicBezTo>
                <a:cubicBezTo>
                  <a:pt x="922223" y="353638"/>
                  <a:pt x="919531" y="370550"/>
                  <a:pt x="914146" y="385863"/>
                </a:cubicBezTo>
                <a:cubicBezTo>
                  <a:pt x="908761" y="401176"/>
                  <a:pt x="901105" y="414301"/>
                  <a:pt x="891177" y="425239"/>
                </a:cubicBezTo>
                <a:cubicBezTo>
                  <a:pt x="881248" y="436177"/>
                  <a:pt x="869469" y="444591"/>
                  <a:pt x="855839" y="450480"/>
                </a:cubicBezTo>
                <a:cubicBezTo>
                  <a:pt x="842209" y="456370"/>
                  <a:pt x="827148" y="459315"/>
                  <a:pt x="810657" y="459315"/>
                </a:cubicBezTo>
                <a:close/>
                <a:moveTo>
                  <a:pt x="546919" y="477993"/>
                </a:moveTo>
                <a:cubicBezTo>
                  <a:pt x="563410" y="477993"/>
                  <a:pt x="576620" y="474207"/>
                  <a:pt x="586548" y="466635"/>
                </a:cubicBezTo>
                <a:cubicBezTo>
                  <a:pt x="596476" y="459062"/>
                  <a:pt x="601441" y="446189"/>
                  <a:pt x="601441" y="428016"/>
                </a:cubicBezTo>
                <a:cubicBezTo>
                  <a:pt x="601441" y="408832"/>
                  <a:pt x="596392" y="395286"/>
                  <a:pt x="586296" y="387377"/>
                </a:cubicBezTo>
                <a:cubicBezTo>
                  <a:pt x="576199" y="379468"/>
                  <a:pt x="561223" y="375514"/>
                  <a:pt x="541366" y="375514"/>
                </a:cubicBezTo>
                <a:lnTo>
                  <a:pt x="516125" y="375514"/>
                </a:lnTo>
                <a:lnTo>
                  <a:pt x="516125" y="476479"/>
                </a:lnTo>
                <a:cubicBezTo>
                  <a:pt x="519827" y="477152"/>
                  <a:pt x="524960" y="477573"/>
                  <a:pt x="531522" y="477741"/>
                </a:cubicBezTo>
                <a:cubicBezTo>
                  <a:pt x="538085" y="477909"/>
                  <a:pt x="543217" y="477993"/>
                  <a:pt x="546919" y="477993"/>
                </a:cubicBezTo>
                <a:close/>
                <a:moveTo>
                  <a:pt x="3324752" y="482537"/>
                </a:moveTo>
                <a:cubicBezTo>
                  <a:pt x="3341916" y="482537"/>
                  <a:pt x="3354958" y="473198"/>
                  <a:pt x="3363876" y="454519"/>
                </a:cubicBezTo>
                <a:cubicBezTo>
                  <a:pt x="3372794" y="435841"/>
                  <a:pt x="3377254" y="408664"/>
                  <a:pt x="3377254" y="372990"/>
                </a:cubicBezTo>
                <a:cubicBezTo>
                  <a:pt x="3377254" y="336979"/>
                  <a:pt x="3372794" y="309634"/>
                  <a:pt x="3363876" y="290956"/>
                </a:cubicBezTo>
                <a:cubicBezTo>
                  <a:pt x="3354958" y="272277"/>
                  <a:pt x="3341916" y="262938"/>
                  <a:pt x="3324752" y="262938"/>
                </a:cubicBezTo>
                <a:cubicBezTo>
                  <a:pt x="3307924" y="262938"/>
                  <a:pt x="3294968" y="272277"/>
                  <a:pt x="3285880" y="290956"/>
                </a:cubicBezTo>
                <a:cubicBezTo>
                  <a:pt x="3276794" y="309634"/>
                  <a:pt x="3272250" y="336979"/>
                  <a:pt x="3272250" y="372990"/>
                </a:cubicBezTo>
                <a:cubicBezTo>
                  <a:pt x="3272250" y="408664"/>
                  <a:pt x="3276794" y="435841"/>
                  <a:pt x="3285880" y="454519"/>
                </a:cubicBezTo>
                <a:cubicBezTo>
                  <a:pt x="3294968" y="473198"/>
                  <a:pt x="3307924" y="482537"/>
                  <a:pt x="3324752" y="482537"/>
                </a:cubicBezTo>
                <a:close/>
                <a:moveTo>
                  <a:pt x="1323054" y="522923"/>
                </a:moveTo>
                <a:lnTo>
                  <a:pt x="1260961" y="512826"/>
                </a:lnTo>
                <a:lnTo>
                  <a:pt x="1260961" y="453257"/>
                </a:lnTo>
                <a:lnTo>
                  <a:pt x="1206945" y="453257"/>
                </a:lnTo>
                <a:lnTo>
                  <a:pt x="1206945" y="401765"/>
                </a:lnTo>
                <a:lnTo>
                  <a:pt x="1260961" y="401765"/>
                </a:lnTo>
                <a:lnTo>
                  <a:pt x="1260961" y="304334"/>
                </a:lnTo>
                <a:cubicBezTo>
                  <a:pt x="1260961" y="284477"/>
                  <a:pt x="1262980" y="268407"/>
                  <a:pt x="1267019" y="256123"/>
                </a:cubicBezTo>
                <a:cubicBezTo>
                  <a:pt x="1271057" y="243839"/>
                  <a:pt x="1276947" y="234331"/>
                  <a:pt x="1284688" y="227600"/>
                </a:cubicBezTo>
                <a:cubicBezTo>
                  <a:pt x="1292428" y="220869"/>
                  <a:pt x="1301852" y="216326"/>
                  <a:pt x="1312958" y="213970"/>
                </a:cubicBezTo>
                <a:cubicBezTo>
                  <a:pt x="1324064" y="211614"/>
                  <a:pt x="1336853" y="210436"/>
                  <a:pt x="1351325" y="210436"/>
                </a:cubicBezTo>
                <a:cubicBezTo>
                  <a:pt x="1363777" y="210436"/>
                  <a:pt x="1376650" y="211446"/>
                  <a:pt x="1389944" y="213465"/>
                </a:cubicBezTo>
                <a:cubicBezTo>
                  <a:pt x="1403238" y="215484"/>
                  <a:pt x="1415606" y="218850"/>
                  <a:pt x="1427048" y="223562"/>
                </a:cubicBezTo>
                <a:lnTo>
                  <a:pt x="1418466" y="277073"/>
                </a:lnTo>
                <a:cubicBezTo>
                  <a:pt x="1412745" y="274381"/>
                  <a:pt x="1407444" y="272193"/>
                  <a:pt x="1402564" y="270510"/>
                </a:cubicBezTo>
                <a:cubicBezTo>
                  <a:pt x="1397684" y="268828"/>
                  <a:pt x="1392973" y="267566"/>
                  <a:pt x="1388429" y="266724"/>
                </a:cubicBezTo>
                <a:cubicBezTo>
                  <a:pt x="1383886" y="265883"/>
                  <a:pt x="1379174" y="265294"/>
                  <a:pt x="1374294" y="264957"/>
                </a:cubicBezTo>
                <a:cubicBezTo>
                  <a:pt x="1369414" y="264621"/>
                  <a:pt x="1364114" y="264452"/>
                  <a:pt x="1358392" y="264452"/>
                </a:cubicBezTo>
                <a:cubicBezTo>
                  <a:pt x="1353007" y="264452"/>
                  <a:pt x="1348127" y="264957"/>
                  <a:pt x="1343752" y="265967"/>
                </a:cubicBezTo>
                <a:cubicBezTo>
                  <a:pt x="1339377" y="266977"/>
                  <a:pt x="1335675" y="268996"/>
                  <a:pt x="1332646" y="272025"/>
                </a:cubicBezTo>
                <a:cubicBezTo>
                  <a:pt x="1329617" y="275054"/>
                  <a:pt x="1327261" y="279261"/>
                  <a:pt x="1325579" y="284645"/>
                </a:cubicBezTo>
                <a:cubicBezTo>
                  <a:pt x="1323896" y="290030"/>
                  <a:pt x="1323054" y="297098"/>
                  <a:pt x="1323054" y="305848"/>
                </a:cubicBezTo>
                <a:lnTo>
                  <a:pt x="1323054" y="401765"/>
                </a:lnTo>
                <a:lnTo>
                  <a:pt x="1422505" y="401765"/>
                </a:lnTo>
                <a:lnTo>
                  <a:pt x="1422505" y="453257"/>
                </a:lnTo>
                <a:lnTo>
                  <a:pt x="1323054" y="453257"/>
                </a:lnTo>
                <a:close/>
                <a:moveTo>
                  <a:pt x="539852" y="532010"/>
                </a:moveTo>
                <a:cubicBezTo>
                  <a:pt x="534131" y="532010"/>
                  <a:pt x="527568" y="531841"/>
                  <a:pt x="520164" y="531505"/>
                </a:cubicBezTo>
                <a:cubicBezTo>
                  <a:pt x="512760" y="531168"/>
                  <a:pt x="505187" y="530748"/>
                  <a:pt x="497447" y="530243"/>
                </a:cubicBezTo>
                <a:cubicBezTo>
                  <a:pt x="489706" y="529738"/>
                  <a:pt x="482049" y="528981"/>
                  <a:pt x="474477" y="527971"/>
                </a:cubicBezTo>
                <a:cubicBezTo>
                  <a:pt x="466905" y="526961"/>
                  <a:pt x="460090" y="525784"/>
                  <a:pt x="454032" y="524437"/>
                </a:cubicBezTo>
                <a:lnTo>
                  <a:pt x="454032" y="215989"/>
                </a:lnTo>
                <a:lnTo>
                  <a:pt x="516125" y="215989"/>
                </a:lnTo>
                <a:lnTo>
                  <a:pt x="516125" y="321498"/>
                </a:lnTo>
                <a:lnTo>
                  <a:pt x="538337" y="321498"/>
                </a:lnTo>
                <a:cubicBezTo>
                  <a:pt x="578723" y="321498"/>
                  <a:pt x="609938" y="329827"/>
                  <a:pt x="631982" y="346486"/>
                </a:cubicBezTo>
                <a:cubicBezTo>
                  <a:pt x="654026" y="363146"/>
                  <a:pt x="665048" y="390154"/>
                  <a:pt x="665048" y="427511"/>
                </a:cubicBezTo>
                <a:cubicBezTo>
                  <a:pt x="665048" y="464531"/>
                  <a:pt x="654111" y="491203"/>
                  <a:pt x="632235" y="507526"/>
                </a:cubicBezTo>
                <a:cubicBezTo>
                  <a:pt x="610359" y="523848"/>
                  <a:pt x="579565" y="532010"/>
                  <a:pt x="539852" y="532010"/>
                </a:cubicBezTo>
                <a:close/>
                <a:moveTo>
                  <a:pt x="3816452" y="535544"/>
                </a:moveTo>
                <a:cubicBezTo>
                  <a:pt x="3797604" y="535544"/>
                  <a:pt x="3780694" y="532430"/>
                  <a:pt x="3765716" y="526204"/>
                </a:cubicBezTo>
                <a:cubicBezTo>
                  <a:pt x="3750740" y="519978"/>
                  <a:pt x="3738708" y="513836"/>
                  <a:pt x="3729622" y="507778"/>
                </a:cubicBezTo>
                <a:lnTo>
                  <a:pt x="3751834" y="462344"/>
                </a:lnTo>
                <a:cubicBezTo>
                  <a:pt x="3760248" y="468065"/>
                  <a:pt x="3770260" y="472861"/>
                  <a:pt x="3781872" y="476731"/>
                </a:cubicBezTo>
                <a:cubicBezTo>
                  <a:pt x="3793482" y="480602"/>
                  <a:pt x="3805178" y="482537"/>
                  <a:pt x="3816956" y="482537"/>
                </a:cubicBezTo>
                <a:cubicBezTo>
                  <a:pt x="3829072" y="482537"/>
                  <a:pt x="3838580" y="479255"/>
                  <a:pt x="3845480" y="472693"/>
                </a:cubicBezTo>
                <a:cubicBezTo>
                  <a:pt x="3852378" y="466130"/>
                  <a:pt x="3855828" y="457127"/>
                  <a:pt x="3855828" y="445685"/>
                </a:cubicBezTo>
                <a:cubicBezTo>
                  <a:pt x="3855828" y="437944"/>
                  <a:pt x="3854230" y="431550"/>
                  <a:pt x="3851032" y="426501"/>
                </a:cubicBezTo>
                <a:cubicBezTo>
                  <a:pt x="3847836" y="421453"/>
                  <a:pt x="3843712" y="417414"/>
                  <a:pt x="3838664" y="414385"/>
                </a:cubicBezTo>
                <a:cubicBezTo>
                  <a:pt x="3833616" y="411357"/>
                  <a:pt x="3827894" y="409169"/>
                  <a:pt x="3821500" y="407823"/>
                </a:cubicBezTo>
                <a:cubicBezTo>
                  <a:pt x="3815106" y="406477"/>
                  <a:pt x="3808712" y="405803"/>
                  <a:pt x="3802316" y="405803"/>
                </a:cubicBezTo>
                <a:lnTo>
                  <a:pt x="3779094" y="405803"/>
                </a:lnTo>
                <a:lnTo>
                  <a:pt x="3779094" y="354311"/>
                </a:lnTo>
                <a:lnTo>
                  <a:pt x="3798278" y="354311"/>
                </a:lnTo>
                <a:cubicBezTo>
                  <a:pt x="3818470" y="354311"/>
                  <a:pt x="3835130" y="351030"/>
                  <a:pt x="3848256" y="344467"/>
                </a:cubicBezTo>
                <a:cubicBezTo>
                  <a:pt x="3861380" y="337904"/>
                  <a:pt x="3867944" y="326378"/>
                  <a:pt x="3867944" y="309887"/>
                </a:cubicBezTo>
                <a:cubicBezTo>
                  <a:pt x="3867944" y="296425"/>
                  <a:pt x="3863652" y="285150"/>
                  <a:pt x="3855072" y="276063"/>
                </a:cubicBezTo>
                <a:cubicBezTo>
                  <a:pt x="3846488" y="266977"/>
                  <a:pt x="3831596" y="262433"/>
                  <a:pt x="3810394" y="262433"/>
                </a:cubicBezTo>
                <a:cubicBezTo>
                  <a:pt x="3793230" y="262433"/>
                  <a:pt x="3778506" y="264284"/>
                  <a:pt x="3766222" y="267986"/>
                </a:cubicBezTo>
                <a:cubicBezTo>
                  <a:pt x="3753938" y="271688"/>
                  <a:pt x="3743924" y="275222"/>
                  <a:pt x="3736184" y="278588"/>
                </a:cubicBezTo>
                <a:lnTo>
                  <a:pt x="3724068" y="226591"/>
                </a:lnTo>
                <a:cubicBezTo>
                  <a:pt x="3727770" y="224908"/>
                  <a:pt x="3732988" y="223057"/>
                  <a:pt x="3739718" y="221037"/>
                </a:cubicBezTo>
                <a:cubicBezTo>
                  <a:pt x="3746450" y="219018"/>
                  <a:pt x="3753770" y="217167"/>
                  <a:pt x="3761678" y="215484"/>
                </a:cubicBezTo>
                <a:cubicBezTo>
                  <a:pt x="3769588" y="213802"/>
                  <a:pt x="3777832" y="212371"/>
                  <a:pt x="3786414" y="211193"/>
                </a:cubicBezTo>
                <a:cubicBezTo>
                  <a:pt x="3794996" y="210015"/>
                  <a:pt x="3803158" y="209427"/>
                  <a:pt x="3810898" y="209427"/>
                </a:cubicBezTo>
                <a:cubicBezTo>
                  <a:pt x="3831764" y="209427"/>
                  <a:pt x="3849770" y="211867"/>
                  <a:pt x="3864916" y="216746"/>
                </a:cubicBezTo>
                <a:cubicBezTo>
                  <a:pt x="3880060" y="221626"/>
                  <a:pt x="3892512" y="228526"/>
                  <a:pt x="3902272" y="237444"/>
                </a:cubicBezTo>
                <a:cubicBezTo>
                  <a:pt x="3912032" y="246363"/>
                  <a:pt x="3919268" y="256880"/>
                  <a:pt x="3923980" y="268996"/>
                </a:cubicBezTo>
                <a:cubicBezTo>
                  <a:pt x="3928692" y="281112"/>
                  <a:pt x="3931048" y="294405"/>
                  <a:pt x="3931048" y="308877"/>
                </a:cubicBezTo>
                <a:cubicBezTo>
                  <a:pt x="3931048" y="327051"/>
                  <a:pt x="3926588" y="342700"/>
                  <a:pt x="3917668" y="355826"/>
                </a:cubicBezTo>
                <a:cubicBezTo>
                  <a:pt x="3908750" y="368951"/>
                  <a:pt x="3896214" y="378879"/>
                  <a:pt x="3880060" y="385610"/>
                </a:cubicBezTo>
                <a:cubicBezTo>
                  <a:pt x="3891840" y="391668"/>
                  <a:pt x="3901262" y="400419"/>
                  <a:pt x="3908330" y="411861"/>
                </a:cubicBezTo>
                <a:cubicBezTo>
                  <a:pt x="3915398" y="423304"/>
                  <a:pt x="3918932" y="435252"/>
                  <a:pt x="3918932" y="447704"/>
                </a:cubicBezTo>
                <a:cubicBezTo>
                  <a:pt x="3918932" y="460156"/>
                  <a:pt x="3916912" y="471767"/>
                  <a:pt x="3912874" y="482537"/>
                </a:cubicBezTo>
                <a:cubicBezTo>
                  <a:pt x="3908834" y="493306"/>
                  <a:pt x="3902608" y="502646"/>
                  <a:pt x="3894196" y="510555"/>
                </a:cubicBezTo>
                <a:cubicBezTo>
                  <a:pt x="3885780" y="518464"/>
                  <a:pt x="3875096" y="524606"/>
                  <a:pt x="3862138" y="528981"/>
                </a:cubicBezTo>
                <a:cubicBezTo>
                  <a:pt x="3849180" y="533356"/>
                  <a:pt x="3833952" y="535544"/>
                  <a:pt x="3816452" y="535544"/>
                </a:cubicBezTo>
                <a:close/>
                <a:moveTo>
                  <a:pt x="3567354" y="535544"/>
                </a:moveTo>
                <a:cubicBezTo>
                  <a:pt x="3549854" y="535544"/>
                  <a:pt x="3532268" y="532178"/>
                  <a:pt x="3514600" y="525447"/>
                </a:cubicBezTo>
                <a:cubicBezTo>
                  <a:pt x="3496930" y="518716"/>
                  <a:pt x="3481366" y="508283"/>
                  <a:pt x="3467904" y="494148"/>
                </a:cubicBezTo>
                <a:lnTo>
                  <a:pt x="3498698" y="450733"/>
                </a:lnTo>
                <a:cubicBezTo>
                  <a:pt x="3509130" y="461839"/>
                  <a:pt x="3519732" y="469748"/>
                  <a:pt x="3530502" y="474460"/>
                </a:cubicBezTo>
                <a:cubicBezTo>
                  <a:pt x="3541272" y="479171"/>
                  <a:pt x="3551536" y="481527"/>
                  <a:pt x="3561296" y="481527"/>
                </a:cubicBezTo>
                <a:cubicBezTo>
                  <a:pt x="3573076" y="481527"/>
                  <a:pt x="3582836" y="478078"/>
                  <a:pt x="3590576" y="471178"/>
                </a:cubicBezTo>
                <a:cubicBezTo>
                  <a:pt x="3598316" y="464279"/>
                  <a:pt x="3602186" y="454435"/>
                  <a:pt x="3602188" y="441646"/>
                </a:cubicBezTo>
                <a:cubicBezTo>
                  <a:pt x="3602186" y="432559"/>
                  <a:pt x="3599074" y="423641"/>
                  <a:pt x="3592848" y="414890"/>
                </a:cubicBezTo>
                <a:cubicBezTo>
                  <a:pt x="3586622" y="406140"/>
                  <a:pt x="3578712" y="397053"/>
                  <a:pt x="3569120" y="387630"/>
                </a:cubicBezTo>
                <a:cubicBezTo>
                  <a:pt x="3559528" y="378206"/>
                  <a:pt x="3549264" y="368362"/>
                  <a:pt x="3538326" y="358097"/>
                </a:cubicBezTo>
                <a:cubicBezTo>
                  <a:pt x="3527388" y="347833"/>
                  <a:pt x="3517124" y="336727"/>
                  <a:pt x="3507532" y="324779"/>
                </a:cubicBezTo>
                <a:cubicBezTo>
                  <a:pt x="3497940" y="312831"/>
                  <a:pt x="3490032" y="299790"/>
                  <a:pt x="3483806" y="285655"/>
                </a:cubicBezTo>
                <a:cubicBezTo>
                  <a:pt x="3477580" y="271520"/>
                  <a:pt x="3474466" y="256039"/>
                  <a:pt x="3474466" y="239211"/>
                </a:cubicBezTo>
                <a:cubicBezTo>
                  <a:pt x="3474466" y="237192"/>
                  <a:pt x="3474382" y="233658"/>
                  <a:pt x="3474214" y="228610"/>
                </a:cubicBezTo>
                <a:cubicBezTo>
                  <a:pt x="3474046" y="223562"/>
                  <a:pt x="3474466" y="219355"/>
                  <a:pt x="3475476" y="215989"/>
                </a:cubicBezTo>
                <a:lnTo>
                  <a:pt x="3679426" y="215989"/>
                </a:lnTo>
                <a:lnTo>
                  <a:pt x="3679426" y="267481"/>
                </a:lnTo>
                <a:lnTo>
                  <a:pt x="3545142" y="267481"/>
                </a:lnTo>
                <a:cubicBezTo>
                  <a:pt x="3545142" y="272530"/>
                  <a:pt x="3546908" y="278083"/>
                  <a:pt x="3550442" y="284141"/>
                </a:cubicBezTo>
                <a:cubicBezTo>
                  <a:pt x="3553976" y="290198"/>
                  <a:pt x="3558268" y="296172"/>
                  <a:pt x="3563316" y="302062"/>
                </a:cubicBezTo>
                <a:cubicBezTo>
                  <a:pt x="3568364" y="307952"/>
                  <a:pt x="3573748" y="313673"/>
                  <a:pt x="3579470" y="319226"/>
                </a:cubicBezTo>
                <a:cubicBezTo>
                  <a:pt x="3585190" y="324779"/>
                  <a:pt x="3590240" y="329575"/>
                  <a:pt x="3594614" y="333613"/>
                </a:cubicBezTo>
                <a:cubicBezTo>
                  <a:pt x="3603364" y="341691"/>
                  <a:pt x="3611946" y="350104"/>
                  <a:pt x="3620360" y="358855"/>
                </a:cubicBezTo>
                <a:cubicBezTo>
                  <a:pt x="3628774" y="367605"/>
                  <a:pt x="3636346" y="376692"/>
                  <a:pt x="3643078" y="386115"/>
                </a:cubicBezTo>
                <a:cubicBezTo>
                  <a:pt x="3649808" y="395539"/>
                  <a:pt x="3655194" y="405214"/>
                  <a:pt x="3659232" y="415143"/>
                </a:cubicBezTo>
                <a:cubicBezTo>
                  <a:pt x="3663270" y="425071"/>
                  <a:pt x="3665290" y="435420"/>
                  <a:pt x="3665290" y="446189"/>
                </a:cubicBezTo>
                <a:cubicBezTo>
                  <a:pt x="3665290" y="460998"/>
                  <a:pt x="3662598" y="474039"/>
                  <a:pt x="3657212" y="485313"/>
                </a:cubicBezTo>
                <a:cubicBezTo>
                  <a:pt x="3651828" y="496588"/>
                  <a:pt x="3644592" y="505927"/>
                  <a:pt x="3635506" y="513331"/>
                </a:cubicBezTo>
                <a:cubicBezTo>
                  <a:pt x="3626418" y="520735"/>
                  <a:pt x="3615986" y="526288"/>
                  <a:pt x="3604206" y="529990"/>
                </a:cubicBezTo>
                <a:cubicBezTo>
                  <a:pt x="3592426" y="533692"/>
                  <a:pt x="3580142" y="535544"/>
                  <a:pt x="3567354" y="535544"/>
                </a:cubicBezTo>
                <a:close/>
                <a:moveTo>
                  <a:pt x="3324752" y="535544"/>
                </a:moveTo>
                <a:cubicBezTo>
                  <a:pt x="3290088" y="535544"/>
                  <a:pt x="3263332" y="522081"/>
                  <a:pt x="3244486" y="495157"/>
                </a:cubicBezTo>
                <a:cubicBezTo>
                  <a:pt x="3225638" y="468233"/>
                  <a:pt x="3216214" y="427511"/>
                  <a:pt x="3216214" y="372990"/>
                </a:cubicBezTo>
                <a:cubicBezTo>
                  <a:pt x="3216214" y="317796"/>
                  <a:pt x="3225470" y="276737"/>
                  <a:pt x="3243980" y="249813"/>
                </a:cubicBezTo>
                <a:cubicBezTo>
                  <a:pt x="3262490" y="222889"/>
                  <a:pt x="3289414" y="209427"/>
                  <a:pt x="3324752" y="209427"/>
                </a:cubicBezTo>
                <a:cubicBezTo>
                  <a:pt x="3360090" y="209427"/>
                  <a:pt x="3387014" y="222889"/>
                  <a:pt x="3405524" y="249813"/>
                </a:cubicBezTo>
                <a:cubicBezTo>
                  <a:pt x="3424034" y="276737"/>
                  <a:pt x="3433290" y="317796"/>
                  <a:pt x="3433290" y="372990"/>
                </a:cubicBezTo>
                <a:cubicBezTo>
                  <a:pt x="3433290" y="427847"/>
                  <a:pt x="3424034" y="468654"/>
                  <a:pt x="3405524" y="495410"/>
                </a:cubicBezTo>
                <a:cubicBezTo>
                  <a:pt x="3387014" y="522166"/>
                  <a:pt x="3360090" y="535544"/>
                  <a:pt x="3324752" y="535544"/>
                </a:cubicBezTo>
                <a:close/>
                <a:moveTo>
                  <a:pt x="3062528" y="535544"/>
                </a:moveTo>
                <a:cubicBezTo>
                  <a:pt x="3045028" y="535544"/>
                  <a:pt x="3027444" y="532178"/>
                  <a:pt x="3009774" y="525447"/>
                </a:cubicBezTo>
                <a:cubicBezTo>
                  <a:pt x="2992106" y="518716"/>
                  <a:pt x="2976540" y="508283"/>
                  <a:pt x="2963078" y="494148"/>
                </a:cubicBezTo>
                <a:lnTo>
                  <a:pt x="2993872" y="450733"/>
                </a:lnTo>
                <a:cubicBezTo>
                  <a:pt x="3004306" y="461839"/>
                  <a:pt x="3014908" y="469748"/>
                  <a:pt x="3025676" y="474460"/>
                </a:cubicBezTo>
                <a:cubicBezTo>
                  <a:pt x="3036446" y="479171"/>
                  <a:pt x="3046712" y="481527"/>
                  <a:pt x="3056472" y="481527"/>
                </a:cubicBezTo>
                <a:cubicBezTo>
                  <a:pt x="3068250" y="481527"/>
                  <a:pt x="3078010" y="478078"/>
                  <a:pt x="3085752" y="471178"/>
                </a:cubicBezTo>
                <a:cubicBezTo>
                  <a:pt x="3093492" y="464279"/>
                  <a:pt x="3097362" y="454435"/>
                  <a:pt x="3097362" y="441646"/>
                </a:cubicBezTo>
                <a:cubicBezTo>
                  <a:pt x="3097362" y="432559"/>
                  <a:pt x="3094248" y="423641"/>
                  <a:pt x="3088022" y="414890"/>
                </a:cubicBezTo>
                <a:cubicBezTo>
                  <a:pt x="3081796" y="406140"/>
                  <a:pt x="3073888" y="397053"/>
                  <a:pt x="3064296" y="387630"/>
                </a:cubicBezTo>
                <a:cubicBezTo>
                  <a:pt x="3054704" y="378206"/>
                  <a:pt x="3044440" y="368362"/>
                  <a:pt x="3033502" y="358097"/>
                </a:cubicBezTo>
                <a:cubicBezTo>
                  <a:pt x="3022564" y="347833"/>
                  <a:pt x="3012298" y="336727"/>
                  <a:pt x="3002708" y="324779"/>
                </a:cubicBezTo>
                <a:cubicBezTo>
                  <a:pt x="2993116" y="312831"/>
                  <a:pt x="2985206" y="299790"/>
                  <a:pt x="2978980" y="285655"/>
                </a:cubicBezTo>
                <a:cubicBezTo>
                  <a:pt x="2972754" y="271520"/>
                  <a:pt x="2969642" y="256039"/>
                  <a:pt x="2969642" y="239211"/>
                </a:cubicBezTo>
                <a:cubicBezTo>
                  <a:pt x="2969642" y="237192"/>
                  <a:pt x="2969558" y="233658"/>
                  <a:pt x="2969388" y="228610"/>
                </a:cubicBezTo>
                <a:cubicBezTo>
                  <a:pt x="2969220" y="223562"/>
                  <a:pt x="2969640" y="219355"/>
                  <a:pt x="2970650" y="215989"/>
                </a:cubicBezTo>
                <a:lnTo>
                  <a:pt x="3174600" y="215989"/>
                </a:lnTo>
                <a:lnTo>
                  <a:pt x="3174600" y="267481"/>
                </a:lnTo>
                <a:lnTo>
                  <a:pt x="3040316" y="267481"/>
                </a:lnTo>
                <a:cubicBezTo>
                  <a:pt x="3040316" y="272530"/>
                  <a:pt x="3042084" y="278083"/>
                  <a:pt x="3045618" y="284141"/>
                </a:cubicBezTo>
                <a:cubicBezTo>
                  <a:pt x="3049152" y="290198"/>
                  <a:pt x="3053442" y="296172"/>
                  <a:pt x="3058490" y="302062"/>
                </a:cubicBezTo>
                <a:cubicBezTo>
                  <a:pt x="3063538" y="307952"/>
                  <a:pt x="3068924" y="313673"/>
                  <a:pt x="3074644" y="319226"/>
                </a:cubicBezTo>
                <a:cubicBezTo>
                  <a:pt x="3080366" y="324779"/>
                  <a:pt x="3085414" y="329575"/>
                  <a:pt x="3089790" y="333613"/>
                </a:cubicBezTo>
                <a:cubicBezTo>
                  <a:pt x="3098540" y="341691"/>
                  <a:pt x="3107122" y="350104"/>
                  <a:pt x="3115536" y="358855"/>
                </a:cubicBezTo>
                <a:cubicBezTo>
                  <a:pt x="3123950" y="367605"/>
                  <a:pt x="3131522" y="376692"/>
                  <a:pt x="3138252" y="386115"/>
                </a:cubicBezTo>
                <a:cubicBezTo>
                  <a:pt x="3144984" y="395539"/>
                  <a:pt x="3150368" y="405214"/>
                  <a:pt x="3154408" y="415143"/>
                </a:cubicBezTo>
                <a:cubicBezTo>
                  <a:pt x="3158446" y="425071"/>
                  <a:pt x="3160464" y="435420"/>
                  <a:pt x="3160464" y="446189"/>
                </a:cubicBezTo>
                <a:cubicBezTo>
                  <a:pt x="3160464" y="460998"/>
                  <a:pt x="3157772" y="474039"/>
                  <a:pt x="3152388" y="485313"/>
                </a:cubicBezTo>
                <a:cubicBezTo>
                  <a:pt x="3147002" y="496588"/>
                  <a:pt x="3139766" y="505927"/>
                  <a:pt x="3130680" y="513331"/>
                </a:cubicBezTo>
                <a:cubicBezTo>
                  <a:pt x="3121594" y="520735"/>
                  <a:pt x="3111160" y="526288"/>
                  <a:pt x="3099382" y="529990"/>
                </a:cubicBezTo>
                <a:cubicBezTo>
                  <a:pt x="3087602" y="533692"/>
                  <a:pt x="3075318" y="535544"/>
                  <a:pt x="3062528" y="535544"/>
                </a:cubicBezTo>
                <a:close/>
                <a:moveTo>
                  <a:pt x="2292890" y="561290"/>
                </a:moveTo>
                <a:cubicBezTo>
                  <a:pt x="2282120" y="561290"/>
                  <a:pt x="2272949" y="557756"/>
                  <a:pt x="2265377" y="550688"/>
                </a:cubicBezTo>
                <a:cubicBezTo>
                  <a:pt x="2257805" y="543621"/>
                  <a:pt x="2254018" y="533861"/>
                  <a:pt x="2254018" y="521408"/>
                </a:cubicBezTo>
                <a:cubicBezTo>
                  <a:pt x="2254018" y="509293"/>
                  <a:pt x="2257805" y="499701"/>
                  <a:pt x="2265377" y="492633"/>
                </a:cubicBezTo>
                <a:cubicBezTo>
                  <a:pt x="2272949" y="485566"/>
                  <a:pt x="2282120" y="482032"/>
                  <a:pt x="2292890" y="482032"/>
                </a:cubicBezTo>
                <a:cubicBezTo>
                  <a:pt x="2303660" y="482032"/>
                  <a:pt x="2312914" y="485566"/>
                  <a:pt x="2320655" y="492633"/>
                </a:cubicBezTo>
                <a:cubicBezTo>
                  <a:pt x="2328396" y="499701"/>
                  <a:pt x="2332266" y="509293"/>
                  <a:pt x="2332266" y="521408"/>
                </a:cubicBezTo>
                <a:cubicBezTo>
                  <a:pt x="2332266" y="533861"/>
                  <a:pt x="2328396" y="543621"/>
                  <a:pt x="2320655" y="550688"/>
                </a:cubicBezTo>
                <a:cubicBezTo>
                  <a:pt x="2312914" y="557756"/>
                  <a:pt x="2303660" y="561290"/>
                  <a:pt x="2292890" y="561290"/>
                </a:cubicBezTo>
                <a:close/>
                <a:moveTo>
                  <a:pt x="1959420" y="563309"/>
                </a:moveTo>
                <a:lnTo>
                  <a:pt x="1959420" y="511817"/>
                </a:lnTo>
                <a:lnTo>
                  <a:pt x="2025047" y="511817"/>
                </a:lnTo>
                <a:lnTo>
                  <a:pt x="2025047" y="310392"/>
                </a:lnTo>
                <a:cubicBezTo>
                  <a:pt x="2025047" y="277746"/>
                  <a:pt x="2031610" y="252926"/>
                  <a:pt x="2044735" y="235930"/>
                </a:cubicBezTo>
                <a:cubicBezTo>
                  <a:pt x="2057860" y="218934"/>
                  <a:pt x="2078727" y="210436"/>
                  <a:pt x="2107333" y="210436"/>
                </a:cubicBezTo>
                <a:cubicBezTo>
                  <a:pt x="2117767" y="210436"/>
                  <a:pt x="2127106" y="211109"/>
                  <a:pt x="2135351" y="212455"/>
                </a:cubicBezTo>
                <a:cubicBezTo>
                  <a:pt x="2143597" y="213802"/>
                  <a:pt x="2150580" y="215400"/>
                  <a:pt x="2156302" y="217251"/>
                </a:cubicBezTo>
                <a:cubicBezTo>
                  <a:pt x="2162023" y="219102"/>
                  <a:pt x="2166650" y="220869"/>
                  <a:pt x="2170184" y="222552"/>
                </a:cubicBezTo>
                <a:cubicBezTo>
                  <a:pt x="2173718" y="224235"/>
                  <a:pt x="2175990" y="225413"/>
                  <a:pt x="2176999" y="226086"/>
                </a:cubicBezTo>
                <a:lnTo>
                  <a:pt x="2168922" y="276063"/>
                </a:lnTo>
                <a:cubicBezTo>
                  <a:pt x="2166230" y="275054"/>
                  <a:pt x="2160677" y="272866"/>
                  <a:pt x="2152263" y="269501"/>
                </a:cubicBezTo>
                <a:cubicBezTo>
                  <a:pt x="2143849" y="266135"/>
                  <a:pt x="2133416" y="264452"/>
                  <a:pt x="2120964" y="264452"/>
                </a:cubicBezTo>
                <a:cubicBezTo>
                  <a:pt x="2111204" y="264452"/>
                  <a:pt x="2103126" y="267313"/>
                  <a:pt x="2096732" y="273034"/>
                </a:cubicBezTo>
                <a:cubicBezTo>
                  <a:pt x="2090338" y="278756"/>
                  <a:pt x="2087140" y="289694"/>
                  <a:pt x="2087140" y="305848"/>
                </a:cubicBezTo>
                <a:lnTo>
                  <a:pt x="2087140" y="563309"/>
                </a:lnTo>
                <a:close/>
                <a:moveTo>
                  <a:pt x="1607052" y="565833"/>
                </a:moveTo>
                <a:cubicBezTo>
                  <a:pt x="1594263" y="565833"/>
                  <a:pt x="1581811" y="564234"/>
                  <a:pt x="1569695" y="561037"/>
                </a:cubicBezTo>
                <a:cubicBezTo>
                  <a:pt x="1557579" y="557840"/>
                  <a:pt x="1546810" y="552455"/>
                  <a:pt x="1537386" y="544883"/>
                </a:cubicBezTo>
                <a:cubicBezTo>
                  <a:pt x="1527963" y="537310"/>
                  <a:pt x="1520474" y="527214"/>
                  <a:pt x="1514921" y="514593"/>
                </a:cubicBezTo>
                <a:cubicBezTo>
                  <a:pt x="1509368" y="501973"/>
                  <a:pt x="1506592" y="486071"/>
                  <a:pt x="1506592" y="466887"/>
                </a:cubicBezTo>
                <a:lnTo>
                  <a:pt x="1506592" y="453257"/>
                </a:lnTo>
                <a:lnTo>
                  <a:pt x="1454595" y="453257"/>
                </a:lnTo>
                <a:lnTo>
                  <a:pt x="1454595" y="401765"/>
                </a:lnTo>
                <a:lnTo>
                  <a:pt x="1506592" y="401765"/>
                </a:lnTo>
                <a:lnTo>
                  <a:pt x="1506592" y="215989"/>
                </a:lnTo>
                <a:lnTo>
                  <a:pt x="1569190" y="215989"/>
                </a:lnTo>
                <a:lnTo>
                  <a:pt x="1569190" y="401765"/>
                </a:lnTo>
                <a:lnTo>
                  <a:pt x="1666621" y="401765"/>
                </a:lnTo>
                <a:lnTo>
                  <a:pt x="1666621" y="453257"/>
                </a:lnTo>
                <a:lnTo>
                  <a:pt x="1569190" y="453257"/>
                </a:lnTo>
                <a:lnTo>
                  <a:pt x="1569190" y="465878"/>
                </a:lnTo>
                <a:cubicBezTo>
                  <a:pt x="1569190" y="475974"/>
                  <a:pt x="1570368" y="484135"/>
                  <a:pt x="1572724" y="490362"/>
                </a:cubicBezTo>
                <a:cubicBezTo>
                  <a:pt x="1575080" y="496588"/>
                  <a:pt x="1578193" y="501384"/>
                  <a:pt x="1582063" y="504749"/>
                </a:cubicBezTo>
                <a:cubicBezTo>
                  <a:pt x="1585933" y="508115"/>
                  <a:pt x="1590477" y="510302"/>
                  <a:pt x="1595693" y="511312"/>
                </a:cubicBezTo>
                <a:cubicBezTo>
                  <a:pt x="1600910" y="512322"/>
                  <a:pt x="1606379" y="512826"/>
                  <a:pt x="1612100" y="512826"/>
                </a:cubicBezTo>
                <a:cubicBezTo>
                  <a:pt x="1622533" y="512826"/>
                  <a:pt x="1633555" y="511396"/>
                  <a:pt x="1645166" y="508535"/>
                </a:cubicBezTo>
                <a:cubicBezTo>
                  <a:pt x="1656777" y="505675"/>
                  <a:pt x="1666453" y="502898"/>
                  <a:pt x="1674194" y="500206"/>
                </a:cubicBezTo>
                <a:lnTo>
                  <a:pt x="1684795" y="550688"/>
                </a:lnTo>
                <a:cubicBezTo>
                  <a:pt x="1673689" y="556073"/>
                  <a:pt x="1661236" y="559943"/>
                  <a:pt x="1647438" y="562299"/>
                </a:cubicBezTo>
                <a:cubicBezTo>
                  <a:pt x="1633639" y="564655"/>
                  <a:pt x="1620178" y="565833"/>
                  <a:pt x="1607052" y="565833"/>
                </a:cubicBezTo>
                <a:close/>
                <a:moveTo>
                  <a:pt x="0" y="796029"/>
                </a:moveTo>
                <a:lnTo>
                  <a:pt x="4876802" y="796029"/>
                </a:lnTo>
                <a:lnTo>
                  <a:pt x="4824822" y="344498"/>
                </a:lnTo>
                <a:cubicBezTo>
                  <a:pt x="4801968" y="145891"/>
                  <a:pt x="4682292" y="207"/>
                  <a:pt x="4541980" y="155"/>
                </a:cubicBezTo>
                <a:lnTo>
                  <a:pt x="0" y="0"/>
                </a:lnTo>
                <a:close/>
              </a:path>
            </a:pathLst>
          </a:custGeom>
          <a:solidFill>
            <a:schemeClr val="bg1"/>
          </a:solidFill>
          <a:ln w="2834" cap="flat">
            <a:noFill/>
            <a:prstDash val="solid"/>
            <a:miter/>
          </a:ln>
        </p:spPr>
        <p:txBody>
          <a:bodyPr wrap="square" rtlCol="0" anchor="ctr">
            <a:noAutofit/>
          </a:bodyPr>
          <a:lstStyle/>
          <a:p>
            <a:endParaRPr lang="en-US" dirty="0"/>
          </a:p>
        </p:txBody>
      </p:sp>
      <p:pic>
        <p:nvPicPr>
          <p:cNvPr id="8" name="Imagen 7" descr="Un dibujo de una cara feliz&#10;&#10;Descripción generada automáticamente con confianza baja">
            <a:extLst>
              <a:ext uri="{FF2B5EF4-FFF2-40B4-BE49-F238E27FC236}">
                <a16:creationId xmlns:a16="http://schemas.microsoft.com/office/drawing/2014/main" id="{A82FAAE7-F450-2EFB-B470-9CA2B285AACF}"/>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7824450" y="406400"/>
            <a:ext cx="1801936" cy="934010"/>
          </a:xfrm>
          <a:prstGeom prst="rect">
            <a:avLst/>
          </a:prstGeom>
        </p:spPr>
      </p:pic>
      <p:sp>
        <p:nvSpPr>
          <p:cNvPr id="10" name="Título 9">
            <a:extLst>
              <a:ext uri="{FF2B5EF4-FFF2-40B4-BE49-F238E27FC236}">
                <a16:creationId xmlns:a16="http://schemas.microsoft.com/office/drawing/2014/main" id="{7E8DAFFC-ADDB-1273-AA91-4852BCB21C8E}"/>
              </a:ext>
            </a:extLst>
          </p:cNvPr>
          <p:cNvSpPr>
            <a:spLocks noGrp="1"/>
          </p:cNvSpPr>
          <p:nvPr>
            <p:ph type="title" hasCustomPrompt="1"/>
          </p:nvPr>
        </p:nvSpPr>
        <p:spPr>
          <a:xfrm>
            <a:off x="7104380" y="1495932"/>
            <a:ext cx="10692384" cy="646331"/>
          </a:xfrm>
        </p:spPr>
        <p:txBody>
          <a:bodyPr/>
          <a:lstStyle>
            <a:lvl1pPr>
              <a:defRPr sz="4200" b="1" i="0">
                <a:solidFill>
                  <a:schemeClr val="bg1"/>
                </a:solidFill>
                <a:latin typeface="Ubuntu" panose="020B0504030602030204" pitchFamily="34" charset="0"/>
              </a:defRPr>
            </a:lvl1pPr>
          </a:lstStyle>
          <a:p>
            <a:r>
              <a:rPr lang="es-ES" dirty="0"/>
              <a:t>ASDFASFD</a:t>
            </a:r>
          </a:p>
        </p:txBody>
      </p:sp>
      <p:sp>
        <p:nvSpPr>
          <p:cNvPr id="11" name="object 12">
            <a:extLst>
              <a:ext uri="{FF2B5EF4-FFF2-40B4-BE49-F238E27FC236}">
                <a16:creationId xmlns:a16="http://schemas.microsoft.com/office/drawing/2014/main" id="{527854C5-8C21-D1AB-7E04-F771C691CE29}"/>
              </a:ext>
            </a:extLst>
          </p:cNvPr>
          <p:cNvSpPr txBox="1"/>
          <p:nvPr userDrawn="1"/>
        </p:nvSpPr>
        <p:spPr>
          <a:xfrm>
            <a:off x="7104380" y="807573"/>
            <a:ext cx="9881870" cy="567463"/>
          </a:xfrm>
          <a:prstGeom prst="rect">
            <a:avLst/>
          </a:prstGeom>
        </p:spPr>
        <p:txBody>
          <a:bodyPr vert="horz" wrap="square" lIns="0" tIns="13335" rIns="0" bIns="0" rtlCol="0">
            <a:spAutoFit/>
          </a:bodyPr>
          <a:lstStyle/>
          <a:p>
            <a:pPr marL="12700">
              <a:lnSpc>
                <a:spcPct val="100000"/>
              </a:lnSpc>
              <a:spcBef>
                <a:spcPts val="105"/>
              </a:spcBef>
            </a:pPr>
            <a:r>
              <a:rPr lang="en-US" sz="3600" spc="-30" dirty="0">
                <a:solidFill>
                  <a:srgbClr val="12A9D8"/>
                </a:solidFill>
                <a:latin typeface="Ubuntu Mono" panose="020B0509030602030204" pitchFamily="49" charset="0"/>
                <a:cs typeface="Ubuntu"/>
              </a:rPr>
              <a:t>Thinking about…</a:t>
            </a:r>
            <a:endParaRPr lang="en-US" sz="3600" dirty="0">
              <a:solidFill>
                <a:srgbClr val="12A9D8"/>
              </a:solidFill>
              <a:latin typeface="Ubuntu"/>
              <a:cs typeface="Ubuntu"/>
            </a:endParaRPr>
          </a:p>
        </p:txBody>
      </p:sp>
      <p:sp>
        <p:nvSpPr>
          <p:cNvPr id="15" name="Marcador de texto 14">
            <a:extLst>
              <a:ext uri="{FF2B5EF4-FFF2-40B4-BE49-F238E27FC236}">
                <a16:creationId xmlns:a16="http://schemas.microsoft.com/office/drawing/2014/main" id="{894536B8-BEFF-96E8-2A83-A0B97363D840}"/>
              </a:ext>
            </a:extLst>
          </p:cNvPr>
          <p:cNvSpPr>
            <a:spLocks noGrp="1"/>
          </p:cNvSpPr>
          <p:nvPr>
            <p:ph type="body" sz="quarter" idx="10"/>
          </p:nvPr>
        </p:nvSpPr>
        <p:spPr>
          <a:xfrm>
            <a:off x="7104380" y="3225800"/>
            <a:ext cx="12244070" cy="6931641"/>
          </a:xfrm>
          <a:prstGeom prst="rect">
            <a:avLst/>
          </a:prstGeom>
        </p:spPr>
        <p:txBody>
          <a:bodyPr/>
          <a:lstStyle>
            <a:lvl1pPr>
              <a:defRPr sz="2900" b="0" i="0">
                <a:solidFill>
                  <a:schemeClr val="bg1"/>
                </a:solidFill>
                <a:latin typeface="Ubuntu Light" panose="020B0304030602030204" pitchFamily="34" charset="0"/>
              </a:defRPr>
            </a:lvl1pPr>
            <a:lvl2pPr>
              <a:defRPr sz="2900" b="0" i="0">
                <a:solidFill>
                  <a:schemeClr val="bg1"/>
                </a:solidFill>
                <a:latin typeface="Ubuntu Light" panose="020B0304030602030204" pitchFamily="34" charset="0"/>
              </a:defRPr>
            </a:lvl2pPr>
            <a:lvl3pPr>
              <a:defRPr sz="2900" b="0" i="0">
                <a:solidFill>
                  <a:schemeClr val="bg1"/>
                </a:solidFill>
                <a:latin typeface="Ubuntu Light" panose="020B0304030602030204" pitchFamily="34" charset="0"/>
              </a:defRPr>
            </a:lvl3pPr>
            <a:lvl4pPr>
              <a:defRPr sz="2900" b="0" i="0">
                <a:solidFill>
                  <a:schemeClr val="bg1"/>
                </a:solidFill>
                <a:latin typeface="Ubuntu Light" panose="020B0304030602030204" pitchFamily="34" charset="0"/>
              </a:defRPr>
            </a:lvl4pPr>
            <a:lvl5pPr>
              <a:defRPr sz="2900" b="0" i="0">
                <a:solidFill>
                  <a:schemeClr val="bg1"/>
                </a:solidFill>
                <a:latin typeface="Ubuntu Light" panose="020B0304030602030204" pitchFamily="34" charset="0"/>
              </a:defRPr>
            </a:lvl5pPr>
          </a:lstStyle>
          <a:p>
            <a:pPr lvl="0"/>
            <a:r>
              <a:rPr lang="es-ES" dirty="0"/>
              <a:t>Haga clic para modificar los estilos de texto del patrón</a:t>
            </a:r>
          </a:p>
          <a:p>
            <a:pPr lvl="1"/>
            <a:r>
              <a:rPr lang="es-ES" dirty="0"/>
              <a:t>Segundo nivel</a:t>
            </a:r>
          </a:p>
          <a:p>
            <a:pPr lvl="2"/>
            <a:r>
              <a:rPr lang="es-ES" dirty="0"/>
              <a:t> nivel</a:t>
            </a:r>
          </a:p>
          <a:p>
            <a:pPr lvl="3"/>
            <a:r>
              <a:rPr lang="es-ES" dirty="0"/>
              <a:t>Cuarto nivel</a:t>
            </a:r>
          </a:p>
          <a:p>
            <a:pPr lvl="4"/>
            <a:r>
              <a:rPr lang="es-ES" dirty="0"/>
              <a:t>Quinto nivel</a:t>
            </a:r>
          </a:p>
        </p:txBody>
      </p:sp>
      <p:sp>
        <p:nvSpPr>
          <p:cNvPr id="16" name="CuadroTexto 15">
            <a:extLst>
              <a:ext uri="{FF2B5EF4-FFF2-40B4-BE49-F238E27FC236}">
                <a16:creationId xmlns:a16="http://schemas.microsoft.com/office/drawing/2014/main" id="{9D153551-888E-2E4A-C9F1-C375C679B619}"/>
              </a:ext>
            </a:extLst>
          </p:cNvPr>
          <p:cNvSpPr txBox="1"/>
          <p:nvPr userDrawn="1"/>
        </p:nvSpPr>
        <p:spPr>
          <a:xfrm>
            <a:off x="4870450" y="-151634"/>
            <a:ext cx="3200400" cy="4508927"/>
          </a:xfrm>
          <a:prstGeom prst="rect">
            <a:avLst/>
          </a:prstGeom>
          <a:noFill/>
        </p:spPr>
        <p:txBody>
          <a:bodyPr wrap="square" rtlCol="0">
            <a:spAutoFit/>
          </a:bodyPr>
          <a:lstStyle/>
          <a:p>
            <a:r>
              <a:rPr lang="es-ES" sz="28700" b="1" i="0" dirty="0">
                <a:solidFill>
                  <a:srgbClr val="12A9D8"/>
                </a:solidFill>
                <a:latin typeface="Ubuntu" panose="020B0504030602030204" pitchFamily="34" charset="0"/>
              </a:rPr>
              <a:t>?</a:t>
            </a:r>
          </a:p>
        </p:txBody>
      </p:sp>
    </p:spTree>
    <p:extLst>
      <p:ext uri="{BB962C8B-B14F-4D97-AF65-F5344CB8AC3E}">
        <p14:creationId xmlns:p14="http://schemas.microsoft.com/office/powerpoint/2010/main" val="345761290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3_Title and Content">
    <p:spTree>
      <p:nvGrpSpPr>
        <p:cNvPr id="1" name=""/>
        <p:cNvGrpSpPr/>
        <p:nvPr/>
      </p:nvGrpSpPr>
      <p:grpSpPr>
        <a:xfrm>
          <a:off x="0" y="0"/>
          <a:ext cx="0" cy="0"/>
          <a:chOff x="0" y="0"/>
          <a:chExt cx="0" cy="0"/>
        </a:xfrm>
      </p:grpSpPr>
      <p:pic>
        <p:nvPicPr>
          <p:cNvPr id="9" name="Imagen 8" descr="Laptop encendida junto a un teclado de computadora&#10;&#10;Descripción generada automáticamente con confianza media">
            <a:extLst>
              <a:ext uri="{FF2B5EF4-FFF2-40B4-BE49-F238E27FC236}">
                <a16:creationId xmlns:a16="http://schemas.microsoft.com/office/drawing/2014/main" id="{750BDEEA-A53E-4DF3-82B0-1E14DA7D391A}"/>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17753"/>
            <a:ext cx="6318250" cy="11346153"/>
          </a:xfrm>
          <a:prstGeom prst="rect">
            <a:avLst/>
          </a:prstGeom>
        </p:spPr>
      </p:pic>
      <p:sp>
        <p:nvSpPr>
          <p:cNvPr id="3" name="Rectángulo 2">
            <a:extLst>
              <a:ext uri="{FF2B5EF4-FFF2-40B4-BE49-F238E27FC236}">
                <a16:creationId xmlns:a16="http://schemas.microsoft.com/office/drawing/2014/main" id="{8E2A0C8C-2F63-07D5-D3ED-F129D31CE088}"/>
              </a:ext>
            </a:extLst>
          </p:cNvPr>
          <p:cNvSpPr/>
          <p:nvPr userDrawn="1"/>
        </p:nvSpPr>
        <p:spPr>
          <a:xfrm>
            <a:off x="6318250" y="-17753"/>
            <a:ext cx="13785850" cy="11346153"/>
          </a:xfrm>
          <a:prstGeom prst="rect">
            <a:avLst/>
          </a:prstGeom>
          <a:solidFill>
            <a:srgbClr val="330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4" name="Holder 4"/>
          <p:cNvSpPr>
            <a:spLocks noGrp="1"/>
          </p:cNvSpPr>
          <p:nvPr>
            <p:ph type="ftr" sz="quarter" idx="5"/>
          </p:nvPr>
        </p:nvSpPr>
        <p:spPr>
          <a:xfrm>
            <a:off x="16647741" y="10759212"/>
            <a:ext cx="2962677" cy="200055"/>
          </a:xfrm>
          <a:prstGeom prst="rect">
            <a:avLst/>
          </a:prstGeom>
        </p:spPr>
        <p:txBody>
          <a:bodyPr lIns="0" tIns="0" rIns="0" bIns="0"/>
          <a:lstStyle>
            <a:lvl1pPr>
              <a:defRPr sz="1300" b="0" i="0">
                <a:solidFill>
                  <a:schemeClr val="bg1"/>
                </a:solidFill>
                <a:latin typeface="Ubuntu Light"/>
                <a:cs typeface="Ubuntu Light"/>
              </a:defRPr>
            </a:lvl1pPr>
          </a:lstStyle>
          <a:p>
            <a:pPr marL="26034">
              <a:spcBef>
                <a:spcPts val="30"/>
              </a:spcBef>
            </a:pPr>
            <a:r>
              <a:rPr lang="es-ES" dirty="0"/>
              <a:t>Public</a:t>
            </a:r>
            <a:r>
              <a:rPr lang="es-ES" spc="-40" dirty="0"/>
              <a:t> </a:t>
            </a:r>
            <a:r>
              <a:rPr lang="es-ES" dirty="0"/>
              <a:t>©</a:t>
            </a:r>
            <a:r>
              <a:rPr lang="es-ES" spc="-40" dirty="0"/>
              <a:t> </a:t>
            </a:r>
            <a:r>
              <a:rPr lang="es-ES" dirty="0"/>
              <a:t>2023</a:t>
            </a:r>
            <a:r>
              <a:rPr lang="es-ES" spc="-40" dirty="0"/>
              <a:t> </a:t>
            </a:r>
            <a:r>
              <a:rPr lang="es-ES" spc="-10" dirty="0"/>
              <a:t>Sogeti.</a:t>
            </a:r>
            <a:r>
              <a:rPr lang="es-ES" spc="-35" dirty="0"/>
              <a:t> </a:t>
            </a:r>
            <a:r>
              <a:rPr lang="es-ES" dirty="0" err="1"/>
              <a:t>All</a:t>
            </a:r>
            <a:r>
              <a:rPr lang="es-ES" spc="-40" dirty="0"/>
              <a:t> </a:t>
            </a:r>
            <a:r>
              <a:rPr lang="es-ES" dirty="0"/>
              <a:t>rights</a:t>
            </a:r>
            <a:r>
              <a:rPr lang="es-ES" spc="-40" dirty="0"/>
              <a:t> </a:t>
            </a:r>
            <a:r>
              <a:rPr lang="es-ES" spc="-10" dirty="0" err="1"/>
              <a:t>reserved</a:t>
            </a:r>
            <a:endParaRPr lang="es-ES" spc="-10" dirty="0"/>
          </a:p>
        </p:txBody>
      </p:sp>
      <p:sp>
        <p:nvSpPr>
          <p:cNvPr id="2" name="CuadroTexto 1">
            <a:extLst>
              <a:ext uri="{FF2B5EF4-FFF2-40B4-BE49-F238E27FC236}">
                <a16:creationId xmlns:a16="http://schemas.microsoft.com/office/drawing/2014/main" id="{72E5CF79-7DA3-E21E-3060-87CB44907F25}"/>
              </a:ext>
            </a:extLst>
          </p:cNvPr>
          <p:cNvSpPr txBox="1"/>
          <p:nvPr userDrawn="1"/>
        </p:nvSpPr>
        <p:spPr>
          <a:xfrm>
            <a:off x="755650" y="10845800"/>
            <a:ext cx="7772400" cy="292388"/>
          </a:xfrm>
          <a:prstGeom prst="rect">
            <a:avLst/>
          </a:prstGeom>
          <a:noFill/>
        </p:spPr>
        <p:txBody>
          <a:bodyPr wrap="square" rtlCol="0">
            <a:spAutoFit/>
          </a:bodyPr>
          <a:lstStyle/>
          <a:p>
            <a:r>
              <a:rPr lang="es-ES" sz="1300" b="0" i="0" dirty="0">
                <a:solidFill>
                  <a:schemeClr val="bg1"/>
                </a:solidFill>
                <a:latin typeface="Ubuntu Medium" panose="020B0504030602030204" pitchFamily="34" charset="0"/>
              </a:rPr>
              <a:t>#FlourishingDigitalBusinessWithQuality </a:t>
            </a:r>
            <a:r>
              <a:rPr lang="es-ES" sz="1300" b="1" i="0" dirty="0">
                <a:solidFill>
                  <a:schemeClr val="bg1"/>
                </a:solidFill>
                <a:latin typeface="Ubuntu" panose="020B0504030602030204" pitchFamily="34" charset="0"/>
              </a:rPr>
              <a:t> </a:t>
            </a:r>
            <a:r>
              <a:rPr lang="es-ES" sz="1300" b="1" i="0" dirty="0">
                <a:solidFill>
                  <a:srgbClr val="290E3B"/>
                </a:solidFill>
                <a:latin typeface="Ubuntu" panose="020B0504030602030204" pitchFamily="34" charset="0"/>
              </a:rPr>
              <a:t>·</a:t>
            </a:r>
            <a:r>
              <a:rPr lang="es-ES" sz="1300" b="0" i="0" dirty="0">
                <a:solidFill>
                  <a:schemeClr val="tx2"/>
                </a:solidFill>
                <a:latin typeface="Ubuntu Medium" panose="020B0504030602030204" pitchFamily="34" charset="0"/>
              </a:rPr>
              <a:t>   </a:t>
            </a:r>
            <a:r>
              <a:rPr lang="es-ES" sz="1300" b="1" i="0" dirty="0">
                <a:solidFill>
                  <a:srgbClr val="12A9D8"/>
                </a:solidFill>
                <a:latin typeface="Ubuntu" panose="020B0504030602030204" pitchFamily="34" charset="0"/>
              </a:rPr>
              <a:t>Sogeti España</a:t>
            </a:r>
          </a:p>
        </p:txBody>
      </p:sp>
      <p:sp>
        <p:nvSpPr>
          <p:cNvPr id="5" name="Forma libre 4">
            <a:extLst>
              <a:ext uri="{FF2B5EF4-FFF2-40B4-BE49-F238E27FC236}">
                <a16:creationId xmlns:a16="http://schemas.microsoft.com/office/drawing/2014/main" id="{FBAABD7F-C513-9B40-6AE2-E43DB3944CCE}"/>
              </a:ext>
            </a:extLst>
          </p:cNvPr>
          <p:cNvSpPr/>
          <p:nvPr userDrawn="1"/>
        </p:nvSpPr>
        <p:spPr>
          <a:xfrm flipV="1">
            <a:off x="755650" y="10384024"/>
            <a:ext cx="2362200" cy="385576"/>
          </a:xfrm>
          <a:custGeom>
            <a:avLst/>
            <a:gdLst/>
            <a:ahLst/>
            <a:cxnLst/>
            <a:rect l="l" t="t" r="r" b="b"/>
            <a:pathLst>
              <a:path w="4876802" h="796029">
                <a:moveTo>
                  <a:pt x="2572782" y="405299"/>
                </a:moveTo>
                <a:cubicBezTo>
                  <a:pt x="2589609" y="405299"/>
                  <a:pt x="2601809" y="398820"/>
                  <a:pt x="2609382" y="385863"/>
                </a:cubicBezTo>
                <a:cubicBezTo>
                  <a:pt x="2616954" y="372906"/>
                  <a:pt x="2620740" y="355826"/>
                  <a:pt x="2620740" y="334623"/>
                </a:cubicBezTo>
                <a:cubicBezTo>
                  <a:pt x="2620740" y="313420"/>
                  <a:pt x="2616618" y="296256"/>
                  <a:pt x="2608372" y="283131"/>
                </a:cubicBezTo>
                <a:cubicBezTo>
                  <a:pt x="2600126" y="270006"/>
                  <a:pt x="2587927" y="263443"/>
                  <a:pt x="2571772" y="263443"/>
                </a:cubicBezTo>
                <a:cubicBezTo>
                  <a:pt x="2554945" y="263443"/>
                  <a:pt x="2542744" y="270006"/>
                  <a:pt x="2535172" y="283131"/>
                </a:cubicBezTo>
                <a:cubicBezTo>
                  <a:pt x="2527600" y="296256"/>
                  <a:pt x="2523814" y="313420"/>
                  <a:pt x="2523814" y="334623"/>
                </a:cubicBezTo>
                <a:cubicBezTo>
                  <a:pt x="2523814" y="355826"/>
                  <a:pt x="2527937" y="372906"/>
                  <a:pt x="2536182" y="385863"/>
                </a:cubicBezTo>
                <a:cubicBezTo>
                  <a:pt x="2544428" y="398820"/>
                  <a:pt x="2556628" y="405299"/>
                  <a:pt x="2572782" y="405299"/>
                </a:cubicBezTo>
                <a:close/>
                <a:moveTo>
                  <a:pt x="1810782" y="405299"/>
                </a:moveTo>
                <a:cubicBezTo>
                  <a:pt x="1827610" y="405299"/>
                  <a:pt x="1839810" y="398820"/>
                  <a:pt x="1847382" y="385863"/>
                </a:cubicBezTo>
                <a:cubicBezTo>
                  <a:pt x="1854954" y="372906"/>
                  <a:pt x="1858740" y="355826"/>
                  <a:pt x="1858740" y="334623"/>
                </a:cubicBezTo>
                <a:cubicBezTo>
                  <a:pt x="1858740" y="313420"/>
                  <a:pt x="1854618" y="296256"/>
                  <a:pt x="1846372" y="283131"/>
                </a:cubicBezTo>
                <a:cubicBezTo>
                  <a:pt x="1838127" y="270006"/>
                  <a:pt x="1825927" y="263443"/>
                  <a:pt x="1809772" y="263443"/>
                </a:cubicBezTo>
                <a:cubicBezTo>
                  <a:pt x="1792945" y="263443"/>
                  <a:pt x="1780745" y="270006"/>
                  <a:pt x="1773173" y="283131"/>
                </a:cubicBezTo>
                <a:cubicBezTo>
                  <a:pt x="1765600" y="296256"/>
                  <a:pt x="1761814" y="313420"/>
                  <a:pt x="1761814" y="334623"/>
                </a:cubicBezTo>
                <a:cubicBezTo>
                  <a:pt x="1761814" y="355826"/>
                  <a:pt x="1765937" y="372906"/>
                  <a:pt x="1774182" y="385863"/>
                </a:cubicBezTo>
                <a:cubicBezTo>
                  <a:pt x="1782428" y="398820"/>
                  <a:pt x="1794628" y="405299"/>
                  <a:pt x="1810782" y="405299"/>
                </a:cubicBezTo>
                <a:close/>
                <a:moveTo>
                  <a:pt x="810657" y="405299"/>
                </a:moveTo>
                <a:cubicBezTo>
                  <a:pt x="827485" y="405299"/>
                  <a:pt x="839684" y="398820"/>
                  <a:pt x="847257" y="385863"/>
                </a:cubicBezTo>
                <a:cubicBezTo>
                  <a:pt x="854829" y="372906"/>
                  <a:pt x="858615" y="355826"/>
                  <a:pt x="858616" y="334623"/>
                </a:cubicBezTo>
                <a:cubicBezTo>
                  <a:pt x="858615" y="313420"/>
                  <a:pt x="854493" y="296256"/>
                  <a:pt x="846247" y="283131"/>
                </a:cubicBezTo>
                <a:cubicBezTo>
                  <a:pt x="838002" y="270006"/>
                  <a:pt x="825802" y="263443"/>
                  <a:pt x="809647" y="263443"/>
                </a:cubicBezTo>
                <a:cubicBezTo>
                  <a:pt x="792820" y="263443"/>
                  <a:pt x="780620" y="270006"/>
                  <a:pt x="773048" y="283131"/>
                </a:cubicBezTo>
                <a:cubicBezTo>
                  <a:pt x="765475" y="296256"/>
                  <a:pt x="761689" y="313420"/>
                  <a:pt x="761689" y="334623"/>
                </a:cubicBezTo>
                <a:cubicBezTo>
                  <a:pt x="761689" y="355826"/>
                  <a:pt x="765812" y="372906"/>
                  <a:pt x="774057" y="385863"/>
                </a:cubicBezTo>
                <a:cubicBezTo>
                  <a:pt x="782303" y="398820"/>
                  <a:pt x="794503" y="405299"/>
                  <a:pt x="810657" y="405299"/>
                </a:cubicBezTo>
                <a:close/>
                <a:moveTo>
                  <a:pt x="3325256" y="411861"/>
                </a:moveTo>
                <a:cubicBezTo>
                  <a:pt x="3316506" y="411861"/>
                  <a:pt x="3309608" y="408496"/>
                  <a:pt x="3304560" y="401765"/>
                </a:cubicBezTo>
                <a:cubicBezTo>
                  <a:pt x="3299512" y="395034"/>
                  <a:pt x="3296988" y="387125"/>
                  <a:pt x="3296988" y="378038"/>
                </a:cubicBezTo>
                <a:cubicBezTo>
                  <a:pt x="3296988" y="368951"/>
                  <a:pt x="3299512" y="361126"/>
                  <a:pt x="3304560" y="354564"/>
                </a:cubicBezTo>
                <a:cubicBezTo>
                  <a:pt x="3309608" y="348001"/>
                  <a:pt x="3316506" y="344720"/>
                  <a:pt x="3325256" y="344720"/>
                </a:cubicBezTo>
                <a:cubicBezTo>
                  <a:pt x="3333334" y="344720"/>
                  <a:pt x="3339980" y="348001"/>
                  <a:pt x="3345198" y="354564"/>
                </a:cubicBezTo>
                <a:cubicBezTo>
                  <a:pt x="3350414" y="361126"/>
                  <a:pt x="3353022" y="368951"/>
                  <a:pt x="3353022" y="378038"/>
                </a:cubicBezTo>
                <a:cubicBezTo>
                  <a:pt x="3353022" y="387125"/>
                  <a:pt x="3350414" y="395034"/>
                  <a:pt x="3345198" y="401765"/>
                </a:cubicBezTo>
                <a:cubicBezTo>
                  <a:pt x="3339980" y="408496"/>
                  <a:pt x="3333334" y="411861"/>
                  <a:pt x="3325256" y="411861"/>
                </a:cubicBezTo>
                <a:close/>
                <a:moveTo>
                  <a:pt x="2207070" y="453257"/>
                </a:moveTo>
                <a:lnTo>
                  <a:pt x="2207070" y="401765"/>
                </a:lnTo>
                <a:lnTo>
                  <a:pt x="2272697" y="401765"/>
                </a:lnTo>
                <a:lnTo>
                  <a:pt x="2272697" y="314430"/>
                </a:lnTo>
                <a:cubicBezTo>
                  <a:pt x="2272697" y="297939"/>
                  <a:pt x="2274043" y="283299"/>
                  <a:pt x="2276735" y="270510"/>
                </a:cubicBezTo>
                <a:cubicBezTo>
                  <a:pt x="2279428" y="257721"/>
                  <a:pt x="2284055" y="246868"/>
                  <a:pt x="2290618" y="237949"/>
                </a:cubicBezTo>
                <a:cubicBezTo>
                  <a:pt x="2297181" y="229031"/>
                  <a:pt x="2305931" y="222215"/>
                  <a:pt x="2316869" y="217504"/>
                </a:cubicBezTo>
                <a:cubicBezTo>
                  <a:pt x="2327807" y="212792"/>
                  <a:pt x="2341353" y="210436"/>
                  <a:pt x="2357508" y="210436"/>
                </a:cubicBezTo>
                <a:cubicBezTo>
                  <a:pt x="2366931" y="210436"/>
                  <a:pt x="2377280" y="211530"/>
                  <a:pt x="2388554" y="213718"/>
                </a:cubicBezTo>
                <a:cubicBezTo>
                  <a:pt x="2399829" y="215905"/>
                  <a:pt x="2411860" y="220028"/>
                  <a:pt x="2424649" y="226086"/>
                </a:cubicBezTo>
                <a:lnTo>
                  <a:pt x="2416572" y="276063"/>
                </a:lnTo>
                <a:cubicBezTo>
                  <a:pt x="2406475" y="271352"/>
                  <a:pt x="2397388" y="268239"/>
                  <a:pt x="2389312" y="266724"/>
                </a:cubicBezTo>
                <a:cubicBezTo>
                  <a:pt x="2381234" y="265210"/>
                  <a:pt x="2374335" y="264452"/>
                  <a:pt x="2368614" y="264452"/>
                </a:cubicBezTo>
                <a:cubicBezTo>
                  <a:pt x="2356498" y="264452"/>
                  <a:pt x="2347832" y="267902"/>
                  <a:pt x="2342615" y="274801"/>
                </a:cubicBezTo>
                <a:cubicBezTo>
                  <a:pt x="2337398" y="281701"/>
                  <a:pt x="2334790" y="292218"/>
                  <a:pt x="2334790" y="306353"/>
                </a:cubicBezTo>
                <a:lnTo>
                  <a:pt x="2334790" y="453257"/>
                </a:lnTo>
                <a:close/>
                <a:moveTo>
                  <a:pt x="1088092" y="457800"/>
                </a:moveTo>
                <a:cubicBezTo>
                  <a:pt x="1064870" y="457800"/>
                  <a:pt x="1044593" y="455949"/>
                  <a:pt x="1027260" y="452247"/>
                </a:cubicBezTo>
                <a:cubicBezTo>
                  <a:pt x="1009928" y="448545"/>
                  <a:pt x="993016" y="443665"/>
                  <a:pt x="976526" y="437607"/>
                </a:cubicBezTo>
                <a:lnTo>
                  <a:pt x="976526" y="215989"/>
                </a:lnTo>
                <a:lnTo>
                  <a:pt x="1039124" y="215989"/>
                </a:lnTo>
                <a:lnTo>
                  <a:pt x="1039124" y="392173"/>
                </a:lnTo>
                <a:cubicBezTo>
                  <a:pt x="1047874" y="394529"/>
                  <a:pt x="1056456" y="396128"/>
                  <a:pt x="1064870" y="396969"/>
                </a:cubicBezTo>
                <a:cubicBezTo>
                  <a:pt x="1073284" y="397810"/>
                  <a:pt x="1081866" y="398231"/>
                  <a:pt x="1090616" y="398231"/>
                </a:cubicBezTo>
                <a:cubicBezTo>
                  <a:pt x="1094318" y="398231"/>
                  <a:pt x="1098861" y="398063"/>
                  <a:pt x="1104246" y="397726"/>
                </a:cubicBezTo>
                <a:cubicBezTo>
                  <a:pt x="1109631" y="397390"/>
                  <a:pt x="1115184" y="396801"/>
                  <a:pt x="1120905" y="395959"/>
                </a:cubicBezTo>
                <a:cubicBezTo>
                  <a:pt x="1126627" y="395118"/>
                  <a:pt x="1132264" y="394192"/>
                  <a:pt x="1137817" y="393183"/>
                </a:cubicBezTo>
                <a:cubicBezTo>
                  <a:pt x="1143370" y="392173"/>
                  <a:pt x="1148166" y="391164"/>
                  <a:pt x="1152205" y="390154"/>
                </a:cubicBezTo>
                <a:lnTo>
                  <a:pt x="1163311" y="447704"/>
                </a:lnTo>
                <a:cubicBezTo>
                  <a:pt x="1157589" y="449723"/>
                  <a:pt x="1151111" y="451322"/>
                  <a:pt x="1143875" y="452500"/>
                </a:cubicBezTo>
                <a:cubicBezTo>
                  <a:pt x="1136639" y="453678"/>
                  <a:pt x="1129487" y="454687"/>
                  <a:pt x="1122420" y="455529"/>
                </a:cubicBezTo>
                <a:cubicBezTo>
                  <a:pt x="1115352" y="456370"/>
                  <a:pt x="1108706" y="456959"/>
                  <a:pt x="1102479" y="457296"/>
                </a:cubicBezTo>
                <a:cubicBezTo>
                  <a:pt x="1096253" y="457632"/>
                  <a:pt x="1091457" y="457800"/>
                  <a:pt x="1088092" y="457800"/>
                </a:cubicBezTo>
                <a:close/>
                <a:moveTo>
                  <a:pt x="2572782" y="459315"/>
                </a:moveTo>
                <a:cubicBezTo>
                  <a:pt x="2556628" y="459315"/>
                  <a:pt x="2541651" y="456370"/>
                  <a:pt x="2527852" y="450480"/>
                </a:cubicBezTo>
                <a:cubicBezTo>
                  <a:pt x="2514054" y="444591"/>
                  <a:pt x="2502190" y="436177"/>
                  <a:pt x="2492262" y="425239"/>
                </a:cubicBezTo>
                <a:cubicBezTo>
                  <a:pt x="2482334" y="414301"/>
                  <a:pt x="2474594" y="401176"/>
                  <a:pt x="2469040" y="385863"/>
                </a:cubicBezTo>
                <a:cubicBezTo>
                  <a:pt x="2463487" y="370550"/>
                  <a:pt x="2460711" y="353638"/>
                  <a:pt x="2460711" y="335128"/>
                </a:cubicBezTo>
                <a:cubicBezTo>
                  <a:pt x="2460711" y="316281"/>
                  <a:pt x="2463403" y="299201"/>
                  <a:pt x="2468788" y="283888"/>
                </a:cubicBezTo>
                <a:cubicBezTo>
                  <a:pt x="2474173" y="268575"/>
                  <a:pt x="2481829" y="255366"/>
                  <a:pt x="2491758" y="244259"/>
                </a:cubicBezTo>
                <a:cubicBezTo>
                  <a:pt x="2501686" y="233153"/>
                  <a:pt x="2513465" y="224571"/>
                  <a:pt x="2527095" y="218513"/>
                </a:cubicBezTo>
                <a:cubicBezTo>
                  <a:pt x="2540726" y="212455"/>
                  <a:pt x="2555954" y="209427"/>
                  <a:pt x="2572782" y="209427"/>
                </a:cubicBezTo>
                <a:cubicBezTo>
                  <a:pt x="2589609" y="209427"/>
                  <a:pt x="2604838" y="212455"/>
                  <a:pt x="2618468" y="218513"/>
                </a:cubicBezTo>
                <a:cubicBezTo>
                  <a:pt x="2632098" y="224571"/>
                  <a:pt x="2643794" y="233153"/>
                  <a:pt x="2653554" y="244259"/>
                </a:cubicBezTo>
                <a:cubicBezTo>
                  <a:pt x="2663314" y="255366"/>
                  <a:pt x="2670886" y="268575"/>
                  <a:pt x="2676271" y="283888"/>
                </a:cubicBezTo>
                <a:cubicBezTo>
                  <a:pt x="2681656" y="299201"/>
                  <a:pt x="2684348" y="316281"/>
                  <a:pt x="2684348" y="335128"/>
                </a:cubicBezTo>
                <a:cubicBezTo>
                  <a:pt x="2684348" y="353638"/>
                  <a:pt x="2681656" y="370550"/>
                  <a:pt x="2676271" y="385863"/>
                </a:cubicBezTo>
                <a:cubicBezTo>
                  <a:pt x="2670886" y="401176"/>
                  <a:pt x="2663230" y="414301"/>
                  <a:pt x="2653302" y="425239"/>
                </a:cubicBezTo>
                <a:cubicBezTo>
                  <a:pt x="2643373" y="436177"/>
                  <a:pt x="2631594" y="444591"/>
                  <a:pt x="2617964" y="450480"/>
                </a:cubicBezTo>
                <a:cubicBezTo>
                  <a:pt x="2604334" y="456370"/>
                  <a:pt x="2589273" y="459315"/>
                  <a:pt x="2572782" y="459315"/>
                </a:cubicBezTo>
                <a:close/>
                <a:moveTo>
                  <a:pt x="1810782" y="459315"/>
                </a:moveTo>
                <a:cubicBezTo>
                  <a:pt x="1794628" y="459315"/>
                  <a:pt x="1779651" y="456370"/>
                  <a:pt x="1765853" y="450480"/>
                </a:cubicBezTo>
                <a:cubicBezTo>
                  <a:pt x="1752054" y="444591"/>
                  <a:pt x="1740191" y="436177"/>
                  <a:pt x="1730262" y="425239"/>
                </a:cubicBezTo>
                <a:cubicBezTo>
                  <a:pt x="1720334" y="414301"/>
                  <a:pt x="1712594" y="401176"/>
                  <a:pt x="1707040" y="385863"/>
                </a:cubicBezTo>
                <a:cubicBezTo>
                  <a:pt x="1701488" y="370550"/>
                  <a:pt x="1698711" y="353638"/>
                  <a:pt x="1698711" y="335128"/>
                </a:cubicBezTo>
                <a:cubicBezTo>
                  <a:pt x="1698711" y="316281"/>
                  <a:pt x="1701403" y="299201"/>
                  <a:pt x="1706788" y="283888"/>
                </a:cubicBezTo>
                <a:cubicBezTo>
                  <a:pt x="1712173" y="268575"/>
                  <a:pt x="1719829" y="255366"/>
                  <a:pt x="1729758" y="244259"/>
                </a:cubicBezTo>
                <a:cubicBezTo>
                  <a:pt x="1739686" y="233153"/>
                  <a:pt x="1751465" y="224571"/>
                  <a:pt x="1765095" y="218513"/>
                </a:cubicBezTo>
                <a:cubicBezTo>
                  <a:pt x="1778726" y="212455"/>
                  <a:pt x="1793954" y="209427"/>
                  <a:pt x="1810782" y="209427"/>
                </a:cubicBezTo>
                <a:cubicBezTo>
                  <a:pt x="1827610" y="209427"/>
                  <a:pt x="1842838" y="212455"/>
                  <a:pt x="1856469" y="218513"/>
                </a:cubicBezTo>
                <a:cubicBezTo>
                  <a:pt x="1870099" y="224571"/>
                  <a:pt x="1881794" y="233153"/>
                  <a:pt x="1891554" y="244259"/>
                </a:cubicBezTo>
                <a:cubicBezTo>
                  <a:pt x="1901314" y="255366"/>
                  <a:pt x="1908886" y="268575"/>
                  <a:pt x="1914271" y="283888"/>
                </a:cubicBezTo>
                <a:cubicBezTo>
                  <a:pt x="1919656" y="299201"/>
                  <a:pt x="1922348" y="316281"/>
                  <a:pt x="1922348" y="335128"/>
                </a:cubicBezTo>
                <a:cubicBezTo>
                  <a:pt x="1922348" y="353638"/>
                  <a:pt x="1919656" y="370550"/>
                  <a:pt x="1914271" y="385863"/>
                </a:cubicBezTo>
                <a:cubicBezTo>
                  <a:pt x="1908886" y="401176"/>
                  <a:pt x="1901230" y="414301"/>
                  <a:pt x="1891302" y="425239"/>
                </a:cubicBezTo>
                <a:cubicBezTo>
                  <a:pt x="1881374" y="436177"/>
                  <a:pt x="1869594" y="444591"/>
                  <a:pt x="1855964" y="450480"/>
                </a:cubicBezTo>
                <a:cubicBezTo>
                  <a:pt x="1842334" y="456370"/>
                  <a:pt x="1827273" y="459315"/>
                  <a:pt x="1810782" y="459315"/>
                </a:cubicBezTo>
                <a:close/>
                <a:moveTo>
                  <a:pt x="810657" y="459315"/>
                </a:moveTo>
                <a:cubicBezTo>
                  <a:pt x="794503" y="459315"/>
                  <a:pt x="779526" y="456370"/>
                  <a:pt x="765728" y="450480"/>
                </a:cubicBezTo>
                <a:cubicBezTo>
                  <a:pt x="751929" y="444591"/>
                  <a:pt x="740066" y="436177"/>
                  <a:pt x="730138" y="425239"/>
                </a:cubicBezTo>
                <a:cubicBezTo>
                  <a:pt x="720209" y="414301"/>
                  <a:pt x="712469" y="401176"/>
                  <a:pt x="706916" y="385863"/>
                </a:cubicBezTo>
                <a:cubicBezTo>
                  <a:pt x="701362" y="370550"/>
                  <a:pt x="698586" y="353638"/>
                  <a:pt x="698586" y="335128"/>
                </a:cubicBezTo>
                <a:cubicBezTo>
                  <a:pt x="698586" y="316281"/>
                  <a:pt x="701278" y="299201"/>
                  <a:pt x="706663" y="283888"/>
                </a:cubicBezTo>
                <a:cubicBezTo>
                  <a:pt x="712048" y="268575"/>
                  <a:pt x="719704" y="255366"/>
                  <a:pt x="729633" y="244259"/>
                </a:cubicBezTo>
                <a:cubicBezTo>
                  <a:pt x="739561" y="233153"/>
                  <a:pt x="751340" y="224571"/>
                  <a:pt x="764970" y="218513"/>
                </a:cubicBezTo>
                <a:cubicBezTo>
                  <a:pt x="778601" y="212455"/>
                  <a:pt x="793830" y="209427"/>
                  <a:pt x="810657" y="209427"/>
                </a:cubicBezTo>
                <a:cubicBezTo>
                  <a:pt x="827485" y="209427"/>
                  <a:pt x="842713" y="212455"/>
                  <a:pt x="856344" y="218513"/>
                </a:cubicBezTo>
                <a:cubicBezTo>
                  <a:pt x="869974" y="224571"/>
                  <a:pt x="881669" y="233153"/>
                  <a:pt x="891429" y="244259"/>
                </a:cubicBezTo>
                <a:cubicBezTo>
                  <a:pt x="901189" y="255366"/>
                  <a:pt x="908761" y="268575"/>
                  <a:pt x="914146" y="283888"/>
                </a:cubicBezTo>
                <a:cubicBezTo>
                  <a:pt x="919531" y="299201"/>
                  <a:pt x="922223" y="316281"/>
                  <a:pt x="922223" y="335128"/>
                </a:cubicBezTo>
                <a:cubicBezTo>
                  <a:pt x="922223" y="353638"/>
                  <a:pt x="919531" y="370550"/>
                  <a:pt x="914146" y="385863"/>
                </a:cubicBezTo>
                <a:cubicBezTo>
                  <a:pt x="908761" y="401176"/>
                  <a:pt x="901105" y="414301"/>
                  <a:pt x="891177" y="425239"/>
                </a:cubicBezTo>
                <a:cubicBezTo>
                  <a:pt x="881248" y="436177"/>
                  <a:pt x="869469" y="444591"/>
                  <a:pt x="855839" y="450480"/>
                </a:cubicBezTo>
                <a:cubicBezTo>
                  <a:pt x="842209" y="456370"/>
                  <a:pt x="827148" y="459315"/>
                  <a:pt x="810657" y="459315"/>
                </a:cubicBezTo>
                <a:close/>
                <a:moveTo>
                  <a:pt x="546919" y="477993"/>
                </a:moveTo>
                <a:cubicBezTo>
                  <a:pt x="563410" y="477993"/>
                  <a:pt x="576620" y="474207"/>
                  <a:pt x="586548" y="466635"/>
                </a:cubicBezTo>
                <a:cubicBezTo>
                  <a:pt x="596476" y="459062"/>
                  <a:pt x="601441" y="446189"/>
                  <a:pt x="601441" y="428016"/>
                </a:cubicBezTo>
                <a:cubicBezTo>
                  <a:pt x="601441" y="408832"/>
                  <a:pt x="596392" y="395286"/>
                  <a:pt x="586296" y="387377"/>
                </a:cubicBezTo>
                <a:cubicBezTo>
                  <a:pt x="576199" y="379468"/>
                  <a:pt x="561223" y="375514"/>
                  <a:pt x="541366" y="375514"/>
                </a:cubicBezTo>
                <a:lnTo>
                  <a:pt x="516125" y="375514"/>
                </a:lnTo>
                <a:lnTo>
                  <a:pt x="516125" y="476479"/>
                </a:lnTo>
                <a:cubicBezTo>
                  <a:pt x="519827" y="477152"/>
                  <a:pt x="524960" y="477573"/>
                  <a:pt x="531522" y="477741"/>
                </a:cubicBezTo>
                <a:cubicBezTo>
                  <a:pt x="538085" y="477909"/>
                  <a:pt x="543217" y="477993"/>
                  <a:pt x="546919" y="477993"/>
                </a:cubicBezTo>
                <a:close/>
                <a:moveTo>
                  <a:pt x="3324752" y="482537"/>
                </a:moveTo>
                <a:cubicBezTo>
                  <a:pt x="3341916" y="482537"/>
                  <a:pt x="3354958" y="473198"/>
                  <a:pt x="3363876" y="454519"/>
                </a:cubicBezTo>
                <a:cubicBezTo>
                  <a:pt x="3372794" y="435841"/>
                  <a:pt x="3377254" y="408664"/>
                  <a:pt x="3377254" y="372990"/>
                </a:cubicBezTo>
                <a:cubicBezTo>
                  <a:pt x="3377254" y="336979"/>
                  <a:pt x="3372794" y="309634"/>
                  <a:pt x="3363876" y="290956"/>
                </a:cubicBezTo>
                <a:cubicBezTo>
                  <a:pt x="3354958" y="272277"/>
                  <a:pt x="3341916" y="262938"/>
                  <a:pt x="3324752" y="262938"/>
                </a:cubicBezTo>
                <a:cubicBezTo>
                  <a:pt x="3307924" y="262938"/>
                  <a:pt x="3294968" y="272277"/>
                  <a:pt x="3285880" y="290956"/>
                </a:cubicBezTo>
                <a:cubicBezTo>
                  <a:pt x="3276794" y="309634"/>
                  <a:pt x="3272250" y="336979"/>
                  <a:pt x="3272250" y="372990"/>
                </a:cubicBezTo>
                <a:cubicBezTo>
                  <a:pt x="3272250" y="408664"/>
                  <a:pt x="3276794" y="435841"/>
                  <a:pt x="3285880" y="454519"/>
                </a:cubicBezTo>
                <a:cubicBezTo>
                  <a:pt x="3294968" y="473198"/>
                  <a:pt x="3307924" y="482537"/>
                  <a:pt x="3324752" y="482537"/>
                </a:cubicBezTo>
                <a:close/>
                <a:moveTo>
                  <a:pt x="1323054" y="522923"/>
                </a:moveTo>
                <a:lnTo>
                  <a:pt x="1260961" y="512826"/>
                </a:lnTo>
                <a:lnTo>
                  <a:pt x="1260961" y="453257"/>
                </a:lnTo>
                <a:lnTo>
                  <a:pt x="1206945" y="453257"/>
                </a:lnTo>
                <a:lnTo>
                  <a:pt x="1206945" y="401765"/>
                </a:lnTo>
                <a:lnTo>
                  <a:pt x="1260961" y="401765"/>
                </a:lnTo>
                <a:lnTo>
                  <a:pt x="1260961" y="304334"/>
                </a:lnTo>
                <a:cubicBezTo>
                  <a:pt x="1260961" y="284477"/>
                  <a:pt x="1262980" y="268407"/>
                  <a:pt x="1267019" y="256123"/>
                </a:cubicBezTo>
                <a:cubicBezTo>
                  <a:pt x="1271057" y="243839"/>
                  <a:pt x="1276947" y="234331"/>
                  <a:pt x="1284688" y="227600"/>
                </a:cubicBezTo>
                <a:cubicBezTo>
                  <a:pt x="1292428" y="220869"/>
                  <a:pt x="1301852" y="216326"/>
                  <a:pt x="1312958" y="213970"/>
                </a:cubicBezTo>
                <a:cubicBezTo>
                  <a:pt x="1324064" y="211614"/>
                  <a:pt x="1336853" y="210436"/>
                  <a:pt x="1351325" y="210436"/>
                </a:cubicBezTo>
                <a:cubicBezTo>
                  <a:pt x="1363777" y="210436"/>
                  <a:pt x="1376650" y="211446"/>
                  <a:pt x="1389944" y="213465"/>
                </a:cubicBezTo>
                <a:cubicBezTo>
                  <a:pt x="1403238" y="215484"/>
                  <a:pt x="1415606" y="218850"/>
                  <a:pt x="1427048" y="223562"/>
                </a:cubicBezTo>
                <a:lnTo>
                  <a:pt x="1418466" y="277073"/>
                </a:lnTo>
                <a:cubicBezTo>
                  <a:pt x="1412745" y="274381"/>
                  <a:pt x="1407444" y="272193"/>
                  <a:pt x="1402564" y="270510"/>
                </a:cubicBezTo>
                <a:cubicBezTo>
                  <a:pt x="1397684" y="268828"/>
                  <a:pt x="1392973" y="267566"/>
                  <a:pt x="1388429" y="266724"/>
                </a:cubicBezTo>
                <a:cubicBezTo>
                  <a:pt x="1383886" y="265883"/>
                  <a:pt x="1379174" y="265294"/>
                  <a:pt x="1374294" y="264957"/>
                </a:cubicBezTo>
                <a:cubicBezTo>
                  <a:pt x="1369414" y="264621"/>
                  <a:pt x="1364114" y="264452"/>
                  <a:pt x="1358392" y="264452"/>
                </a:cubicBezTo>
                <a:cubicBezTo>
                  <a:pt x="1353007" y="264452"/>
                  <a:pt x="1348127" y="264957"/>
                  <a:pt x="1343752" y="265967"/>
                </a:cubicBezTo>
                <a:cubicBezTo>
                  <a:pt x="1339377" y="266977"/>
                  <a:pt x="1335675" y="268996"/>
                  <a:pt x="1332646" y="272025"/>
                </a:cubicBezTo>
                <a:cubicBezTo>
                  <a:pt x="1329617" y="275054"/>
                  <a:pt x="1327261" y="279261"/>
                  <a:pt x="1325579" y="284645"/>
                </a:cubicBezTo>
                <a:cubicBezTo>
                  <a:pt x="1323896" y="290030"/>
                  <a:pt x="1323054" y="297098"/>
                  <a:pt x="1323054" y="305848"/>
                </a:cubicBezTo>
                <a:lnTo>
                  <a:pt x="1323054" y="401765"/>
                </a:lnTo>
                <a:lnTo>
                  <a:pt x="1422505" y="401765"/>
                </a:lnTo>
                <a:lnTo>
                  <a:pt x="1422505" y="453257"/>
                </a:lnTo>
                <a:lnTo>
                  <a:pt x="1323054" y="453257"/>
                </a:lnTo>
                <a:close/>
                <a:moveTo>
                  <a:pt x="539852" y="532010"/>
                </a:moveTo>
                <a:cubicBezTo>
                  <a:pt x="534131" y="532010"/>
                  <a:pt x="527568" y="531841"/>
                  <a:pt x="520164" y="531505"/>
                </a:cubicBezTo>
                <a:cubicBezTo>
                  <a:pt x="512760" y="531168"/>
                  <a:pt x="505187" y="530748"/>
                  <a:pt x="497447" y="530243"/>
                </a:cubicBezTo>
                <a:cubicBezTo>
                  <a:pt x="489706" y="529738"/>
                  <a:pt x="482049" y="528981"/>
                  <a:pt x="474477" y="527971"/>
                </a:cubicBezTo>
                <a:cubicBezTo>
                  <a:pt x="466905" y="526961"/>
                  <a:pt x="460090" y="525784"/>
                  <a:pt x="454032" y="524437"/>
                </a:cubicBezTo>
                <a:lnTo>
                  <a:pt x="454032" y="215989"/>
                </a:lnTo>
                <a:lnTo>
                  <a:pt x="516125" y="215989"/>
                </a:lnTo>
                <a:lnTo>
                  <a:pt x="516125" y="321498"/>
                </a:lnTo>
                <a:lnTo>
                  <a:pt x="538337" y="321498"/>
                </a:lnTo>
                <a:cubicBezTo>
                  <a:pt x="578723" y="321498"/>
                  <a:pt x="609938" y="329827"/>
                  <a:pt x="631982" y="346486"/>
                </a:cubicBezTo>
                <a:cubicBezTo>
                  <a:pt x="654026" y="363146"/>
                  <a:pt x="665048" y="390154"/>
                  <a:pt x="665048" y="427511"/>
                </a:cubicBezTo>
                <a:cubicBezTo>
                  <a:pt x="665048" y="464531"/>
                  <a:pt x="654111" y="491203"/>
                  <a:pt x="632235" y="507526"/>
                </a:cubicBezTo>
                <a:cubicBezTo>
                  <a:pt x="610359" y="523848"/>
                  <a:pt x="579565" y="532010"/>
                  <a:pt x="539852" y="532010"/>
                </a:cubicBezTo>
                <a:close/>
                <a:moveTo>
                  <a:pt x="3816452" y="535544"/>
                </a:moveTo>
                <a:cubicBezTo>
                  <a:pt x="3797604" y="535544"/>
                  <a:pt x="3780694" y="532430"/>
                  <a:pt x="3765716" y="526204"/>
                </a:cubicBezTo>
                <a:cubicBezTo>
                  <a:pt x="3750740" y="519978"/>
                  <a:pt x="3738708" y="513836"/>
                  <a:pt x="3729622" y="507778"/>
                </a:cubicBezTo>
                <a:lnTo>
                  <a:pt x="3751834" y="462344"/>
                </a:lnTo>
                <a:cubicBezTo>
                  <a:pt x="3760248" y="468065"/>
                  <a:pt x="3770260" y="472861"/>
                  <a:pt x="3781872" y="476731"/>
                </a:cubicBezTo>
                <a:cubicBezTo>
                  <a:pt x="3793482" y="480602"/>
                  <a:pt x="3805178" y="482537"/>
                  <a:pt x="3816956" y="482537"/>
                </a:cubicBezTo>
                <a:cubicBezTo>
                  <a:pt x="3829072" y="482537"/>
                  <a:pt x="3838580" y="479255"/>
                  <a:pt x="3845480" y="472693"/>
                </a:cubicBezTo>
                <a:cubicBezTo>
                  <a:pt x="3852378" y="466130"/>
                  <a:pt x="3855828" y="457127"/>
                  <a:pt x="3855828" y="445685"/>
                </a:cubicBezTo>
                <a:cubicBezTo>
                  <a:pt x="3855828" y="437944"/>
                  <a:pt x="3854230" y="431550"/>
                  <a:pt x="3851032" y="426501"/>
                </a:cubicBezTo>
                <a:cubicBezTo>
                  <a:pt x="3847836" y="421453"/>
                  <a:pt x="3843712" y="417414"/>
                  <a:pt x="3838664" y="414385"/>
                </a:cubicBezTo>
                <a:cubicBezTo>
                  <a:pt x="3833616" y="411357"/>
                  <a:pt x="3827894" y="409169"/>
                  <a:pt x="3821500" y="407823"/>
                </a:cubicBezTo>
                <a:cubicBezTo>
                  <a:pt x="3815106" y="406477"/>
                  <a:pt x="3808712" y="405803"/>
                  <a:pt x="3802316" y="405803"/>
                </a:cubicBezTo>
                <a:lnTo>
                  <a:pt x="3779094" y="405803"/>
                </a:lnTo>
                <a:lnTo>
                  <a:pt x="3779094" y="354311"/>
                </a:lnTo>
                <a:lnTo>
                  <a:pt x="3798278" y="354311"/>
                </a:lnTo>
                <a:cubicBezTo>
                  <a:pt x="3818470" y="354311"/>
                  <a:pt x="3835130" y="351030"/>
                  <a:pt x="3848256" y="344467"/>
                </a:cubicBezTo>
                <a:cubicBezTo>
                  <a:pt x="3861380" y="337904"/>
                  <a:pt x="3867944" y="326378"/>
                  <a:pt x="3867944" y="309887"/>
                </a:cubicBezTo>
                <a:cubicBezTo>
                  <a:pt x="3867944" y="296425"/>
                  <a:pt x="3863652" y="285150"/>
                  <a:pt x="3855072" y="276063"/>
                </a:cubicBezTo>
                <a:cubicBezTo>
                  <a:pt x="3846488" y="266977"/>
                  <a:pt x="3831596" y="262433"/>
                  <a:pt x="3810394" y="262433"/>
                </a:cubicBezTo>
                <a:cubicBezTo>
                  <a:pt x="3793230" y="262433"/>
                  <a:pt x="3778506" y="264284"/>
                  <a:pt x="3766222" y="267986"/>
                </a:cubicBezTo>
                <a:cubicBezTo>
                  <a:pt x="3753938" y="271688"/>
                  <a:pt x="3743924" y="275222"/>
                  <a:pt x="3736184" y="278588"/>
                </a:cubicBezTo>
                <a:lnTo>
                  <a:pt x="3724068" y="226591"/>
                </a:lnTo>
                <a:cubicBezTo>
                  <a:pt x="3727770" y="224908"/>
                  <a:pt x="3732988" y="223057"/>
                  <a:pt x="3739718" y="221037"/>
                </a:cubicBezTo>
                <a:cubicBezTo>
                  <a:pt x="3746450" y="219018"/>
                  <a:pt x="3753770" y="217167"/>
                  <a:pt x="3761678" y="215484"/>
                </a:cubicBezTo>
                <a:cubicBezTo>
                  <a:pt x="3769588" y="213802"/>
                  <a:pt x="3777832" y="212371"/>
                  <a:pt x="3786414" y="211193"/>
                </a:cubicBezTo>
                <a:cubicBezTo>
                  <a:pt x="3794996" y="210015"/>
                  <a:pt x="3803158" y="209427"/>
                  <a:pt x="3810898" y="209427"/>
                </a:cubicBezTo>
                <a:cubicBezTo>
                  <a:pt x="3831764" y="209427"/>
                  <a:pt x="3849770" y="211867"/>
                  <a:pt x="3864916" y="216746"/>
                </a:cubicBezTo>
                <a:cubicBezTo>
                  <a:pt x="3880060" y="221626"/>
                  <a:pt x="3892512" y="228526"/>
                  <a:pt x="3902272" y="237444"/>
                </a:cubicBezTo>
                <a:cubicBezTo>
                  <a:pt x="3912032" y="246363"/>
                  <a:pt x="3919268" y="256880"/>
                  <a:pt x="3923980" y="268996"/>
                </a:cubicBezTo>
                <a:cubicBezTo>
                  <a:pt x="3928692" y="281112"/>
                  <a:pt x="3931048" y="294405"/>
                  <a:pt x="3931048" y="308877"/>
                </a:cubicBezTo>
                <a:cubicBezTo>
                  <a:pt x="3931048" y="327051"/>
                  <a:pt x="3926588" y="342700"/>
                  <a:pt x="3917668" y="355826"/>
                </a:cubicBezTo>
                <a:cubicBezTo>
                  <a:pt x="3908750" y="368951"/>
                  <a:pt x="3896214" y="378879"/>
                  <a:pt x="3880060" y="385610"/>
                </a:cubicBezTo>
                <a:cubicBezTo>
                  <a:pt x="3891840" y="391668"/>
                  <a:pt x="3901262" y="400419"/>
                  <a:pt x="3908330" y="411861"/>
                </a:cubicBezTo>
                <a:cubicBezTo>
                  <a:pt x="3915398" y="423304"/>
                  <a:pt x="3918932" y="435252"/>
                  <a:pt x="3918932" y="447704"/>
                </a:cubicBezTo>
                <a:cubicBezTo>
                  <a:pt x="3918932" y="460156"/>
                  <a:pt x="3916912" y="471767"/>
                  <a:pt x="3912874" y="482537"/>
                </a:cubicBezTo>
                <a:cubicBezTo>
                  <a:pt x="3908834" y="493306"/>
                  <a:pt x="3902608" y="502646"/>
                  <a:pt x="3894196" y="510555"/>
                </a:cubicBezTo>
                <a:cubicBezTo>
                  <a:pt x="3885780" y="518464"/>
                  <a:pt x="3875096" y="524606"/>
                  <a:pt x="3862138" y="528981"/>
                </a:cubicBezTo>
                <a:cubicBezTo>
                  <a:pt x="3849180" y="533356"/>
                  <a:pt x="3833952" y="535544"/>
                  <a:pt x="3816452" y="535544"/>
                </a:cubicBezTo>
                <a:close/>
                <a:moveTo>
                  <a:pt x="3567354" y="535544"/>
                </a:moveTo>
                <a:cubicBezTo>
                  <a:pt x="3549854" y="535544"/>
                  <a:pt x="3532268" y="532178"/>
                  <a:pt x="3514600" y="525447"/>
                </a:cubicBezTo>
                <a:cubicBezTo>
                  <a:pt x="3496930" y="518716"/>
                  <a:pt x="3481366" y="508283"/>
                  <a:pt x="3467904" y="494148"/>
                </a:cubicBezTo>
                <a:lnTo>
                  <a:pt x="3498698" y="450733"/>
                </a:lnTo>
                <a:cubicBezTo>
                  <a:pt x="3509130" y="461839"/>
                  <a:pt x="3519732" y="469748"/>
                  <a:pt x="3530502" y="474460"/>
                </a:cubicBezTo>
                <a:cubicBezTo>
                  <a:pt x="3541272" y="479171"/>
                  <a:pt x="3551536" y="481527"/>
                  <a:pt x="3561296" y="481527"/>
                </a:cubicBezTo>
                <a:cubicBezTo>
                  <a:pt x="3573076" y="481527"/>
                  <a:pt x="3582836" y="478078"/>
                  <a:pt x="3590576" y="471178"/>
                </a:cubicBezTo>
                <a:cubicBezTo>
                  <a:pt x="3598316" y="464279"/>
                  <a:pt x="3602186" y="454435"/>
                  <a:pt x="3602188" y="441646"/>
                </a:cubicBezTo>
                <a:cubicBezTo>
                  <a:pt x="3602186" y="432559"/>
                  <a:pt x="3599074" y="423641"/>
                  <a:pt x="3592848" y="414890"/>
                </a:cubicBezTo>
                <a:cubicBezTo>
                  <a:pt x="3586622" y="406140"/>
                  <a:pt x="3578712" y="397053"/>
                  <a:pt x="3569120" y="387630"/>
                </a:cubicBezTo>
                <a:cubicBezTo>
                  <a:pt x="3559528" y="378206"/>
                  <a:pt x="3549264" y="368362"/>
                  <a:pt x="3538326" y="358097"/>
                </a:cubicBezTo>
                <a:cubicBezTo>
                  <a:pt x="3527388" y="347833"/>
                  <a:pt x="3517124" y="336727"/>
                  <a:pt x="3507532" y="324779"/>
                </a:cubicBezTo>
                <a:cubicBezTo>
                  <a:pt x="3497940" y="312831"/>
                  <a:pt x="3490032" y="299790"/>
                  <a:pt x="3483806" y="285655"/>
                </a:cubicBezTo>
                <a:cubicBezTo>
                  <a:pt x="3477580" y="271520"/>
                  <a:pt x="3474466" y="256039"/>
                  <a:pt x="3474466" y="239211"/>
                </a:cubicBezTo>
                <a:cubicBezTo>
                  <a:pt x="3474466" y="237192"/>
                  <a:pt x="3474382" y="233658"/>
                  <a:pt x="3474214" y="228610"/>
                </a:cubicBezTo>
                <a:cubicBezTo>
                  <a:pt x="3474046" y="223562"/>
                  <a:pt x="3474466" y="219355"/>
                  <a:pt x="3475476" y="215989"/>
                </a:cubicBezTo>
                <a:lnTo>
                  <a:pt x="3679426" y="215989"/>
                </a:lnTo>
                <a:lnTo>
                  <a:pt x="3679426" y="267481"/>
                </a:lnTo>
                <a:lnTo>
                  <a:pt x="3545142" y="267481"/>
                </a:lnTo>
                <a:cubicBezTo>
                  <a:pt x="3545142" y="272530"/>
                  <a:pt x="3546908" y="278083"/>
                  <a:pt x="3550442" y="284141"/>
                </a:cubicBezTo>
                <a:cubicBezTo>
                  <a:pt x="3553976" y="290198"/>
                  <a:pt x="3558268" y="296172"/>
                  <a:pt x="3563316" y="302062"/>
                </a:cubicBezTo>
                <a:cubicBezTo>
                  <a:pt x="3568364" y="307952"/>
                  <a:pt x="3573748" y="313673"/>
                  <a:pt x="3579470" y="319226"/>
                </a:cubicBezTo>
                <a:cubicBezTo>
                  <a:pt x="3585190" y="324779"/>
                  <a:pt x="3590240" y="329575"/>
                  <a:pt x="3594614" y="333613"/>
                </a:cubicBezTo>
                <a:cubicBezTo>
                  <a:pt x="3603364" y="341691"/>
                  <a:pt x="3611946" y="350104"/>
                  <a:pt x="3620360" y="358855"/>
                </a:cubicBezTo>
                <a:cubicBezTo>
                  <a:pt x="3628774" y="367605"/>
                  <a:pt x="3636346" y="376692"/>
                  <a:pt x="3643078" y="386115"/>
                </a:cubicBezTo>
                <a:cubicBezTo>
                  <a:pt x="3649808" y="395539"/>
                  <a:pt x="3655194" y="405214"/>
                  <a:pt x="3659232" y="415143"/>
                </a:cubicBezTo>
                <a:cubicBezTo>
                  <a:pt x="3663270" y="425071"/>
                  <a:pt x="3665290" y="435420"/>
                  <a:pt x="3665290" y="446189"/>
                </a:cubicBezTo>
                <a:cubicBezTo>
                  <a:pt x="3665290" y="460998"/>
                  <a:pt x="3662598" y="474039"/>
                  <a:pt x="3657212" y="485313"/>
                </a:cubicBezTo>
                <a:cubicBezTo>
                  <a:pt x="3651828" y="496588"/>
                  <a:pt x="3644592" y="505927"/>
                  <a:pt x="3635506" y="513331"/>
                </a:cubicBezTo>
                <a:cubicBezTo>
                  <a:pt x="3626418" y="520735"/>
                  <a:pt x="3615986" y="526288"/>
                  <a:pt x="3604206" y="529990"/>
                </a:cubicBezTo>
                <a:cubicBezTo>
                  <a:pt x="3592426" y="533692"/>
                  <a:pt x="3580142" y="535544"/>
                  <a:pt x="3567354" y="535544"/>
                </a:cubicBezTo>
                <a:close/>
                <a:moveTo>
                  <a:pt x="3324752" y="535544"/>
                </a:moveTo>
                <a:cubicBezTo>
                  <a:pt x="3290088" y="535544"/>
                  <a:pt x="3263332" y="522081"/>
                  <a:pt x="3244486" y="495157"/>
                </a:cubicBezTo>
                <a:cubicBezTo>
                  <a:pt x="3225638" y="468233"/>
                  <a:pt x="3216214" y="427511"/>
                  <a:pt x="3216214" y="372990"/>
                </a:cubicBezTo>
                <a:cubicBezTo>
                  <a:pt x="3216214" y="317796"/>
                  <a:pt x="3225470" y="276737"/>
                  <a:pt x="3243980" y="249813"/>
                </a:cubicBezTo>
                <a:cubicBezTo>
                  <a:pt x="3262490" y="222889"/>
                  <a:pt x="3289414" y="209427"/>
                  <a:pt x="3324752" y="209427"/>
                </a:cubicBezTo>
                <a:cubicBezTo>
                  <a:pt x="3360090" y="209427"/>
                  <a:pt x="3387014" y="222889"/>
                  <a:pt x="3405524" y="249813"/>
                </a:cubicBezTo>
                <a:cubicBezTo>
                  <a:pt x="3424034" y="276737"/>
                  <a:pt x="3433290" y="317796"/>
                  <a:pt x="3433290" y="372990"/>
                </a:cubicBezTo>
                <a:cubicBezTo>
                  <a:pt x="3433290" y="427847"/>
                  <a:pt x="3424034" y="468654"/>
                  <a:pt x="3405524" y="495410"/>
                </a:cubicBezTo>
                <a:cubicBezTo>
                  <a:pt x="3387014" y="522166"/>
                  <a:pt x="3360090" y="535544"/>
                  <a:pt x="3324752" y="535544"/>
                </a:cubicBezTo>
                <a:close/>
                <a:moveTo>
                  <a:pt x="3062528" y="535544"/>
                </a:moveTo>
                <a:cubicBezTo>
                  <a:pt x="3045028" y="535544"/>
                  <a:pt x="3027444" y="532178"/>
                  <a:pt x="3009774" y="525447"/>
                </a:cubicBezTo>
                <a:cubicBezTo>
                  <a:pt x="2992106" y="518716"/>
                  <a:pt x="2976540" y="508283"/>
                  <a:pt x="2963078" y="494148"/>
                </a:cubicBezTo>
                <a:lnTo>
                  <a:pt x="2993872" y="450733"/>
                </a:lnTo>
                <a:cubicBezTo>
                  <a:pt x="3004306" y="461839"/>
                  <a:pt x="3014908" y="469748"/>
                  <a:pt x="3025676" y="474460"/>
                </a:cubicBezTo>
                <a:cubicBezTo>
                  <a:pt x="3036446" y="479171"/>
                  <a:pt x="3046712" y="481527"/>
                  <a:pt x="3056472" y="481527"/>
                </a:cubicBezTo>
                <a:cubicBezTo>
                  <a:pt x="3068250" y="481527"/>
                  <a:pt x="3078010" y="478078"/>
                  <a:pt x="3085752" y="471178"/>
                </a:cubicBezTo>
                <a:cubicBezTo>
                  <a:pt x="3093492" y="464279"/>
                  <a:pt x="3097362" y="454435"/>
                  <a:pt x="3097362" y="441646"/>
                </a:cubicBezTo>
                <a:cubicBezTo>
                  <a:pt x="3097362" y="432559"/>
                  <a:pt x="3094248" y="423641"/>
                  <a:pt x="3088022" y="414890"/>
                </a:cubicBezTo>
                <a:cubicBezTo>
                  <a:pt x="3081796" y="406140"/>
                  <a:pt x="3073888" y="397053"/>
                  <a:pt x="3064296" y="387630"/>
                </a:cubicBezTo>
                <a:cubicBezTo>
                  <a:pt x="3054704" y="378206"/>
                  <a:pt x="3044440" y="368362"/>
                  <a:pt x="3033502" y="358097"/>
                </a:cubicBezTo>
                <a:cubicBezTo>
                  <a:pt x="3022564" y="347833"/>
                  <a:pt x="3012298" y="336727"/>
                  <a:pt x="3002708" y="324779"/>
                </a:cubicBezTo>
                <a:cubicBezTo>
                  <a:pt x="2993116" y="312831"/>
                  <a:pt x="2985206" y="299790"/>
                  <a:pt x="2978980" y="285655"/>
                </a:cubicBezTo>
                <a:cubicBezTo>
                  <a:pt x="2972754" y="271520"/>
                  <a:pt x="2969642" y="256039"/>
                  <a:pt x="2969642" y="239211"/>
                </a:cubicBezTo>
                <a:cubicBezTo>
                  <a:pt x="2969642" y="237192"/>
                  <a:pt x="2969558" y="233658"/>
                  <a:pt x="2969388" y="228610"/>
                </a:cubicBezTo>
                <a:cubicBezTo>
                  <a:pt x="2969220" y="223562"/>
                  <a:pt x="2969640" y="219355"/>
                  <a:pt x="2970650" y="215989"/>
                </a:cubicBezTo>
                <a:lnTo>
                  <a:pt x="3174600" y="215989"/>
                </a:lnTo>
                <a:lnTo>
                  <a:pt x="3174600" y="267481"/>
                </a:lnTo>
                <a:lnTo>
                  <a:pt x="3040316" y="267481"/>
                </a:lnTo>
                <a:cubicBezTo>
                  <a:pt x="3040316" y="272530"/>
                  <a:pt x="3042084" y="278083"/>
                  <a:pt x="3045618" y="284141"/>
                </a:cubicBezTo>
                <a:cubicBezTo>
                  <a:pt x="3049152" y="290198"/>
                  <a:pt x="3053442" y="296172"/>
                  <a:pt x="3058490" y="302062"/>
                </a:cubicBezTo>
                <a:cubicBezTo>
                  <a:pt x="3063538" y="307952"/>
                  <a:pt x="3068924" y="313673"/>
                  <a:pt x="3074644" y="319226"/>
                </a:cubicBezTo>
                <a:cubicBezTo>
                  <a:pt x="3080366" y="324779"/>
                  <a:pt x="3085414" y="329575"/>
                  <a:pt x="3089790" y="333613"/>
                </a:cubicBezTo>
                <a:cubicBezTo>
                  <a:pt x="3098540" y="341691"/>
                  <a:pt x="3107122" y="350104"/>
                  <a:pt x="3115536" y="358855"/>
                </a:cubicBezTo>
                <a:cubicBezTo>
                  <a:pt x="3123950" y="367605"/>
                  <a:pt x="3131522" y="376692"/>
                  <a:pt x="3138252" y="386115"/>
                </a:cubicBezTo>
                <a:cubicBezTo>
                  <a:pt x="3144984" y="395539"/>
                  <a:pt x="3150368" y="405214"/>
                  <a:pt x="3154408" y="415143"/>
                </a:cubicBezTo>
                <a:cubicBezTo>
                  <a:pt x="3158446" y="425071"/>
                  <a:pt x="3160464" y="435420"/>
                  <a:pt x="3160464" y="446189"/>
                </a:cubicBezTo>
                <a:cubicBezTo>
                  <a:pt x="3160464" y="460998"/>
                  <a:pt x="3157772" y="474039"/>
                  <a:pt x="3152388" y="485313"/>
                </a:cubicBezTo>
                <a:cubicBezTo>
                  <a:pt x="3147002" y="496588"/>
                  <a:pt x="3139766" y="505927"/>
                  <a:pt x="3130680" y="513331"/>
                </a:cubicBezTo>
                <a:cubicBezTo>
                  <a:pt x="3121594" y="520735"/>
                  <a:pt x="3111160" y="526288"/>
                  <a:pt x="3099382" y="529990"/>
                </a:cubicBezTo>
                <a:cubicBezTo>
                  <a:pt x="3087602" y="533692"/>
                  <a:pt x="3075318" y="535544"/>
                  <a:pt x="3062528" y="535544"/>
                </a:cubicBezTo>
                <a:close/>
                <a:moveTo>
                  <a:pt x="2292890" y="561290"/>
                </a:moveTo>
                <a:cubicBezTo>
                  <a:pt x="2282120" y="561290"/>
                  <a:pt x="2272949" y="557756"/>
                  <a:pt x="2265377" y="550688"/>
                </a:cubicBezTo>
                <a:cubicBezTo>
                  <a:pt x="2257805" y="543621"/>
                  <a:pt x="2254018" y="533861"/>
                  <a:pt x="2254018" y="521408"/>
                </a:cubicBezTo>
                <a:cubicBezTo>
                  <a:pt x="2254018" y="509293"/>
                  <a:pt x="2257805" y="499701"/>
                  <a:pt x="2265377" y="492633"/>
                </a:cubicBezTo>
                <a:cubicBezTo>
                  <a:pt x="2272949" y="485566"/>
                  <a:pt x="2282120" y="482032"/>
                  <a:pt x="2292890" y="482032"/>
                </a:cubicBezTo>
                <a:cubicBezTo>
                  <a:pt x="2303660" y="482032"/>
                  <a:pt x="2312914" y="485566"/>
                  <a:pt x="2320655" y="492633"/>
                </a:cubicBezTo>
                <a:cubicBezTo>
                  <a:pt x="2328396" y="499701"/>
                  <a:pt x="2332266" y="509293"/>
                  <a:pt x="2332266" y="521408"/>
                </a:cubicBezTo>
                <a:cubicBezTo>
                  <a:pt x="2332266" y="533861"/>
                  <a:pt x="2328396" y="543621"/>
                  <a:pt x="2320655" y="550688"/>
                </a:cubicBezTo>
                <a:cubicBezTo>
                  <a:pt x="2312914" y="557756"/>
                  <a:pt x="2303660" y="561290"/>
                  <a:pt x="2292890" y="561290"/>
                </a:cubicBezTo>
                <a:close/>
                <a:moveTo>
                  <a:pt x="1959420" y="563309"/>
                </a:moveTo>
                <a:lnTo>
                  <a:pt x="1959420" y="511817"/>
                </a:lnTo>
                <a:lnTo>
                  <a:pt x="2025047" y="511817"/>
                </a:lnTo>
                <a:lnTo>
                  <a:pt x="2025047" y="310392"/>
                </a:lnTo>
                <a:cubicBezTo>
                  <a:pt x="2025047" y="277746"/>
                  <a:pt x="2031610" y="252926"/>
                  <a:pt x="2044735" y="235930"/>
                </a:cubicBezTo>
                <a:cubicBezTo>
                  <a:pt x="2057860" y="218934"/>
                  <a:pt x="2078727" y="210436"/>
                  <a:pt x="2107333" y="210436"/>
                </a:cubicBezTo>
                <a:cubicBezTo>
                  <a:pt x="2117767" y="210436"/>
                  <a:pt x="2127106" y="211109"/>
                  <a:pt x="2135351" y="212455"/>
                </a:cubicBezTo>
                <a:cubicBezTo>
                  <a:pt x="2143597" y="213802"/>
                  <a:pt x="2150580" y="215400"/>
                  <a:pt x="2156302" y="217251"/>
                </a:cubicBezTo>
                <a:cubicBezTo>
                  <a:pt x="2162023" y="219102"/>
                  <a:pt x="2166650" y="220869"/>
                  <a:pt x="2170184" y="222552"/>
                </a:cubicBezTo>
                <a:cubicBezTo>
                  <a:pt x="2173718" y="224235"/>
                  <a:pt x="2175990" y="225413"/>
                  <a:pt x="2176999" y="226086"/>
                </a:cubicBezTo>
                <a:lnTo>
                  <a:pt x="2168922" y="276063"/>
                </a:lnTo>
                <a:cubicBezTo>
                  <a:pt x="2166230" y="275054"/>
                  <a:pt x="2160677" y="272866"/>
                  <a:pt x="2152263" y="269501"/>
                </a:cubicBezTo>
                <a:cubicBezTo>
                  <a:pt x="2143849" y="266135"/>
                  <a:pt x="2133416" y="264452"/>
                  <a:pt x="2120964" y="264452"/>
                </a:cubicBezTo>
                <a:cubicBezTo>
                  <a:pt x="2111204" y="264452"/>
                  <a:pt x="2103126" y="267313"/>
                  <a:pt x="2096732" y="273034"/>
                </a:cubicBezTo>
                <a:cubicBezTo>
                  <a:pt x="2090338" y="278756"/>
                  <a:pt x="2087140" y="289694"/>
                  <a:pt x="2087140" y="305848"/>
                </a:cubicBezTo>
                <a:lnTo>
                  <a:pt x="2087140" y="563309"/>
                </a:lnTo>
                <a:close/>
                <a:moveTo>
                  <a:pt x="1607052" y="565833"/>
                </a:moveTo>
                <a:cubicBezTo>
                  <a:pt x="1594263" y="565833"/>
                  <a:pt x="1581811" y="564234"/>
                  <a:pt x="1569695" y="561037"/>
                </a:cubicBezTo>
                <a:cubicBezTo>
                  <a:pt x="1557579" y="557840"/>
                  <a:pt x="1546810" y="552455"/>
                  <a:pt x="1537386" y="544883"/>
                </a:cubicBezTo>
                <a:cubicBezTo>
                  <a:pt x="1527963" y="537310"/>
                  <a:pt x="1520474" y="527214"/>
                  <a:pt x="1514921" y="514593"/>
                </a:cubicBezTo>
                <a:cubicBezTo>
                  <a:pt x="1509368" y="501973"/>
                  <a:pt x="1506592" y="486071"/>
                  <a:pt x="1506592" y="466887"/>
                </a:cubicBezTo>
                <a:lnTo>
                  <a:pt x="1506592" y="453257"/>
                </a:lnTo>
                <a:lnTo>
                  <a:pt x="1454595" y="453257"/>
                </a:lnTo>
                <a:lnTo>
                  <a:pt x="1454595" y="401765"/>
                </a:lnTo>
                <a:lnTo>
                  <a:pt x="1506592" y="401765"/>
                </a:lnTo>
                <a:lnTo>
                  <a:pt x="1506592" y="215989"/>
                </a:lnTo>
                <a:lnTo>
                  <a:pt x="1569190" y="215989"/>
                </a:lnTo>
                <a:lnTo>
                  <a:pt x="1569190" y="401765"/>
                </a:lnTo>
                <a:lnTo>
                  <a:pt x="1666621" y="401765"/>
                </a:lnTo>
                <a:lnTo>
                  <a:pt x="1666621" y="453257"/>
                </a:lnTo>
                <a:lnTo>
                  <a:pt x="1569190" y="453257"/>
                </a:lnTo>
                <a:lnTo>
                  <a:pt x="1569190" y="465878"/>
                </a:lnTo>
                <a:cubicBezTo>
                  <a:pt x="1569190" y="475974"/>
                  <a:pt x="1570368" y="484135"/>
                  <a:pt x="1572724" y="490362"/>
                </a:cubicBezTo>
                <a:cubicBezTo>
                  <a:pt x="1575080" y="496588"/>
                  <a:pt x="1578193" y="501384"/>
                  <a:pt x="1582063" y="504749"/>
                </a:cubicBezTo>
                <a:cubicBezTo>
                  <a:pt x="1585933" y="508115"/>
                  <a:pt x="1590477" y="510302"/>
                  <a:pt x="1595693" y="511312"/>
                </a:cubicBezTo>
                <a:cubicBezTo>
                  <a:pt x="1600910" y="512322"/>
                  <a:pt x="1606379" y="512826"/>
                  <a:pt x="1612100" y="512826"/>
                </a:cubicBezTo>
                <a:cubicBezTo>
                  <a:pt x="1622533" y="512826"/>
                  <a:pt x="1633555" y="511396"/>
                  <a:pt x="1645166" y="508535"/>
                </a:cubicBezTo>
                <a:cubicBezTo>
                  <a:pt x="1656777" y="505675"/>
                  <a:pt x="1666453" y="502898"/>
                  <a:pt x="1674194" y="500206"/>
                </a:cubicBezTo>
                <a:lnTo>
                  <a:pt x="1684795" y="550688"/>
                </a:lnTo>
                <a:cubicBezTo>
                  <a:pt x="1673689" y="556073"/>
                  <a:pt x="1661236" y="559943"/>
                  <a:pt x="1647438" y="562299"/>
                </a:cubicBezTo>
                <a:cubicBezTo>
                  <a:pt x="1633639" y="564655"/>
                  <a:pt x="1620178" y="565833"/>
                  <a:pt x="1607052" y="565833"/>
                </a:cubicBezTo>
                <a:close/>
                <a:moveTo>
                  <a:pt x="0" y="796029"/>
                </a:moveTo>
                <a:lnTo>
                  <a:pt x="4876802" y="796029"/>
                </a:lnTo>
                <a:lnTo>
                  <a:pt x="4824822" y="344498"/>
                </a:lnTo>
                <a:cubicBezTo>
                  <a:pt x="4801968" y="145891"/>
                  <a:pt x="4682292" y="207"/>
                  <a:pt x="4541980" y="155"/>
                </a:cubicBezTo>
                <a:lnTo>
                  <a:pt x="0" y="0"/>
                </a:lnTo>
                <a:close/>
              </a:path>
            </a:pathLst>
          </a:custGeom>
          <a:solidFill>
            <a:schemeClr val="bg1"/>
          </a:solidFill>
          <a:ln w="2834" cap="flat">
            <a:noFill/>
            <a:prstDash val="solid"/>
            <a:miter/>
          </a:ln>
        </p:spPr>
        <p:txBody>
          <a:bodyPr wrap="square" rtlCol="0" anchor="ctr">
            <a:noAutofit/>
          </a:bodyPr>
          <a:lstStyle/>
          <a:p>
            <a:endParaRPr lang="en-US" dirty="0"/>
          </a:p>
        </p:txBody>
      </p:sp>
      <p:pic>
        <p:nvPicPr>
          <p:cNvPr id="8" name="Imagen 7" descr="Un dibujo de una cara feliz&#10;&#10;Descripción generada automáticamente con confianza baja">
            <a:extLst>
              <a:ext uri="{FF2B5EF4-FFF2-40B4-BE49-F238E27FC236}">
                <a16:creationId xmlns:a16="http://schemas.microsoft.com/office/drawing/2014/main" id="{A82FAAE7-F450-2EFB-B470-9CA2B285AACF}"/>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7824450" y="406400"/>
            <a:ext cx="1801936" cy="934010"/>
          </a:xfrm>
          <a:prstGeom prst="rect">
            <a:avLst/>
          </a:prstGeom>
        </p:spPr>
      </p:pic>
      <p:sp>
        <p:nvSpPr>
          <p:cNvPr id="10" name="Título 9">
            <a:extLst>
              <a:ext uri="{FF2B5EF4-FFF2-40B4-BE49-F238E27FC236}">
                <a16:creationId xmlns:a16="http://schemas.microsoft.com/office/drawing/2014/main" id="{7E8DAFFC-ADDB-1273-AA91-4852BCB21C8E}"/>
              </a:ext>
            </a:extLst>
          </p:cNvPr>
          <p:cNvSpPr>
            <a:spLocks noGrp="1"/>
          </p:cNvSpPr>
          <p:nvPr>
            <p:ph type="title" hasCustomPrompt="1"/>
          </p:nvPr>
        </p:nvSpPr>
        <p:spPr>
          <a:xfrm>
            <a:off x="7104380" y="1495932"/>
            <a:ext cx="10692384" cy="646331"/>
          </a:xfrm>
        </p:spPr>
        <p:txBody>
          <a:bodyPr/>
          <a:lstStyle>
            <a:lvl1pPr>
              <a:defRPr sz="4200" b="1" i="0">
                <a:solidFill>
                  <a:schemeClr val="bg1"/>
                </a:solidFill>
                <a:latin typeface="Ubuntu" panose="020B0504030602030204" pitchFamily="34" charset="0"/>
              </a:defRPr>
            </a:lvl1pPr>
          </a:lstStyle>
          <a:p>
            <a:r>
              <a:rPr lang="es-ES" dirty="0"/>
              <a:t>ASDFASFD</a:t>
            </a:r>
          </a:p>
        </p:txBody>
      </p:sp>
      <p:sp>
        <p:nvSpPr>
          <p:cNvPr id="11" name="object 12">
            <a:extLst>
              <a:ext uri="{FF2B5EF4-FFF2-40B4-BE49-F238E27FC236}">
                <a16:creationId xmlns:a16="http://schemas.microsoft.com/office/drawing/2014/main" id="{527854C5-8C21-D1AB-7E04-F771C691CE29}"/>
              </a:ext>
            </a:extLst>
          </p:cNvPr>
          <p:cNvSpPr txBox="1"/>
          <p:nvPr userDrawn="1"/>
        </p:nvSpPr>
        <p:spPr>
          <a:xfrm>
            <a:off x="7104380" y="807573"/>
            <a:ext cx="9881870" cy="567463"/>
          </a:xfrm>
          <a:prstGeom prst="rect">
            <a:avLst/>
          </a:prstGeom>
        </p:spPr>
        <p:txBody>
          <a:bodyPr vert="horz" wrap="square" lIns="0" tIns="13335" rIns="0" bIns="0" rtlCol="0">
            <a:spAutoFit/>
          </a:bodyPr>
          <a:lstStyle/>
          <a:p>
            <a:pPr marL="12700">
              <a:lnSpc>
                <a:spcPct val="100000"/>
              </a:lnSpc>
              <a:spcBef>
                <a:spcPts val="105"/>
              </a:spcBef>
            </a:pPr>
            <a:r>
              <a:rPr lang="en-US" sz="3600" spc="-30" dirty="0">
                <a:solidFill>
                  <a:srgbClr val="12A9D8"/>
                </a:solidFill>
                <a:latin typeface="Ubuntu Mono" panose="020B0509030602030204" pitchFamily="49" charset="0"/>
                <a:cs typeface="Ubuntu"/>
              </a:rPr>
              <a:t>Thinking about…</a:t>
            </a:r>
            <a:endParaRPr lang="en-US" sz="3600" dirty="0">
              <a:solidFill>
                <a:srgbClr val="12A9D8"/>
              </a:solidFill>
              <a:latin typeface="Ubuntu"/>
              <a:cs typeface="Ubuntu"/>
            </a:endParaRPr>
          </a:p>
        </p:txBody>
      </p:sp>
      <p:sp>
        <p:nvSpPr>
          <p:cNvPr id="15" name="Marcador de texto 14">
            <a:extLst>
              <a:ext uri="{FF2B5EF4-FFF2-40B4-BE49-F238E27FC236}">
                <a16:creationId xmlns:a16="http://schemas.microsoft.com/office/drawing/2014/main" id="{894536B8-BEFF-96E8-2A83-A0B97363D840}"/>
              </a:ext>
            </a:extLst>
          </p:cNvPr>
          <p:cNvSpPr>
            <a:spLocks noGrp="1"/>
          </p:cNvSpPr>
          <p:nvPr>
            <p:ph type="body" sz="quarter" idx="10"/>
          </p:nvPr>
        </p:nvSpPr>
        <p:spPr>
          <a:xfrm>
            <a:off x="7104380" y="3225800"/>
            <a:ext cx="12244070" cy="6931641"/>
          </a:xfrm>
          <a:prstGeom prst="rect">
            <a:avLst/>
          </a:prstGeom>
        </p:spPr>
        <p:txBody>
          <a:bodyPr/>
          <a:lstStyle>
            <a:lvl1pPr>
              <a:defRPr sz="2900" b="0" i="0">
                <a:solidFill>
                  <a:schemeClr val="bg1"/>
                </a:solidFill>
                <a:latin typeface="Ubuntu Light" panose="020B0304030602030204" pitchFamily="34" charset="0"/>
              </a:defRPr>
            </a:lvl1pPr>
            <a:lvl2pPr>
              <a:defRPr sz="2900" b="0" i="0">
                <a:solidFill>
                  <a:schemeClr val="bg1"/>
                </a:solidFill>
                <a:latin typeface="Ubuntu Light" panose="020B0304030602030204" pitchFamily="34" charset="0"/>
              </a:defRPr>
            </a:lvl2pPr>
            <a:lvl3pPr>
              <a:defRPr sz="2900" b="0" i="0">
                <a:solidFill>
                  <a:schemeClr val="bg1"/>
                </a:solidFill>
                <a:latin typeface="Ubuntu Light" panose="020B0304030602030204" pitchFamily="34" charset="0"/>
              </a:defRPr>
            </a:lvl3pPr>
            <a:lvl4pPr>
              <a:defRPr sz="2900" b="0" i="0">
                <a:solidFill>
                  <a:schemeClr val="bg1"/>
                </a:solidFill>
                <a:latin typeface="Ubuntu Light" panose="020B0304030602030204" pitchFamily="34" charset="0"/>
              </a:defRPr>
            </a:lvl4pPr>
            <a:lvl5pPr>
              <a:defRPr sz="2900" b="0" i="0">
                <a:solidFill>
                  <a:schemeClr val="bg1"/>
                </a:solidFill>
                <a:latin typeface="Ubuntu Light" panose="020B0304030602030204" pitchFamily="34" charset="0"/>
              </a:defRPr>
            </a:lvl5pPr>
          </a:lstStyle>
          <a:p>
            <a:pPr lvl="0"/>
            <a:r>
              <a:rPr lang="es-ES" dirty="0"/>
              <a:t>Haga clic para modificar los estilos de texto del patrón</a:t>
            </a:r>
          </a:p>
          <a:p>
            <a:pPr lvl="1"/>
            <a:r>
              <a:rPr lang="es-ES" dirty="0"/>
              <a:t>Segundo nivel</a:t>
            </a:r>
          </a:p>
          <a:p>
            <a:pPr lvl="2"/>
            <a:r>
              <a:rPr lang="es-ES" dirty="0"/>
              <a:t> nivel</a:t>
            </a:r>
          </a:p>
          <a:p>
            <a:pPr lvl="3"/>
            <a:r>
              <a:rPr lang="es-ES" dirty="0"/>
              <a:t>Cuarto nivel</a:t>
            </a:r>
          </a:p>
          <a:p>
            <a:pPr lvl="4"/>
            <a:r>
              <a:rPr lang="es-ES" dirty="0"/>
              <a:t>Quinto nivel</a:t>
            </a:r>
          </a:p>
        </p:txBody>
      </p:sp>
      <p:sp>
        <p:nvSpPr>
          <p:cNvPr id="16" name="CuadroTexto 15">
            <a:extLst>
              <a:ext uri="{FF2B5EF4-FFF2-40B4-BE49-F238E27FC236}">
                <a16:creationId xmlns:a16="http://schemas.microsoft.com/office/drawing/2014/main" id="{9D153551-888E-2E4A-C9F1-C375C679B619}"/>
              </a:ext>
            </a:extLst>
          </p:cNvPr>
          <p:cNvSpPr txBox="1"/>
          <p:nvPr userDrawn="1"/>
        </p:nvSpPr>
        <p:spPr>
          <a:xfrm>
            <a:off x="4870450" y="-151634"/>
            <a:ext cx="3200400" cy="4508927"/>
          </a:xfrm>
          <a:prstGeom prst="rect">
            <a:avLst/>
          </a:prstGeom>
          <a:noFill/>
        </p:spPr>
        <p:txBody>
          <a:bodyPr wrap="square" rtlCol="0">
            <a:spAutoFit/>
          </a:bodyPr>
          <a:lstStyle/>
          <a:p>
            <a:r>
              <a:rPr lang="es-ES" sz="28700" b="1" i="0" dirty="0">
                <a:solidFill>
                  <a:srgbClr val="12A9D8"/>
                </a:solidFill>
                <a:latin typeface="Ubuntu" panose="020B0504030602030204" pitchFamily="34" charset="0"/>
              </a:rPr>
              <a:t>?</a:t>
            </a:r>
          </a:p>
        </p:txBody>
      </p:sp>
    </p:spTree>
    <p:extLst>
      <p:ext uri="{BB962C8B-B14F-4D97-AF65-F5344CB8AC3E}">
        <p14:creationId xmlns:p14="http://schemas.microsoft.com/office/powerpoint/2010/main" val="44697435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4_Title and Content">
    <p:spTree>
      <p:nvGrpSpPr>
        <p:cNvPr id="1" name=""/>
        <p:cNvGrpSpPr/>
        <p:nvPr/>
      </p:nvGrpSpPr>
      <p:grpSpPr>
        <a:xfrm>
          <a:off x="0" y="0"/>
          <a:ext cx="0" cy="0"/>
          <a:chOff x="0" y="0"/>
          <a:chExt cx="0" cy="0"/>
        </a:xfrm>
      </p:grpSpPr>
      <p:pic>
        <p:nvPicPr>
          <p:cNvPr id="7" name="Imagen 6" descr="Un par de personas sentadas en una mesa&#10;&#10;Descripción generada automáticamente con confianza baja">
            <a:extLst>
              <a:ext uri="{FF2B5EF4-FFF2-40B4-BE49-F238E27FC236}">
                <a16:creationId xmlns:a16="http://schemas.microsoft.com/office/drawing/2014/main" id="{0BF0A814-9DFF-C9C2-E034-16DDF74B9292}"/>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6348730" cy="11328400"/>
          </a:xfrm>
          <a:prstGeom prst="rect">
            <a:avLst/>
          </a:prstGeom>
        </p:spPr>
      </p:pic>
      <p:sp>
        <p:nvSpPr>
          <p:cNvPr id="3" name="Rectángulo 2">
            <a:extLst>
              <a:ext uri="{FF2B5EF4-FFF2-40B4-BE49-F238E27FC236}">
                <a16:creationId xmlns:a16="http://schemas.microsoft.com/office/drawing/2014/main" id="{8E2A0C8C-2F63-07D5-D3ED-F129D31CE088}"/>
              </a:ext>
            </a:extLst>
          </p:cNvPr>
          <p:cNvSpPr/>
          <p:nvPr userDrawn="1"/>
        </p:nvSpPr>
        <p:spPr>
          <a:xfrm>
            <a:off x="6318250" y="-17753"/>
            <a:ext cx="13785850" cy="11346153"/>
          </a:xfrm>
          <a:prstGeom prst="rect">
            <a:avLst/>
          </a:prstGeom>
          <a:solidFill>
            <a:srgbClr val="330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4" name="Holder 4"/>
          <p:cNvSpPr>
            <a:spLocks noGrp="1"/>
          </p:cNvSpPr>
          <p:nvPr>
            <p:ph type="ftr" sz="quarter" idx="5"/>
          </p:nvPr>
        </p:nvSpPr>
        <p:spPr>
          <a:xfrm>
            <a:off x="16647741" y="10759212"/>
            <a:ext cx="2962677" cy="200055"/>
          </a:xfrm>
          <a:prstGeom prst="rect">
            <a:avLst/>
          </a:prstGeom>
        </p:spPr>
        <p:txBody>
          <a:bodyPr lIns="0" tIns="0" rIns="0" bIns="0"/>
          <a:lstStyle>
            <a:lvl1pPr>
              <a:defRPr sz="1300" b="0" i="0">
                <a:solidFill>
                  <a:schemeClr val="bg1"/>
                </a:solidFill>
                <a:latin typeface="Ubuntu Light"/>
                <a:cs typeface="Ubuntu Light"/>
              </a:defRPr>
            </a:lvl1pPr>
          </a:lstStyle>
          <a:p>
            <a:pPr marL="26034">
              <a:spcBef>
                <a:spcPts val="30"/>
              </a:spcBef>
            </a:pPr>
            <a:r>
              <a:rPr lang="es-ES" dirty="0"/>
              <a:t>Public</a:t>
            </a:r>
            <a:r>
              <a:rPr lang="es-ES" spc="-40" dirty="0"/>
              <a:t> </a:t>
            </a:r>
            <a:r>
              <a:rPr lang="es-ES" dirty="0"/>
              <a:t>©</a:t>
            </a:r>
            <a:r>
              <a:rPr lang="es-ES" spc="-40" dirty="0"/>
              <a:t> </a:t>
            </a:r>
            <a:r>
              <a:rPr lang="es-ES" dirty="0"/>
              <a:t>2023</a:t>
            </a:r>
            <a:r>
              <a:rPr lang="es-ES" spc="-40" dirty="0"/>
              <a:t> </a:t>
            </a:r>
            <a:r>
              <a:rPr lang="es-ES" spc="-10" dirty="0"/>
              <a:t>Sogeti.</a:t>
            </a:r>
            <a:r>
              <a:rPr lang="es-ES" spc="-35" dirty="0"/>
              <a:t> </a:t>
            </a:r>
            <a:r>
              <a:rPr lang="es-ES" dirty="0" err="1"/>
              <a:t>All</a:t>
            </a:r>
            <a:r>
              <a:rPr lang="es-ES" spc="-40" dirty="0"/>
              <a:t> </a:t>
            </a:r>
            <a:r>
              <a:rPr lang="es-ES" dirty="0"/>
              <a:t>rights</a:t>
            </a:r>
            <a:r>
              <a:rPr lang="es-ES" spc="-40" dirty="0"/>
              <a:t> </a:t>
            </a:r>
            <a:r>
              <a:rPr lang="es-ES" spc="-10" dirty="0" err="1"/>
              <a:t>reserved</a:t>
            </a:r>
            <a:endParaRPr lang="es-ES" spc="-10" dirty="0"/>
          </a:p>
        </p:txBody>
      </p:sp>
      <p:sp>
        <p:nvSpPr>
          <p:cNvPr id="2" name="CuadroTexto 1">
            <a:extLst>
              <a:ext uri="{FF2B5EF4-FFF2-40B4-BE49-F238E27FC236}">
                <a16:creationId xmlns:a16="http://schemas.microsoft.com/office/drawing/2014/main" id="{72E5CF79-7DA3-E21E-3060-87CB44907F25}"/>
              </a:ext>
            </a:extLst>
          </p:cNvPr>
          <p:cNvSpPr txBox="1"/>
          <p:nvPr userDrawn="1"/>
        </p:nvSpPr>
        <p:spPr>
          <a:xfrm>
            <a:off x="755650" y="10845800"/>
            <a:ext cx="7772400" cy="292388"/>
          </a:xfrm>
          <a:prstGeom prst="rect">
            <a:avLst/>
          </a:prstGeom>
          <a:noFill/>
        </p:spPr>
        <p:txBody>
          <a:bodyPr wrap="square" rtlCol="0">
            <a:spAutoFit/>
          </a:bodyPr>
          <a:lstStyle/>
          <a:p>
            <a:r>
              <a:rPr lang="es-ES" sz="1300" b="0" i="0" dirty="0">
                <a:solidFill>
                  <a:schemeClr val="bg1"/>
                </a:solidFill>
                <a:latin typeface="Ubuntu Medium" panose="020B0504030602030204" pitchFamily="34" charset="0"/>
              </a:rPr>
              <a:t>#FlourishingDigitalBusinessWithQuality </a:t>
            </a:r>
            <a:r>
              <a:rPr lang="es-ES" sz="1300" b="1" i="0" dirty="0">
                <a:solidFill>
                  <a:schemeClr val="bg1"/>
                </a:solidFill>
                <a:latin typeface="Ubuntu" panose="020B0504030602030204" pitchFamily="34" charset="0"/>
              </a:rPr>
              <a:t> </a:t>
            </a:r>
            <a:r>
              <a:rPr lang="es-ES" sz="1300" b="1" i="0" dirty="0">
                <a:solidFill>
                  <a:srgbClr val="290E3B"/>
                </a:solidFill>
                <a:latin typeface="Ubuntu" panose="020B0504030602030204" pitchFamily="34" charset="0"/>
              </a:rPr>
              <a:t>·</a:t>
            </a:r>
            <a:r>
              <a:rPr lang="es-ES" sz="1300" b="0" i="0" dirty="0">
                <a:solidFill>
                  <a:schemeClr val="tx2"/>
                </a:solidFill>
                <a:latin typeface="Ubuntu Medium" panose="020B0504030602030204" pitchFamily="34" charset="0"/>
              </a:rPr>
              <a:t>   </a:t>
            </a:r>
            <a:r>
              <a:rPr lang="es-ES" sz="1300" b="1" i="0" dirty="0">
                <a:solidFill>
                  <a:srgbClr val="12A9D8"/>
                </a:solidFill>
                <a:latin typeface="Ubuntu" panose="020B0504030602030204" pitchFamily="34" charset="0"/>
              </a:rPr>
              <a:t>Sogeti España</a:t>
            </a:r>
          </a:p>
        </p:txBody>
      </p:sp>
      <p:sp>
        <p:nvSpPr>
          <p:cNvPr id="5" name="Forma libre 4">
            <a:extLst>
              <a:ext uri="{FF2B5EF4-FFF2-40B4-BE49-F238E27FC236}">
                <a16:creationId xmlns:a16="http://schemas.microsoft.com/office/drawing/2014/main" id="{FBAABD7F-C513-9B40-6AE2-E43DB3944CCE}"/>
              </a:ext>
            </a:extLst>
          </p:cNvPr>
          <p:cNvSpPr/>
          <p:nvPr userDrawn="1"/>
        </p:nvSpPr>
        <p:spPr>
          <a:xfrm flipV="1">
            <a:off x="755650" y="10384024"/>
            <a:ext cx="2362200" cy="385576"/>
          </a:xfrm>
          <a:custGeom>
            <a:avLst/>
            <a:gdLst/>
            <a:ahLst/>
            <a:cxnLst/>
            <a:rect l="l" t="t" r="r" b="b"/>
            <a:pathLst>
              <a:path w="4876802" h="796029">
                <a:moveTo>
                  <a:pt x="2572782" y="405299"/>
                </a:moveTo>
                <a:cubicBezTo>
                  <a:pt x="2589609" y="405299"/>
                  <a:pt x="2601809" y="398820"/>
                  <a:pt x="2609382" y="385863"/>
                </a:cubicBezTo>
                <a:cubicBezTo>
                  <a:pt x="2616954" y="372906"/>
                  <a:pt x="2620740" y="355826"/>
                  <a:pt x="2620740" y="334623"/>
                </a:cubicBezTo>
                <a:cubicBezTo>
                  <a:pt x="2620740" y="313420"/>
                  <a:pt x="2616618" y="296256"/>
                  <a:pt x="2608372" y="283131"/>
                </a:cubicBezTo>
                <a:cubicBezTo>
                  <a:pt x="2600126" y="270006"/>
                  <a:pt x="2587927" y="263443"/>
                  <a:pt x="2571772" y="263443"/>
                </a:cubicBezTo>
                <a:cubicBezTo>
                  <a:pt x="2554945" y="263443"/>
                  <a:pt x="2542744" y="270006"/>
                  <a:pt x="2535172" y="283131"/>
                </a:cubicBezTo>
                <a:cubicBezTo>
                  <a:pt x="2527600" y="296256"/>
                  <a:pt x="2523814" y="313420"/>
                  <a:pt x="2523814" y="334623"/>
                </a:cubicBezTo>
                <a:cubicBezTo>
                  <a:pt x="2523814" y="355826"/>
                  <a:pt x="2527937" y="372906"/>
                  <a:pt x="2536182" y="385863"/>
                </a:cubicBezTo>
                <a:cubicBezTo>
                  <a:pt x="2544428" y="398820"/>
                  <a:pt x="2556628" y="405299"/>
                  <a:pt x="2572782" y="405299"/>
                </a:cubicBezTo>
                <a:close/>
                <a:moveTo>
                  <a:pt x="1810782" y="405299"/>
                </a:moveTo>
                <a:cubicBezTo>
                  <a:pt x="1827610" y="405299"/>
                  <a:pt x="1839810" y="398820"/>
                  <a:pt x="1847382" y="385863"/>
                </a:cubicBezTo>
                <a:cubicBezTo>
                  <a:pt x="1854954" y="372906"/>
                  <a:pt x="1858740" y="355826"/>
                  <a:pt x="1858740" y="334623"/>
                </a:cubicBezTo>
                <a:cubicBezTo>
                  <a:pt x="1858740" y="313420"/>
                  <a:pt x="1854618" y="296256"/>
                  <a:pt x="1846372" y="283131"/>
                </a:cubicBezTo>
                <a:cubicBezTo>
                  <a:pt x="1838127" y="270006"/>
                  <a:pt x="1825927" y="263443"/>
                  <a:pt x="1809772" y="263443"/>
                </a:cubicBezTo>
                <a:cubicBezTo>
                  <a:pt x="1792945" y="263443"/>
                  <a:pt x="1780745" y="270006"/>
                  <a:pt x="1773173" y="283131"/>
                </a:cubicBezTo>
                <a:cubicBezTo>
                  <a:pt x="1765600" y="296256"/>
                  <a:pt x="1761814" y="313420"/>
                  <a:pt x="1761814" y="334623"/>
                </a:cubicBezTo>
                <a:cubicBezTo>
                  <a:pt x="1761814" y="355826"/>
                  <a:pt x="1765937" y="372906"/>
                  <a:pt x="1774182" y="385863"/>
                </a:cubicBezTo>
                <a:cubicBezTo>
                  <a:pt x="1782428" y="398820"/>
                  <a:pt x="1794628" y="405299"/>
                  <a:pt x="1810782" y="405299"/>
                </a:cubicBezTo>
                <a:close/>
                <a:moveTo>
                  <a:pt x="810657" y="405299"/>
                </a:moveTo>
                <a:cubicBezTo>
                  <a:pt x="827485" y="405299"/>
                  <a:pt x="839684" y="398820"/>
                  <a:pt x="847257" y="385863"/>
                </a:cubicBezTo>
                <a:cubicBezTo>
                  <a:pt x="854829" y="372906"/>
                  <a:pt x="858615" y="355826"/>
                  <a:pt x="858616" y="334623"/>
                </a:cubicBezTo>
                <a:cubicBezTo>
                  <a:pt x="858615" y="313420"/>
                  <a:pt x="854493" y="296256"/>
                  <a:pt x="846247" y="283131"/>
                </a:cubicBezTo>
                <a:cubicBezTo>
                  <a:pt x="838002" y="270006"/>
                  <a:pt x="825802" y="263443"/>
                  <a:pt x="809647" y="263443"/>
                </a:cubicBezTo>
                <a:cubicBezTo>
                  <a:pt x="792820" y="263443"/>
                  <a:pt x="780620" y="270006"/>
                  <a:pt x="773048" y="283131"/>
                </a:cubicBezTo>
                <a:cubicBezTo>
                  <a:pt x="765475" y="296256"/>
                  <a:pt x="761689" y="313420"/>
                  <a:pt x="761689" y="334623"/>
                </a:cubicBezTo>
                <a:cubicBezTo>
                  <a:pt x="761689" y="355826"/>
                  <a:pt x="765812" y="372906"/>
                  <a:pt x="774057" y="385863"/>
                </a:cubicBezTo>
                <a:cubicBezTo>
                  <a:pt x="782303" y="398820"/>
                  <a:pt x="794503" y="405299"/>
                  <a:pt x="810657" y="405299"/>
                </a:cubicBezTo>
                <a:close/>
                <a:moveTo>
                  <a:pt x="3325256" y="411861"/>
                </a:moveTo>
                <a:cubicBezTo>
                  <a:pt x="3316506" y="411861"/>
                  <a:pt x="3309608" y="408496"/>
                  <a:pt x="3304560" y="401765"/>
                </a:cubicBezTo>
                <a:cubicBezTo>
                  <a:pt x="3299512" y="395034"/>
                  <a:pt x="3296988" y="387125"/>
                  <a:pt x="3296988" y="378038"/>
                </a:cubicBezTo>
                <a:cubicBezTo>
                  <a:pt x="3296988" y="368951"/>
                  <a:pt x="3299512" y="361126"/>
                  <a:pt x="3304560" y="354564"/>
                </a:cubicBezTo>
                <a:cubicBezTo>
                  <a:pt x="3309608" y="348001"/>
                  <a:pt x="3316506" y="344720"/>
                  <a:pt x="3325256" y="344720"/>
                </a:cubicBezTo>
                <a:cubicBezTo>
                  <a:pt x="3333334" y="344720"/>
                  <a:pt x="3339980" y="348001"/>
                  <a:pt x="3345198" y="354564"/>
                </a:cubicBezTo>
                <a:cubicBezTo>
                  <a:pt x="3350414" y="361126"/>
                  <a:pt x="3353022" y="368951"/>
                  <a:pt x="3353022" y="378038"/>
                </a:cubicBezTo>
                <a:cubicBezTo>
                  <a:pt x="3353022" y="387125"/>
                  <a:pt x="3350414" y="395034"/>
                  <a:pt x="3345198" y="401765"/>
                </a:cubicBezTo>
                <a:cubicBezTo>
                  <a:pt x="3339980" y="408496"/>
                  <a:pt x="3333334" y="411861"/>
                  <a:pt x="3325256" y="411861"/>
                </a:cubicBezTo>
                <a:close/>
                <a:moveTo>
                  <a:pt x="2207070" y="453257"/>
                </a:moveTo>
                <a:lnTo>
                  <a:pt x="2207070" y="401765"/>
                </a:lnTo>
                <a:lnTo>
                  <a:pt x="2272697" y="401765"/>
                </a:lnTo>
                <a:lnTo>
                  <a:pt x="2272697" y="314430"/>
                </a:lnTo>
                <a:cubicBezTo>
                  <a:pt x="2272697" y="297939"/>
                  <a:pt x="2274043" y="283299"/>
                  <a:pt x="2276735" y="270510"/>
                </a:cubicBezTo>
                <a:cubicBezTo>
                  <a:pt x="2279428" y="257721"/>
                  <a:pt x="2284055" y="246868"/>
                  <a:pt x="2290618" y="237949"/>
                </a:cubicBezTo>
                <a:cubicBezTo>
                  <a:pt x="2297181" y="229031"/>
                  <a:pt x="2305931" y="222215"/>
                  <a:pt x="2316869" y="217504"/>
                </a:cubicBezTo>
                <a:cubicBezTo>
                  <a:pt x="2327807" y="212792"/>
                  <a:pt x="2341353" y="210436"/>
                  <a:pt x="2357508" y="210436"/>
                </a:cubicBezTo>
                <a:cubicBezTo>
                  <a:pt x="2366931" y="210436"/>
                  <a:pt x="2377280" y="211530"/>
                  <a:pt x="2388554" y="213718"/>
                </a:cubicBezTo>
                <a:cubicBezTo>
                  <a:pt x="2399829" y="215905"/>
                  <a:pt x="2411860" y="220028"/>
                  <a:pt x="2424649" y="226086"/>
                </a:cubicBezTo>
                <a:lnTo>
                  <a:pt x="2416572" y="276063"/>
                </a:lnTo>
                <a:cubicBezTo>
                  <a:pt x="2406475" y="271352"/>
                  <a:pt x="2397388" y="268239"/>
                  <a:pt x="2389312" y="266724"/>
                </a:cubicBezTo>
                <a:cubicBezTo>
                  <a:pt x="2381234" y="265210"/>
                  <a:pt x="2374335" y="264452"/>
                  <a:pt x="2368614" y="264452"/>
                </a:cubicBezTo>
                <a:cubicBezTo>
                  <a:pt x="2356498" y="264452"/>
                  <a:pt x="2347832" y="267902"/>
                  <a:pt x="2342615" y="274801"/>
                </a:cubicBezTo>
                <a:cubicBezTo>
                  <a:pt x="2337398" y="281701"/>
                  <a:pt x="2334790" y="292218"/>
                  <a:pt x="2334790" y="306353"/>
                </a:cubicBezTo>
                <a:lnTo>
                  <a:pt x="2334790" y="453257"/>
                </a:lnTo>
                <a:close/>
                <a:moveTo>
                  <a:pt x="1088092" y="457800"/>
                </a:moveTo>
                <a:cubicBezTo>
                  <a:pt x="1064870" y="457800"/>
                  <a:pt x="1044593" y="455949"/>
                  <a:pt x="1027260" y="452247"/>
                </a:cubicBezTo>
                <a:cubicBezTo>
                  <a:pt x="1009928" y="448545"/>
                  <a:pt x="993016" y="443665"/>
                  <a:pt x="976526" y="437607"/>
                </a:cubicBezTo>
                <a:lnTo>
                  <a:pt x="976526" y="215989"/>
                </a:lnTo>
                <a:lnTo>
                  <a:pt x="1039124" y="215989"/>
                </a:lnTo>
                <a:lnTo>
                  <a:pt x="1039124" y="392173"/>
                </a:lnTo>
                <a:cubicBezTo>
                  <a:pt x="1047874" y="394529"/>
                  <a:pt x="1056456" y="396128"/>
                  <a:pt x="1064870" y="396969"/>
                </a:cubicBezTo>
                <a:cubicBezTo>
                  <a:pt x="1073284" y="397810"/>
                  <a:pt x="1081866" y="398231"/>
                  <a:pt x="1090616" y="398231"/>
                </a:cubicBezTo>
                <a:cubicBezTo>
                  <a:pt x="1094318" y="398231"/>
                  <a:pt x="1098861" y="398063"/>
                  <a:pt x="1104246" y="397726"/>
                </a:cubicBezTo>
                <a:cubicBezTo>
                  <a:pt x="1109631" y="397390"/>
                  <a:pt x="1115184" y="396801"/>
                  <a:pt x="1120905" y="395959"/>
                </a:cubicBezTo>
                <a:cubicBezTo>
                  <a:pt x="1126627" y="395118"/>
                  <a:pt x="1132264" y="394192"/>
                  <a:pt x="1137817" y="393183"/>
                </a:cubicBezTo>
                <a:cubicBezTo>
                  <a:pt x="1143370" y="392173"/>
                  <a:pt x="1148166" y="391164"/>
                  <a:pt x="1152205" y="390154"/>
                </a:cubicBezTo>
                <a:lnTo>
                  <a:pt x="1163311" y="447704"/>
                </a:lnTo>
                <a:cubicBezTo>
                  <a:pt x="1157589" y="449723"/>
                  <a:pt x="1151111" y="451322"/>
                  <a:pt x="1143875" y="452500"/>
                </a:cubicBezTo>
                <a:cubicBezTo>
                  <a:pt x="1136639" y="453678"/>
                  <a:pt x="1129487" y="454687"/>
                  <a:pt x="1122420" y="455529"/>
                </a:cubicBezTo>
                <a:cubicBezTo>
                  <a:pt x="1115352" y="456370"/>
                  <a:pt x="1108706" y="456959"/>
                  <a:pt x="1102479" y="457296"/>
                </a:cubicBezTo>
                <a:cubicBezTo>
                  <a:pt x="1096253" y="457632"/>
                  <a:pt x="1091457" y="457800"/>
                  <a:pt x="1088092" y="457800"/>
                </a:cubicBezTo>
                <a:close/>
                <a:moveTo>
                  <a:pt x="2572782" y="459315"/>
                </a:moveTo>
                <a:cubicBezTo>
                  <a:pt x="2556628" y="459315"/>
                  <a:pt x="2541651" y="456370"/>
                  <a:pt x="2527852" y="450480"/>
                </a:cubicBezTo>
                <a:cubicBezTo>
                  <a:pt x="2514054" y="444591"/>
                  <a:pt x="2502190" y="436177"/>
                  <a:pt x="2492262" y="425239"/>
                </a:cubicBezTo>
                <a:cubicBezTo>
                  <a:pt x="2482334" y="414301"/>
                  <a:pt x="2474594" y="401176"/>
                  <a:pt x="2469040" y="385863"/>
                </a:cubicBezTo>
                <a:cubicBezTo>
                  <a:pt x="2463487" y="370550"/>
                  <a:pt x="2460711" y="353638"/>
                  <a:pt x="2460711" y="335128"/>
                </a:cubicBezTo>
                <a:cubicBezTo>
                  <a:pt x="2460711" y="316281"/>
                  <a:pt x="2463403" y="299201"/>
                  <a:pt x="2468788" y="283888"/>
                </a:cubicBezTo>
                <a:cubicBezTo>
                  <a:pt x="2474173" y="268575"/>
                  <a:pt x="2481829" y="255366"/>
                  <a:pt x="2491758" y="244259"/>
                </a:cubicBezTo>
                <a:cubicBezTo>
                  <a:pt x="2501686" y="233153"/>
                  <a:pt x="2513465" y="224571"/>
                  <a:pt x="2527095" y="218513"/>
                </a:cubicBezTo>
                <a:cubicBezTo>
                  <a:pt x="2540726" y="212455"/>
                  <a:pt x="2555954" y="209427"/>
                  <a:pt x="2572782" y="209427"/>
                </a:cubicBezTo>
                <a:cubicBezTo>
                  <a:pt x="2589609" y="209427"/>
                  <a:pt x="2604838" y="212455"/>
                  <a:pt x="2618468" y="218513"/>
                </a:cubicBezTo>
                <a:cubicBezTo>
                  <a:pt x="2632098" y="224571"/>
                  <a:pt x="2643794" y="233153"/>
                  <a:pt x="2653554" y="244259"/>
                </a:cubicBezTo>
                <a:cubicBezTo>
                  <a:pt x="2663314" y="255366"/>
                  <a:pt x="2670886" y="268575"/>
                  <a:pt x="2676271" y="283888"/>
                </a:cubicBezTo>
                <a:cubicBezTo>
                  <a:pt x="2681656" y="299201"/>
                  <a:pt x="2684348" y="316281"/>
                  <a:pt x="2684348" y="335128"/>
                </a:cubicBezTo>
                <a:cubicBezTo>
                  <a:pt x="2684348" y="353638"/>
                  <a:pt x="2681656" y="370550"/>
                  <a:pt x="2676271" y="385863"/>
                </a:cubicBezTo>
                <a:cubicBezTo>
                  <a:pt x="2670886" y="401176"/>
                  <a:pt x="2663230" y="414301"/>
                  <a:pt x="2653302" y="425239"/>
                </a:cubicBezTo>
                <a:cubicBezTo>
                  <a:pt x="2643373" y="436177"/>
                  <a:pt x="2631594" y="444591"/>
                  <a:pt x="2617964" y="450480"/>
                </a:cubicBezTo>
                <a:cubicBezTo>
                  <a:pt x="2604334" y="456370"/>
                  <a:pt x="2589273" y="459315"/>
                  <a:pt x="2572782" y="459315"/>
                </a:cubicBezTo>
                <a:close/>
                <a:moveTo>
                  <a:pt x="1810782" y="459315"/>
                </a:moveTo>
                <a:cubicBezTo>
                  <a:pt x="1794628" y="459315"/>
                  <a:pt x="1779651" y="456370"/>
                  <a:pt x="1765853" y="450480"/>
                </a:cubicBezTo>
                <a:cubicBezTo>
                  <a:pt x="1752054" y="444591"/>
                  <a:pt x="1740191" y="436177"/>
                  <a:pt x="1730262" y="425239"/>
                </a:cubicBezTo>
                <a:cubicBezTo>
                  <a:pt x="1720334" y="414301"/>
                  <a:pt x="1712594" y="401176"/>
                  <a:pt x="1707040" y="385863"/>
                </a:cubicBezTo>
                <a:cubicBezTo>
                  <a:pt x="1701488" y="370550"/>
                  <a:pt x="1698711" y="353638"/>
                  <a:pt x="1698711" y="335128"/>
                </a:cubicBezTo>
                <a:cubicBezTo>
                  <a:pt x="1698711" y="316281"/>
                  <a:pt x="1701403" y="299201"/>
                  <a:pt x="1706788" y="283888"/>
                </a:cubicBezTo>
                <a:cubicBezTo>
                  <a:pt x="1712173" y="268575"/>
                  <a:pt x="1719829" y="255366"/>
                  <a:pt x="1729758" y="244259"/>
                </a:cubicBezTo>
                <a:cubicBezTo>
                  <a:pt x="1739686" y="233153"/>
                  <a:pt x="1751465" y="224571"/>
                  <a:pt x="1765095" y="218513"/>
                </a:cubicBezTo>
                <a:cubicBezTo>
                  <a:pt x="1778726" y="212455"/>
                  <a:pt x="1793954" y="209427"/>
                  <a:pt x="1810782" y="209427"/>
                </a:cubicBezTo>
                <a:cubicBezTo>
                  <a:pt x="1827610" y="209427"/>
                  <a:pt x="1842838" y="212455"/>
                  <a:pt x="1856469" y="218513"/>
                </a:cubicBezTo>
                <a:cubicBezTo>
                  <a:pt x="1870099" y="224571"/>
                  <a:pt x="1881794" y="233153"/>
                  <a:pt x="1891554" y="244259"/>
                </a:cubicBezTo>
                <a:cubicBezTo>
                  <a:pt x="1901314" y="255366"/>
                  <a:pt x="1908886" y="268575"/>
                  <a:pt x="1914271" y="283888"/>
                </a:cubicBezTo>
                <a:cubicBezTo>
                  <a:pt x="1919656" y="299201"/>
                  <a:pt x="1922348" y="316281"/>
                  <a:pt x="1922348" y="335128"/>
                </a:cubicBezTo>
                <a:cubicBezTo>
                  <a:pt x="1922348" y="353638"/>
                  <a:pt x="1919656" y="370550"/>
                  <a:pt x="1914271" y="385863"/>
                </a:cubicBezTo>
                <a:cubicBezTo>
                  <a:pt x="1908886" y="401176"/>
                  <a:pt x="1901230" y="414301"/>
                  <a:pt x="1891302" y="425239"/>
                </a:cubicBezTo>
                <a:cubicBezTo>
                  <a:pt x="1881374" y="436177"/>
                  <a:pt x="1869594" y="444591"/>
                  <a:pt x="1855964" y="450480"/>
                </a:cubicBezTo>
                <a:cubicBezTo>
                  <a:pt x="1842334" y="456370"/>
                  <a:pt x="1827273" y="459315"/>
                  <a:pt x="1810782" y="459315"/>
                </a:cubicBezTo>
                <a:close/>
                <a:moveTo>
                  <a:pt x="810657" y="459315"/>
                </a:moveTo>
                <a:cubicBezTo>
                  <a:pt x="794503" y="459315"/>
                  <a:pt x="779526" y="456370"/>
                  <a:pt x="765728" y="450480"/>
                </a:cubicBezTo>
                <a:cubicBezTo>
                  <a:pt x="751929" y="444591"/>
                  <a:pt x="740066" y="436177"/>
                  <a:pt x="730138" y="425239"/>
                </a:cubicBezTo>
                <a:cubicBezTo>
                  <a:pt x="720209" y="414301"/>
                  <a:pt x="712469" y="401176"/>
                  <a:pt x="706916" y="385863"/>
                </a:cubicBezTo>
                <a:cubicBezTo>
                  <a:pt x="701362" y="370550"/>
                  <a:pt x="698586" y="353638"/>
                  <a:pt x="698586" y="335128"/>
                </a:cubicBezTo>
                <a:cubicBezTo>
                  <a:pt x="698586" y="316281"/>
                  <a:pt x="701278" y="299201"/>
                  <a:pt x="706663" y="283888"/>
                </a:cubicBezTo>
                <a:cubicBezTo>
                  <a:pt x="712048" y="268575"/>
                  <a:pt x="719704" y="255366"/>
                  <a:pt x="729633" y="244259"/>
                </a:cubicBezTo>
                <a:cubicBezTo>
                  <a:pt x="739561" y="233153"/>
                  <a:pt x="751340" y="224571"/>
                  <a:pt x="764970" y="218513"/>
                </a:cubicBezTo>
                <a:cubicBezTo>
                  <a:pt x="778601" y="212455"/>
                  <a:pt x="793830" y="209427"/>
                  <a:pt x="810657" y="209427"/>
                </a:cubicBezTo>
                <a:cubicBezTo>
                  <a:pt x="827485" y="209427"/>
                  <a:pt x="842713" y="212455"/>
                  <a:pt x="856344" y="218513"/>
                </a:cubicBezTo>
                <a:cubicBezTo>
                  <a:pt x="869974" y="224571"/>
                  <a:pt x="881669" y="233153"/>
                  <a:pt x="891429" y="244259"/>
                </a:cubicBezTo>
                <a:cubicBezTo>
                  <a:pt x="901189" y="255366"/>
                  <a:pt x="908761" y="268575"/>
                  <a:pt x="914146" y="283888"/>
                </a:cubicBezTo>
                <a:cubicBezTo>
                  <a:pt x="919531" y="299201"/>
                  <a:pt x="922223" y="316281"/>
                  <a:pt x="922223" y="335128"/>
                </a:cubicBezTo>
                <a:cubicBezTo>
                  <a:pt x="922223" y="353638"/>
                  <a:pt x="919531" y="370550"/>
                  <a:pt x="914146" y="385863"/>
                </a:cubicBezTo>
                <a:cubicBezTo>
                  <a:pt x="908761" y="401176"/>
                  <a:pt x="901105" y="414301"/>
                  <a:pt x="891177" y="425239"/>
                </a:cubicBezTo>
                <a:cubicBezTo>
                  <a:pt x="881248" y="436177"/>
                  <a:pt x="869469" y="444591"/>
                  <a:pt x="855839" y="450480"/>
                </a:cubicBezTo>
                <a:cubicBezTo>
                  <a:pt x="842209" y="456370"/>
                  <a:pt x="827148" y="459315"/>
                  <a:pt x="810657" y="459315"/>
                </a:cubicBezTo>
                <a:close/>
                <a:moveTo>
                  <a:pt x="546919" y="477993"/>
                </a:moveTo>
                <a:cubicBezTo>
                  <a:pt x="563410" y="477993"/>
                  <a:pt x="576620" y="474207"/>
                  <a:pt x="586548" y="466635"/>
                </a:cubicBezTo>
                <a:cubicBezTo>
                  <a:pt x="596476" y="459062"/>
                  <a:pt x="601441" y="446189"/>
                  <a:pt x="601441" y="428016"/>
                </a:cubicBezTo>
                <a:cubicBezTo>
                  <a:pt x="601441" y="408832"/>
                  <a:pt x="596392" y="395286"/>
                  <a:pt x="586296" y="387377"/>
                </a:cubicBezTo>
                <a:cubicBezTo>
                  <a:pt x="576199" y="379468"/>
                  <a:pt x="561223" y="375514"/>
                  <a:pt x="541366" y="375514"/>
                </a:cubicBezTo>
                <a:lnTo>
                  <a:pt x="516125" y="375514"/>
                </a:lnTo>
                <a:lnTo>
                  <a:pt x="516125" y="476479"/>
                </a:lnTo>
                <a:cubicBezTo>
                  <a:pt x="519827" y="477152"/>
                  <a:pt x="524960" y="477573"/>
                  <a:pt x="531522" y="477741"/>
                </a:cubicBezTo>
                <a:cubicBezTo>
                  <a:pt x="538085" y="477909"/>
                  <a:pt x="543217" y="477993"/>
                  <a:pt x="546919" y="477993"/>
                </a:cubicBezTo>
                <a:close/>
                <a:moveTo>
                  <a:pt x="3324752" y="482537"/>
                </a:moveTo>
                <a:cubicBezTo>
                  <a:pt x="3341916" y="482537"/>
                  <a:pt x="3354958" y="473198"/>
                  <a:pt x="3363876" y="454519"/>
                </a:cubicBezTo>
                <a:cubicBezTo>
                  <a:pt x="3372794" y="435841"/>
                  <a:pt x="3377254" y="408664"/>
                  <a:pt x="3377254" y="372990"/>
                </a:cubicBezTo>
                <a:cubicBezTo>
                  <a:pt x="3377254" y="336979"/>
                  <a:pt x="3372794" y="309634"/>
                  <a:pt x="3363876" y="290956"/>
                </a:cubicBezTo>
                <a:cubicBezTo>
                  <a:pt x="3354958" y="272277"/>
                  <a:pt x="3341916" y="262938"/>
                  <a:pt x="3324752" y="262938"/>
                </a:cubicBezTo>
                <a:cubicBezTo>
                  <a:pt x="3307924" y="262938"/>
                  <a:pt x="3294968" y="272277"/>
                  <a:pt x="3285880" y="290956"/>
                </a:cubicBezTo>
                <a:cubicBezTo>
                  <a:pt x="3276794" y="309634"/>
                  <a:pt x="3272250" y="336979"/>
                  <a:pt x="3272250" y="372990"/>
                </a:cubicBezTo>
                <a:cubicBezTo>
                  <a:pt x="3272250" y="408664"/>
                  <a:pt x="3276794" y="435841"/>
                  <a:pt x="3285880" y="454519"/>
                </a:cubicBezTo>
                <a:cubicBezTo>
                  <a:pt x="3294968" y="473198"/>
                  <a:pt x="3307924" y="482537"/>
                  <a:pt x="3324752" y="482537"/>
                </a:cubicBezTo>
                <a:close/>
                <a:moveTo>
                  <a:pt x="1323054" y="522923"/>
                </a:moveTo>
                <a:lnTo>
                  <a:pt x="1260961" y="512826"/>
                </a:lnTo>
                <a:lnTo>
                  <a:pt x="1260961" y="453257"/>
                </a:lnTo>
                <a:lnTo>
                  <a:pt x="1206945" y="453257"/>
                </a:lnTo>
                <a:lnTo>
                  <a:pt x="1206945" y="401765"/>
                </a:lnTo>
                <a:lnTo>
                  <a:pt x="1260961" y="401765"/>
                </a:lnTo>
                <a:lnTo>
                  <a:pt x="1260961" y="304334"/>
                </a:lnTo>
                <a:cubicBezTo>
                  <a:pt x="1260961" y="284477"/>
                  <a:pt x="1262980" y="268407"/>
                  <a:pt x="1267019" y="256123"/>
                </a:cubicBezTo>
                <a:cubicBezTo>
                  <a:pt x="1271057" y="243839"/>
                  <a:pt x="1276947" y="234331"/>
                  <a:pt x="1284688" y="227600"/>
                </a:cubicBezTo>
                <a:cubicBezTo>
                  <a:pt x="1292428" y="220869"/>
                  <a:pt x="1301852" y="216326"/>
                  <a:pt x="1312958" y="213970"/>
                </a:cubicBezTo>
                <a:cubicBezTo>
                  <a:pt x="1324064" y="211614"/>
                  <a:pt x="1336853" y="210436"/>
                  <a:pt x="1351325" y="210436"/>
                </a:cubicBezTo>
                <a:cubicBezTo>
                  <a:pt x="1363777" y="210436"/>
                  <a:pt x="1376650" y="211446"/>
                  <a:pt x="1389944" y="213465"/>
                </a:cubicBezTo>
                <a:cubicBezTo>
                  <a:pt x="1403238" y="215484"/>
                  <a:pt x="1415606" y="218850"/>
                  <a:pt x="1427048" y="223562"/>
                </a:cubicBezTo>
                <a:lnTo>
                  <a:pt x="1418466" y="277073"/>
                </a:lnTo>
                <a:cubicBezTo>
                  <a:pt x="1412745" y="274381"/>
                  <a:pt x="1407444" y="272193"/>
                  <a:pt x="1402564" y="270510"/>
                </a:cubicBezTo>
                <a:cubicBezTo>
                  <a:pt x="1397684" y="268828"/>
                  <a:pt x="1392973" y="267566"/>
                  <a:pt x="1388429" y="266724"/>
                </a:cubicBezTo>
                <a:cubicBezTo>
                  <a:pt x="1383886" y="265883"/>
                  <a:pt x="1379174" y="265294"/>
                  <a:pt x="1374294" y="264957"/>
                </a:cubicBezTo>
                <a:cubicBezTo>
                  <a:pt x="1369414" y="264621"/>
                  <a:pt x="1364114" y="264452"/>
                  <a:pt x="1358392" y="264452"/>
                </a:cubicBezTo>
                <a:cubicBezTo>
                  <a:pt x="1353007" y="264452"/>
                  <a:pt x="1348127" y="264957"/>
                  <a:pt x="1343752" y="265967"/>
                </a:cubicBezTo>
                <a:cubicBezTo>
                  <a:pt x="1339377" y="266977"/>
                  <a:pt x="1335675" y="268996"/>
                  <a:pt x="1332646" y="272025"/>
                </a:cubicBezTo>
                <a:cubicBezTo>
                  <a:pt x="1329617" y="275054"/>
                  <a:pt x="1327261" y="279261"/>
                  <a:pt x="1325579" y="284645"/>
                </a:cubicBezTo>
                <a:cubicBezTo>
                  <a:pt x="1323896" y="290030"/>
                  <a:pt x="1323054" y="297098"/>
                  <a:pt x="1323054" y="305848"/>
                </a:cubicBezTo>
                <a:lnTo>
                  <a:pt x="1323054" y="401765"/>
                </a:lnTo>
                <a:lnTo>
                  <a:pt x="1422505" y="401765"/>
                </a:lnTo>
                <a:lnTo>
                  <a:pt x="1422505" y="453257"/>
                </a:lnTo>
                <a:lnTo>
                  <a:pt x="1323054" y="453257"/>
                </a:lnTo>
                <a:close/>
                <a:moveTo>
                  <a:pt x="539852" y="532010"/>
                </a:moveTo>
                <a:cubicBezTo>
                  <a:pt x="534131" y="532010"/>
                  <a:pt x="527568" y="531841"/>
                  <a:pt x="520164" y="531505"/>
                </a:cubicBezTo>
                <a:cubicBezTo>
                  <a:pt x="512760" y="531168"/>
                  <a:pt x="505187" y="530748"/>
                  <a:pt x="497447" y="530243"/>
                </a:cubicBezTo>
                <a:cubicBezTo>
                  <a:pt x="489706" y="529738"/>
                  <a:pt x="482049" y="528981"/>
                  <a:pt x="474477" y="527971"/>
                </a:cubicBezTo>
                <a:cubicBezTo>
                  <a:pt x="466905" y="526961"/>
                  <a:pt x="460090" y="525784"/>
                  <a:pt x="454032" y="524437"/>
                </a:cubicBezTo>
                <a:lnTo>
                  <a:pt x="454032" y="215989"/>
                </a:lnTo>
                <a:lnTo>
                  <a:pt x="516125" y="215989"/>
                </a:lnTo>
                <a:lnTo>
                  <a:pt x="516125" y="321498"/>
                </a:lnTo>
                <a:lnTo>
                  <a:pt x="538337" y="321498"/>
                </a:lnTo>
                <a:cubicBezTo>
                  <a:pt x="578723" y="321498"/>
                  <a:pt x="609938" y="329827"/>
                  <a:pt x="631982" y="346486"/>
                </a:cubicBezTo>
                <a:cubicBezTo>
                  <a:pt x="654026" y="363146"/>
                  <a:pt x="665048" y="390154"/>
                  <a:pt x="665048" y="427511"/>
                </a:cubicBezTo>
                <a:cubicBezTo>
                  <a:pt x="665048" y="464531"/>
                  <a:pt x="654111" y="491203"/>
                  <a:pt x="632235" y="507526"/>
                </a:cubicBezTo>
                <a:cubicBezTo>
                  <a:pt x="610359" y="523848"/>
                  <a:pt x="579565" y="532010"/>
                  <a:pt x="539852" y="532010"/>
                </a:cubicBezTo>
                <a:close/>
                <a:moveTo>
                  <a:pt x="3816452" y="535544"/>
                </a:moveTo>
                <a:cubicBezTo>
                  <a:pt x="3797604" y="535544"/>
                  <a:pt x="3780694" y="532430"/>
                  <a:pt x="3765716" y="526204"/>
                </a:cubicBezTo>
                <a:cubicBezTo>
                  <a:pt x="3750740" y="519978"/>
                  <a:pt x="3738708" y="513836"/>
                  <a:pt x="3729622" y="507778"/>
                </a:cubicBezTo>
                <a:lnTo>
                  <a:pt x="3751834" y="462344"/>
                </a:lnTo>
                <a:cubicBezTo>
                  <a:pt x="3760248" y="468065"/>
                  <a:pt x="3770260" y="472861"/>
                  <a:pt x="3781872" y="476731"/>
                </a:cubicBezTo>
                <a:cubicBezTo>
                  <a:pt x="3793482" y="480602"/>
                  <a:pt x="3805178" y="482537"/>
                  <a:pt x="3816956" y="482537"/>
                </a:cubicBezTo>
                <a:cubicBezTo>
                  <a:pt x="3829072" y="482537"/>
                  <a:pt x="3838580" y="479255"/>
                  <a:pt x="3845480" y="472693"/>
                </a:cubicBezTo>
                <a:cubicBezTo>
                  <a:pt x="3852378" y="466130"/>
                  <a:pt x="3855828" y="457127"/>
                  <a:pt x="3855828" y="445685"/>
                </a:cubicBezTo>
                <a:cubicBezTo>
                  <a:pt x="3855828" y="437944"/>
                  <a:pt x="3854230" y="431550"/>
                  <a:pt x="3851032" y="426501"/>
                </a:cubicBezTo>
                <a:cubicBezTo>
                  <a:pt x="3847836" y="421453"/>
                  <a:pt x="3843712" y="417414"/>
                  <a:pt x="3838664" y="414385"/>
                </a:cubicBezTo>
                <a:cubicBezTo>
                  <a:pt x="3833616" y="411357"/>
                  <a:pt x="3827894" y="409169"/>
                  <a:pt x="3821500" y="407823"/>
                </a:cubicBezTo>
                <a:cubicBezTo>
                  <a:pt x="3815106" y="406477"/>
                  <a:pt x="3808712" y="405803"/>
                  <a:pt x="3802316" y="405803"/>
                </a:cubicBezTo>
                <a:lnTo>
                  <a:pt x="3779094" y="405803"/>
                </a:lnTo>
                <a:lnTo>
                  <a:pt x="3779094" y="354311"/>
                </a:lnTo>
                <a:lnTo>
                  <a:pt x="3798278" y="354311"/>
                </a:lnTo>
                <a:cubicBezTo>
                  <a:pt x="3818470" y="354311"/>
                  <a:pt x="3835130" y="351030"/>
                  <a:pt x="3848256" y="344467"/>
                </a:cubicBezTo>
                <a:cubicBezTo>
                  <a:pt x="3861380" y="337904"/>
                  <a:pt x="3867944" y="326378"/>
                  <a:pt x="3867944" y="309887"/>
                </a:cubicBezTo>
                <a:cubicBezTo>
                  <a:pt x="3867944" y="296425"/>
                  <a:pt x="3863652" y="285150"/>
                  <a:pt x="3855072" y="276063"/>
                </a:cubicBezTo>
                <a:cubicBezTo>
                  <a:pt x="3846488" y="266977"/>
                  <a:pt x="3831596" y="262433"/>
                  <a:pt x="3810394" y="262433"/>
                </a:cubicBezTo>
                <a:cubicBezTo>
                  <a:pt x="3793230" y="262433"/>
                  <a:pt x="3778506" y="264284"/>
                  <a:pt x="3766222" y="267986"/>
                </a:cubicBezTo>
                <a:cubicBezTo>
                  <a:pt x="3753938" y="271688"/>
                  <a:pt x="3743924" y="275222"/>
                  <a:pt x="3736184" y="278588"/>
                </a:cubicBezTo>
                <a:lnTo>
                  <a:pt x="3724068" y="226591"/>
                </a:lnTo>
                <a:cubicBezTo>
                  <a:pt x="3727770" y="224908"/>
                  <a:pt x="3732988" y="223057"/>
                  <a:pt x="3739718" y="221037"/>
                </a:cubicBezTo>
                <a:cubicBezTo>
                  <a:pt x="3746450" y="219018"/>
                  <a:pt x="3753770" y="217167"/>
                  <a:pt x="3761678" y="215484"/>
                </a:cubicBezTo>
                <a:cubicBezTo>
                  <a:pt x="3769588" y="213802"/>
                  <a:pt x="3777832" y="212371"/>
                  <a:pt x="3786414" y="211193"/>
                </a:cubicBezTo>
                <a:cubicBezTo>
                  <a:pt x="3794996" y="210015"/>
                  <a:pt x="3803158" y="209427"/>
                  <a:pt x="3810898" y="209427"/>
                </a:cubicBezTo>
                <a:cubicBezTo>
                  <a:pt x="3831764" y="209427"/>
                  <a:pt x="3849770" y="211867"/>
                  <a:pt x="3864916" y="216746"/>
                </a:cubicBezTo>
                <a:cubicBezTo>
                  <a:pt x="3880060" y="221626"/>
                  <a:pt x="3892512" y="228526"/>
                  <a:pt x="3902272" y="237444"/>
                </a:cubicBezTo>
                <a:cubicBezTo>
                  <a:pt x="3912032" y="246363"/>
                  <a:pt x="3919268" y="256880"/>
                  <a:pt x="3923980" y="268996"/>
                </a:cubicBezTo>
                <a:cubicBezTo>
                  <a:pt x="3928692" y="281112"/>
                  <a:pt x="3931048" y="294405"/>
                  <a:pt x="3931048" y="308877"/>
                </a:cubicBezTo>
                <a:cubicBezTo>
                  <a:pt x="3931048" y="327051"/>
                  <a:pt x="3926588" y="342700"/>
                  <a:pt x="3917668" y="355826"/>
                </a:cubicBezTo>
                <a:cubicBezTo>
                  <a:pt x="3908750" y="368951"/>
                  <a:pt x="3896214" y="378879"/>
                  <a:pt x="3880060" y="385610"/>
                </a:cubicBezTo>
                <a:cubicBezTo>
                  <a:pt x="3891840" y="391668"/>
                  <a:pt x="3901262" y="400419"/>
                  <a:pt x="3908330" y="411861"/>
                </a:cubicBezTo>
                <a:cubicBezTo>
                  <a:pt x="3915398" y="423304"/>
                  <a:pt x="3918932" y="435252"/>
                  <a:pt x="3918932" y="447704"/>
                </a:cubicBezTo>
                <a:cubicBezTo>
                  <a:pt x="3918932" y="460156"/>
                  <a:pt x="3916912" y="471767"/>
                  <a:pt x="3912874" y="482537"/>
                </a:cubicBezTo>
                <a:cubicBezTo>
                  <a:pt x="3908834" y="493306"/>
                  <a:pt x="3902608" y="502646"/>
                  <a:pt x="3894196" y="510555"/>
                </a:cubicBezTo>
                <a:cubicBezTo>
                  <a:pt x="3885780" y="518464"/>
                  <a:pt x="3875096" y="524606"/>
                  <a:pt x="3862138" y="528981"/>
                </a:cubicBezTo>
                <a:cubicBezTo>
                  <a:pt x="3849180" y="533356"/>
                  <a:pt x="3833952" y="535544"/>
                  <a:pt x="3816452" y="535544"/>
                </a:cubicBezTo>
                <a:close/>
                <a:moveTo>
                  <a:pt x="3567354" y="535544"/>
                </a:moveTo>
                <a:cubicBezTo>
                  <a:pt x="3549854" y="535544"/>
                  <a:pt x="3532268" y="532178"/>
                  <a:pt x="3514600" y="525447"/>
                </a:cubicBezTo>
                <a:cubicBezTo>
                  <a:pt x="3496930" y="518716"/>
                  <a:pt x="3481366" y="508283"/>
                  <a:pt x="3467904" y="494148"/>
                </a:cubicBezTo>
                <a:lnTo>
                  <a:pt x="3498698" y="450733"/>
                </a:lnTo>
                <a:cubicBezTo>
                  <a:pt x="3509130" y="461839"/>
                  <a:pt x="3519732" y="469748"/>
                  <a:pt x="3530502" y="474460"/>
                </a:cubicBezTo>
                <a:cubicBezTo>
                  <a:pt x="3541272" y="479171"/>
                  <a:pt x="3551536" y="481527"/>
                  <a:pt x="3561296" y="481527"/>
                </a:cubicBezTo>
                <a:cubicBezTo>
                  <a:pt x="3573076" y="481527"/>
                  <a:pt x="3582836" y="478078"/>
                  <a:pt x="3590576" y="471178"/>
                </a:cubicBezTo>
                <a:cubicBezTo>
                  <a:pt x="3598316" y="464279"/>
                  <a:pt x="3602186" y="454435"/>
                  <a:pt x="3602188" y="441646"/>
                </a:cubicBezTo>
                <a:cubicBezTo>
                  <a:pt x="3602186" y="432559"/>
                  <a:pt x="3599074" y="423641"/>
                  <a:pt x="3592848" y="414890"/>
                </a:cubicBezTo>
                <a:cubicBezTo>
                  <a:pt x="3586622" y="406140"/>
                  <a:pt x="3578712" y="397053"/>
                  <a:pt x="3569120" y="387630"/>
                </a:cubicBezTo>
                <a:cubicBezTo>
                  <a:pt x="3559528" y="378206"/>
                  <a:pt x="3549264" y="368362"/>
                  <a:pt x="3538326" y="358097"/>
                </a:cubicBezTo>
                <a:cubicBezTo>
                  <a:pt x="3527388" y="347833"/>
                  <a:pt x="3517124" y="336727"/>
                  <a:pt x="3507532" y="324779"/>
                </a:cubicBezTo>
                <a:cubicBezTo>
                  <a:pt x="3497940" y="312831"/>
                  <a:pt x="3490032" y="299790"/>
                  <a:pt x="3483806" y="285655"/>
                </a:cubicBezTo>
                <a:cubicBezTo>
                  <a:pt x="3477580" y="271520"/>
                  <a:pt x="3474466" y="256039"/>
                  <a:pt x="3474466" y="239211"/>
                </a:cubicBezTo>
                <a:cubicBezTo>
                  <a:pt x="3474466" y="237192"/>
                  <a:pt x="3474382" y="233658"/>
                  <a:pt x="3474214" y="228610"/>
                </a:cubicBezTo>
                <a:cubicBezTo>
                  <a:pt x="3474046" y="223562"/>
                  <a:pt x="3474466" y="219355"/>
                  <a:pt x="3475476" y="215989"/>
                </a:cubicBezTo>
                <a:lnTo>
                  <a:pt x="3679426" y="215989"/>
                </a:lnTo>
                <a:lnTo>
                  <a:pt x="3679426" y="267481"/>
                </a:lnTo>
                <a:lnTo>
                  <a:pt x="3545142" y="267481"/>
                </a:lnTo>
                <a:cubicBezTo>
                  <a:pt x="3545142" y="272530"/>
                  <a:pt x="3546908" y="278083"/>
                  <a:pt x="3550442" y="284141"/>
                </a:cubicBezTo>
                <a:cubicBezTo>
                  <a:pt x="3553976" y="290198"/>
                  <a:pt x="3558268" y="296172"/>
                  <a:pt x="3563316" y="302062"/>
                </a:cubicBezTo>
                <a:cubicBezTo>
                  <a:pt x="3568364" y="307952"/>
                  <a:pt x="3573748" y="313673"/>
                  <a:pt x="3579470" y="319226"/>
                </a:cubicBezTo>
                <a:cubicBezTo>
                  <a:pt x="3585190" y="324779"/>
                  <a:pt x="3590240" y="329575"/>
                  <a:pt x="3594614" y="333613"/>
                </a:cubicBezTo>
                <a:cubicBezTo>
                  <a:pt x="3603364" y="341691"/>
                  <a:pt x="3611946" y="350104"/>
                  <a:pt x="3620360" y="358855"/>
                </a:cubicBezTo>
                <a:cubicBezTo>
                  <a:pt x="3628774" y="367605"/>
                  <a:pt x="3636346" y="376692"/>
                  <a:pt x="3643078" y="386115"/>
                </a:cubicBezTo>
                <a:cubicBezTo>
                  <a:pt x="3649808" y="395539"/>
                  <a:pt x="3655194" y="405214"/>
                  <a:pt x="3659232" y="415143"/>
                </a:cubicBezTo>
                <a:cubicBezTo>
                  <a:pt x="3663270" y="425071"/>
                  <a:pt x="3665290" y="435420"/>
                  <a:pt x="3665290" y="446189"/>
                </a:cubicBezTo>
                <a:cubicBezTo>
                  <a:pt x="3665290" y="460998"/>
                  <a:pt x="3662598" y="474039"/>
                  <a:pt x="3657212" y="485313"/>
                </a:cubicBezTo>
                <a:cubicBezTo>
                  <a:pt x="3651828" y="496588"/>
                  <a:pt x="3644592" y="505927"/>
                  <a:pt x="3635506" y="513331"/>
                </a:cubicBezTo>
                <a:cubicBezTo>
                  <a:pt x="3626418" y="520735"/>
                  <a:pt x="3615986" y="526288"/>
                  <a:pt x="3604206" y="529990"/>
                </a:cubicBezTo>
                <a:cubicBezTo>
                  <a:pt x="3592426" y="533692"/>
                  <a:pt x="3580142" y="535544"/>
                  <a:pt x="3567354" y="535544"/>
                </a:cubicBezTo>
                <a:close/>
                <a:moveTo>
                  <a:pt x="3324752" y="535544"/>
                </a:moveTo>
                <a:cubicBezTo>
                  <a:pt x="3290088" y="535544"/>
                  <a:pt x="3263332" y="522081"/>
                  <a:pt x="3244486" y="495157"/>
                </a:cubicBezTo>
                <a:cubicBezTo>
                  <a:pt x="3225638" y="468233"/>
                  <a:pt x="3216214" y="427511"/>
                  <a:pt x="3216214" y="372990"/>
                </a:cubicBezTo>
                <a:cubicBezTo>
                  <a:pt x="3216214" y="317796"/>
                  <a:pt x="3225470" y="276737"/>
                  <a:pt x="3243980" y="249813"/>
                </a:cubicBezTo>
                <a:cubicBezTo>
                  <a:pt x="3262490" y="222889"/>
                  <a:pt x="3289414" y="209427"/>
                  <a:pt x="3324752" y="209427"/>
                </a:cubicBezTo>
                <a:cubicBezTo>
                  <a:pt x="3360090" y="209427"/>
                  <a:pt x="3387014" y="222889"/>
                  <a:pt x="3405524" y="249813"/>
                </a:cubicBezTo>
                <a:cubicBezTo>
                  <a:pt x="3424034" y="276737"/>
                  <a:pt x="3433290" y="317796"/>
                  <a:pt x="3433290" y="372990"/>
                </a:cubicBezTo>
                <a:cubicBezTo>
                  <a:pt x="3433290" y="427847"/>
                  <a:pt x="3424034" y="468654"/>
                  <a:pt x="3405524" y="495410"/>
                </a:cubicBezTo>
                <a:cubicBezTo>
                  <a:pt x="3387014" y="522166"/>
                  <a:pt x="3360090" y="535544"/>
                  <a:pt x="3324752" y="535544"/>
                </a:cubicBezTo>
                <a:close/>
                <a:moveTo>
                  <a:pt x="3062528" y="535544"/>
                </a:moveTo>
                <a:cubicBezTo>
                  <a:pt x="3045028" y="535544"/>
                  <a:pt x="3027444" y="532178"/>
                  <a:pt x="3009774" y="525447"/>
                </a:cubicBezTo>
                <a:cubicBezTo>
                  <a:pt x="2992106" y="518716"/>
                  <a:pt x="2976540" y="508283"/>
                  <a:pt x="2963078" y="494148"/>
                </a:cubicBezTo>
                <a:lnTo>
                  <a:pt x="2993872" y="450733"/>
                </a:lnTo>
                <a:cubicBezTo>
                  <a:pt x="3004306" y="461839"/>
                  <a:pt x="3014908" y="469748"/>
                  <a:pt x="3025676" y="474460"/>
                </a:cubicBezTo>
                <a:cubicBezTo>
                  <a:pt x="3036446" y="479171"/>
                  <a:pt x="3046712" y="481527"/>
                  <a:pt x="3056472" y="481527"/>
                </a:cubicBezTo>
                <a:cubicBezTo>
                  <a:pt x="3068250" y="481527"/>
                  <a:pt x="3078010" y="478078"/>
                  <a:pt x="3085752" y="471178"/>
                </a:cubicBezTo>
                <a:cubicBezTo>
                  <a:pt x="3093492" y="464279"/>
                  <a:pt x="3097362" y="454435"/>
                  <a:pt x="3097362" y="441646"/>
                </a:cubicBezTo>
                <a:cubicBezTo>
                  <a:pt x="3097362" y="432559"/>
                  <a:pt x="3094248" y="423641"/>
                  <a:pt x="3088022" y="414890"/>
                </a:cubicBezTo>
                <a:cubicBezTo>
                  <a:pt x="3081796" y="406140"/>
                  <a:pt x="3073888" y="397053"/>
                  <a:pt x="3064296" y="387630"/>
                </a:cubicBezTo>
                <a:cubicBezTo>
                  <a:pt x="3054704" y="378206"/>
                  <a:pt x="3044440" y="368362"/>
                  <a:pt x="3033502" y="358097"/>
                </a:cubicBezTo>
                <a:cubicBezTo>
                  <a:pt x="3022564" y="347833"/>
                  <a:pt x="3012298" y="336727"/>
                  <a:pt x="3002708" y="324779"/>
                </a:cubicBezTo>
                <a:cubicBezTo>
                  <a:pt x="2993116" y="312831"/>
                  <a:pt x="2985206" y="299790"/>
                  <a:pt x="2978980" y="285655"/>
                </a:cubicBezTo>
                <a:cubicBezTo>
                  <a:pt x="2972754" y="271520"/>
                  <a:pt x="2969642" y="256039"/>
                  <a:pt x="2969642" y="239211"/>
                </a:cubicBezTo>
                <a:cubicBezTo>
                  <a:pt x="2969642" y="237192"/>
                  <a:pt x="2969558" y="233658"/>
                  <a:pt x="2969388" y="228610"/>
                </a:cubicBezTo>
                <a:cubicBezTo>
                  <a:pt x="2969220" y="223562"/>
                  <a:pt x="2969640" y="219355"/>
                  <a:pt x="2970650" y="215989"/>
                </a:cubicBezTo>
                <a:lnTo>
                  <a:pt x="3174600" y="215989"/>
                </a:lnTo>
                <a:lnTo>
                  <a:pt x="3174600" y="267481"/>
                </a:lnTo>
                <a:lnTo>
                  <a:pt x="3040316" y="267481"/>
                </a:lnTo>
                <a:cubicBezTo>
                  <a:pt x="3040316" y="272530"/>
                  <a:pt x="3042084" y="278083"/>
                  <a:pt x="3045618" y="284141"/>
                </a:cubicBezTo>
                <a:cubicBezTo>
                  <a:pt x="3049152" y="290198"/>
                  <a:pt x="3053442" y="296172"/>
                  <a:pt x="3058490" y="302062"/>
                </a:cubicBezTo>
                <a:cubicBezTo>
                  <a:pt x="3063538" y="307952"/>
                  <a:pt x="3068924" y="313673"/>
                  <a:pt x="3074644" y="319226"/>
                </a:cubicBezTo>
                <a:cubicBezTo>
                  <a:pt x="3080366" y="324779"/>
                  <a:pt x="3085414" y="329575"/>
                  <a:pt x="3089790" y="333613"/>
                </a:cubicBezTo>
                <a:cubicBezTo>
                  <a:pt x="3098540" y="341691"/>
                  <a:pt x="3107122" y="350104"/>
                  <a:pt x="3115536" y="358855"/>
                </a:cubicBezTo>
                <a:cubicBezTo>
                  <a:pt x="3123950" y="367605"/>
                  <a:pt x="3131522" y="376692"/>
                  <a:pt x="3138252" y="386115"/>
                </a:cubicBezTo>
                <a:cubicBezTo>
                  <a:pt x="3144984" y="395539"/>
                  <a:pt x="3150368" y="405214"/>
                  <a:pt x="3154408" y="415143"/>
                </a:cubicBezTo>
                <a:cubicBezTo>
                  <a:pt x="3158446" y="425071"/>
                  <a:pt x="3160464" y="435420"/>
                  <a:pt x="3160464" y="446189"/>
                </a:cubicBezTo>
                <a:cubicBezTo>
                  <a:pt x="3160464" y="460998"/>
                  <a:pt x="3157772" y="474039"/>
                  <a:pt x="3152388" y="485313"/>
                </a:cubicBezTo>
                <a:cubicBezTo>
                  <a:pt x="3147002" y="496588"/>
                  <a:pt x="3139766" y="505927"/>
                  <a:pt x="3130680" y="513331"/>
                </a:cubicBezTo>
                <a:cubicBezTo>
                  <a:pt x="3121594" y="520735"/>
                  <a:pt x="3111160" y="526288"/>
                  <a:pt x="3099382" y="529990"/>
                </a:cubicBezTo>
                <a:cubicBezTo>
                  <a:pt x="3087602" y="533692"/>
                  <a:pt x="3075318" y="535544"/>
                  <a:pt x="3062528" y="535544"/>
                </a:cubicBezTo>
                <a:close/>
                <a:moveTo>
                  <a:pt x="2292890" y="561290"/>
                </a:moveTo>
                <a:cubicBezTo>
                  <a:pt x="2282120" y="561290"/>
                  <a:pt x="2272949" y="557756"/>
                  <a:pt x="2265377" y="550688"/>
                </a:cubicBezTo>
                <a:cubicBezTo>
                  <a:pt x="2257805" y="543621"/>
                  <a:pt x="2254018" y="533861"/>
                  <a:pt x="2254018" y="521408"/>
                </a:cubicBezTo>
                <a:cubicBezTo>
                  <a:pt x="2254018" y="509293"/>
                  <a:pt x="2257805" y="499701"/>
                  <a:pt x="2265377" y="492633"/>
                </a:cubicBezTo>
                <a:cubicBezTo>
                  <a:pt x="2272949" y="485566"/>
                  <a:pt x="2282120" y="482032"/>
                  <a:pt x="2292890" y="482032"/>
                </a:cubicBezTo>
                <a:cubicBezTo>
                  <a:pt x="2303660" y="482032"/>
                  <a:pt x="2312914" y="485566"/>
                  <a:pt x="2320655" y="492633"/>
                </a:cubicBezTo>
                <a:cubicBezTo>
                  <a:pt x="2328396" y="499701"/>
                  <a:pt x="2332266" y="509293"/>
                  <a:pt x="2332266" y="521408"/>
                </a:cubicBezTo>
                <a:cubicBezTo>
                  <a:pt x="2332266" y="533861"/>
                  <a:pt x="2328396" y="543621"/>
                  <a:pt x="2320655" y="550688"/>
                </a:cubicBezTo>
                <a:cubicBezTo>
                  <a:pt x="2312914" y="557756"/>
                  <a:pt x="2303660" y="561290"/>
                  <a:pt x="2292890" y="561290"/>
                </a:cubicBezTo>
                <a:close/>
                <a:moveTo>
                  <a:pt x="1959420" y="563309"/>
                </a:moveTo>
                <a:lnTo>
                  <a:pt x="1959420" y="511817"/>
                </a:lnTo>
                <a:lnTo>
                  <a:pt x="2025047" y="511817"/>
                </a:lnTo>
                <a:lnTo>
                  <a:pt x="2025047" y="310392"/>
                </a:lnTo>
                <a:cubicBezTo>
                  <a:pt x="2025047" y="277746"/>
                  <a:pt x="2031610" y="252926"/>
                  <a:pt x="2044735" y="235930"/>
                </a:cubicBezTo>
                <a:cubicBezTo>
                  <a:pt x="2057860" y="218934"/>
                  <a:pt x="2078727" y="210436"/>
                  <a:pt x="2107333" y="210436"/>
                </a:cubicBezTo>
                <a:cubicBezTo>
                  <a:pt x="2117767" y="210436"/>
                  <a:pt x="2127106" y="211109"/>
                  <a:pt x="2135351" y="212455"/>
                </a:cubicBezTo>
                <a:cubicBezTo>
                  <a:pt x="2143597" y="213802"/>
                  <a:pt x="2150580" y="215400"/>
                  <a:pt x="2156302" y="217251"/>
                </a:cubicBezTo>
                <a:cubicBezTo>
                  <a:pt x="2162023" y="219102"/>
                  <a:pt x="2166650" y="220869"/>
                  <a:pt x="2170184" y="222552"/>
                </a:cubicBezTo>
                <a:cubicBezTo>
                  <a:pt x="2173718" y="224235"/>
                  <a:pt x="2175990" y="225413"/>
                  <a:pt x="2176999" y="226086"/>
                </a:cubicBezTo>
                <a:lnTo>
                  <a:pt x="2168922" y="276063"/>
                </a:lnTo>
                <a:cubicBezTo>
                  <a:pt x="2166230" y="275054"/>
                  <a:pt x="2160677" y="272866"/>
                  <a:pt x="2152263" y="269501"/>
                </a:cubicBezTo>
                <a:cubicBezTo>
                  <a:pt x="2143849" y="266135"/>
                  <a:pt x="2133416" y="264452"/>
                  <a:pt x="2120964" y="264452"/>
                </a:cubicBezTo>
                <a:cubicBezTo>
                  <a:pt x="2111204" y="264452"/>
                  <a:pt x="2103126" y="267313"/>
                  <a:pt x="2096732" y="273034"/>
                </a:cubicBezTo>
                <a:cubicBezTo>
                  <a:pt x="2090338" y="278756"/>
                  <a:pt x="2087140" y="289694"/>
                  <a:pt x="2087140" y="305848"/>
                </a:cubicBezTo>
                <a:lnTo>
                  <a:pt x="2087140" y="563309"/>
                </a:lnTo>
                <a:close/>
                <a:moveTo>
                  <a:pt x="1607052" y="565833"/>
                </a:moveTo>
                <a:cubicBezTo>
                  <a:pt x="1594263" y="565833"/>
                  <a:pt x="1581811" y="564234"/>
                  <a:pt x="1569695" y="561037"/>
                </a:cubicBezTo>
                <a:cubicBezTo>
                  <a:pt x="1557579" y="557840"/>
                  <a:pt x="1546810" y="552455"/>
                  <a:pt x="1537386" y="544883"/>
                </a:cubicBezTo>
                <a:cubicBezTo>
                  <a:pt x="1527963" y="537310"/>
                  <a:pt x="1520474" y="527214"/>
                  <a:pt x="1514921" y="514593"/>
                </a:cubicBezTo>
                <a:cubicBezTo>
                  <a:pt x="1509368" y="501973"/>
                  <a:pt x="1506592" y="486071"/>
                  <a:pt x="1506592" y="466887"/>
                </a:cubicBezTo>
                <a:lnTo>
                  <a:pt x="1506592" y="453257"/>
                </a:lnTo>
                <a:lnTo>
                  <a:pt x="1454595" y="453257"/>
                </a:lnTo>
                <a:lnTo>
                  <a:pt x="1454595" y="401765"/>
                </a:lnTo>
                <a:lnTo>
                  <a:pt x="1506592" y="401765"/>
                </a:lnTo>
                <a:lnTo>
                  <a:pt x="1506592" y="215989"/>
                </a:lnTo>
                <a:lnTo>
                  <a:pt x="1569190" y="215989"/>
                </a:lnTo>
                <a:lnTo>
                  <a:pt x="1569190" y="401765"/>
                </a:lnTo>
                <a:lnTo>
                  <a:pt x="1666621" y="401765"/>
                </a:lnTo>
                <a:lnTo>
                  <a:pt x="1666621" y="453257"/>
                </a:lnTo>
                <a:lnTo>
                  <a:pt x="1569190" y="453257"/>
                </a:lnTo>
                <a:lnTo>
                  <a:pt x="1569190" y="465878"/>
                </a:lnTo>
                <a:cubicBezTo>
                  <a:pt x="1569190" y="475974"/>
                  <a:pt x="1570368" y="484135"/>
                  <a:pt x="1572724" y="490362"/>
                </a:cubicBezTo>
                <a:cubicBezTo>
                  <a:pt x="1575080" y="496588"/>
                  <a:pt x="1578193" y="501384"/>
                  <a:pt x="1582063" y="504749"/>
                </a:cubicBezTo>
                <a:cubicBezTo>
                  <a:pt x="1585933" y="508115"/>
                  <a:pt x="1590477" y="510302"/>
                  <a:pt x="1595693" y="511312"/>
                </a:cubicBezTo>
                <a:cubicBezTo>
                  <a:pt x="1600910" y="512322"/>
                  <a:pt x="1606379" y="512826"/>
                  <a:pt x="1612100" y="512826"/>
                </a:cubicBezTo>
                <a:cubicBezTo>
                  <a:pt x="1622533" y="512826"/>
                  <a:pt x="1633555" y="511396"/>
                  <a:pt x="1645166" y="508535"/>
                </a:cubicBezTo>
                <a:cubicBezTo>
                  <a:pt x="1656777" y="505675"/>
                  <a:pt x="1666453" y="502898"/>
                  <a:pt x="1674194" y="500206"/>
                </a:cubicBezTo>
                <a:lnTo>
                  <a:pt x="1684795" y="550688"/>
                </a:lnTo>
                <a:cubicBezTo>
                  <a:pt x="1673689" y="556073"/>
                  <a:pt x="1661236" y="559943"/>
                  <a:pt x="1647438" y="562299"/>
                </a:cubicBezTo>
                <a:cubicBezTo>
                  <a:pt x="1633639" y="564655"/>
                  <a:pt x="1620178" y="565833"/>
                  <a:pt x="1607052" y="565833"/>
                </a:cubicBezTo>
                <a:close/>
                <a:moveTo>
                  <a:pt x="0" y="796029"/>
                </a:moveTo>
                <a:lnTo>
                  <a:pt x="4876802" y="796029"/>
                </a:lnTo>
                <a:lnTo>
                  <a:pt x="4824822" y="344498"/>
                </a:lnTo>
                <a:cubicBezTo>
                  <a:pt x="4801968" y="145891"/>
                  <a:pt x="4682292" y="207"/>
                  <a:pt x="4541980" y="155"/>
                </a:cubicBezTo>
                <a:lnTo>
                  <a:pt x="0" y="0"/>
                </a:lnTo>
                <a:close/>
              </a:path>
            </a:pathLst>
          </a:custGeom>
          <a:solidFill>
            <a:schemeClr val="bg1"/>
          </a:solidFill>
          <a:ln w="2834" cap="flat">
            <a:noFill/>
            <a:prstDash val="solid"/>
            <a:miter/>
          </a:ln>
        </p:spPr>
        <p:txBody>
          <a:bodyPr wrap="square" rtlCol="0" anchor="ctr">
            <a:noAutofit/>
          </a:bodyPr>
          <a:lstStyle/>
          <a:p>
            <a:endParaRPr lang="en-US" dirty="0"/>
          </a:p>
        </p:txBody>
      </p:sp>
      <p:pic>
        <p:nvPicPr>
          <p:cNvPr id="8" name="Imagen 7" descr="Un dibujo de una cara feliz&#10;&#10;Descripción generada automáticamente con confianza baja">
            <a:extLst>
              <a:ext uri="{FF2B5EF4-FFF2-40B4-BE49-F238E27FC236}">
                <a16:creationId xmlns:a16="http://schemas.microsoft.com/office/drawing/2014/main" id="{A82FAAE7-F450-2EFB-B470-9CA2B285AACF}"/>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7824450" y="406400"/>
            <a:ext cx="1801936" cy="934010"/>
          </a:xfrm>
          <a:prstGeom prst="rect">
            <a:avLst/>
          </a:prstGeom>
        </p:spPr>
      </p:pic>
      <p:sp>
        <p:nvSpPr>
          <p:cNvPr id="10" name="Título 9">
            <a:extLst>
              <a:ext uri="{FF2B5EF4-FFF2-40B4-BE49-F238E27FC236}">
                <a16:creationId xmlns:a16="http://schemas.microsoft.com/office/drawing/2014/main" id="{7E8DAFFC-ADDB-1273-AA91-4852BCB21C8E}"/>
              </a:ext>
            </a:extLst>
          </p:cNvPr>
          <p:cNvSpPr>
            <a:spLocks noGrp="1"/>
          </p:cNvSpPr>
          <p:nvPr>
            <p:ph type="title" hasCustomPrompt="1"/>
          </p:nvPr>
        </p:nvSpPr>
        <p:spPr>
          <a:xfrm>
            <a:off x="7104380" y="1495932"/>
            <a:ext cx="10692384" cy="646331"/>
          </a:xfrm>
        </p:spPr>
        <p:txBody>
          <a:bodyPr/>
          <a:lstStyle>
            <a:lvl1pPr>
              <a:defRPr sz="4200" b="1" i="0">
                <a:solidFill>
                  <a:schemeClr val="bg1"/>
                </a:solidFill>
                <a:latin typeface="Ubuntu" panose="020B0504030602030204" pitchFamily="34" charset="0"/>
              </a:defRPr>
            </a:lvl1pPr>
          </a:lstStyle>
          <a:p>
            <a:r>
              <a:rPr lang="es-ES" dirty="0"/>
              <a:t>ASDFASFD</a:t>
            </a:r>
          </a:p>
        </p:txBody>
      </p:sp>
      <p:sp>
        <p:nvSpPr>
          <p:cNvPr id="11" name="object 12">
            <a:extLst>
              <a:ext uri="{FF2B5EF4-FFF2-40B4-BE49-F238E27FC236}">
                <a16:creationId xmlns:a16="http://schemas.microsoft.com/office/drawing/2014/main" id="{527854C5-8C21-D1AB-7E04-F771C691CE29}"/>
              </a:ext>
            </a:extLst>
          </p:cNvPr>
          <p:cNvSpPr txBox="1"/>
          <p:nvPr userDrawn="1"/>
        </p:nvSpPr>
        <p:spPr>
          <a:xfrm>
            <a:off x="7104380" y="807573"/>
            <a:ext cx="9881870" cy="567463"/>
          </a:xfrm>
          <a:prstGeom prst="rect">
            <a:avLst/>
          </a:prstGeom>
        </p:spPr>
        <p:txBody>
          <a:bodyPr vert="horz" wrap="square" lIns="0" tIns="13335" rIns="0" bIns="0" rtlCol="0">
            <a:spAutoFit/>
          </a:bodyPr>
          <a:lstStyle/>
          <a:p>
            <a:pPr marL="12700">
              <a:lnSpc>
                <a:spcPct val="100000"/>
              </a:lnSpc>
              <a:spcBef>
                <a:spcPts val="105"/>
              </a:spcBef>
            </a:pPr>
            <a:r>
              <a:rPr lang="en-US" sz="3600" spc="-30" dirty="0">
                <a:solidFill>
                  <a:srgbClr val="12A9D8"/>
                </a:solidFill>
                <a:latin typeface="Ubuntu Mono" panose="020B0509030602030204" pitchFamily="49" charset="0"/>
                <a:cs typeface="Ubuntu"/>
              </a:rPr>
              <a:t>Thinking about…</a:t>
            </a:r>
            <a:endParaRPr lang="en-US" sz="3600" dirty="0">
              <a:solidFill>
                <a:srgbClr val="12A9D8"/>
              </a:solidFill>
              <a:latin typeface="Ubuntu"/>
              <a:cs typeface="Ubuntu"/>
            </a:endParaRPr>
          </a:p>
        </p:txBody>
      </p:sp>
      <p:sp>
        <p:nvSpPr>
          <p:cNvPr id="15" name="Marcador de texto 14">
            <a:extLst>
              <a:ext uri="{FF2B5EF4-FFF2-40B4-BE49-F238E27FC236}">
                <a16:creationId xmlns:a16="http://schemas.microsoft.com/office/drawing/2014/main" id="{894536B8-BEFF-96E8-2A83-A0B97363D840}"/>
              </a:ext>
            </a:extLst>
          </p:cNvPr>
          <p:cNvSpPr>
            <a:spLocks noGrp="1"/>
          </p:cNvSpPr>
          <p:nvPr>
            <p:ph type="body" sz="quarter" idx="10"/>
          </p:nvPr>
        </p:nvSpPr>
        <p:spPr>
          <a:xfrm>
            <a:off x="7104380" y="3225800"/>
            <a:ext cx="12244070" cy="6931641"/>
          </a:xfrm>
          <a:prstGeom prst="rect">
            <a:avLst/>
          </a:prstGeom>
        </p:spPr>
        <p:txBody>
          <a:bodyPr/>
          <a:lstStyle>
            <a:lvl1pPr>
              <a:defRPr sz="2900" b="0" i="0">
                <a:solidFill>
                  <a:schemeClr val="bg1"/>
                </a:solidFill>
                <a:latin typeface="Ubuntu Light" panose="020B0304030602030204" pitchFamily="34" charset="0"/>
              </a:defRPr>
            </a:lvl1pPr>
            <a:lvl2pPr>
              <a:defRPr sz="2900" b="0" i="0">
                <a:solidFill>
                  <a:schemeClr val="bg1"/>
                </a:solidFill>
                <a:latin typeface="Ubuntu Light" panose="020B0304030602030204" pitchFamily="34" charset="0"/>
              </a:defRPr>
            </a:lvl2pPr>
            <a:lvl3pPr>
              <a:defRPr sz="2900" b="0" i="0">
                <a:solidFill>
                  <a:schemeClr val="bg1"/>
                </a:solidFill>
                <a:latin typeface="Ubuntu Light" panose="020B0304030602030204" pitchFamily="34" charset="0"/>
              </a:defRPr>
            </a:lvl3pPr>
            <a:lvl4pPr>
              <a:defRPr sz="2900" b="0" i="0">
                <a:solidFill>
                  <a:schemeClr val="bg1"/>
                </a:solidFill>
                <a:latin typeface="Ubuntu Light" panose="020B0304030602030204" pitchFamily="34" charset="0"/>
              </a:defRPr>
            </a:lvl4pPr>
            <a:lvl5pPr>
              <a:defRPr sz="2900" b="0" i="0">
                <a:solidFill>
                  <a:schemeClr val="bg1"/>
                </a:solidFill>
                <a:latin typeface="Ubuntu Light" panose="020B0304030602030204" pitchFamily="34" charset="0"/>
              </a:defRPr>
            </a:lvl5pPr>
          </a:lstStyle>
          <a:p>
            <a:pPr lvl="0"/>
            <a:r>
              <a:rPr lang="es-ES" dirty="0"/>
              <a:t>Haga clic para modificar los estilos de texto del patrón</a:t>
            </a:r>
          </a:p>
          <a:p>
            <a:pPr lvl="1"/>
            <a:r>
              <a:rPr lang="es-ES" dirty="0"/>
              <a:t>Segundo nivel</a:t>
            </a:r>
          </a:p>
          <a:p>
            <a:pPr lvl="2"/>
            <a:r>
              <a:rPr lang="es-ES" dirty="0"/>
              <a:t> nivel</a:t>
            </a:r>
          </a:p>
          <a:p>
            <a:pPr lvl="3"/>
            <a:r>
              <a:rPr lang="es-ES" dirty="0"/>
              <a:t>Cuarto nivel</a:t>
            </a:r>
          </a:p>
          <a:p>
            <a:pPr lvl="4"/>
            <a:r>
              <a:rPr lang="es-ES" dirty="0"/>
              <a:t>Quinto nivel</a:t>
            </a:r>
          </a:p>
        </p:txBody>
      </p:sp>
      <p:sp>
        <p:nvSpPr>
          <p:cNvPr id="16" name="CuadroTexto 15">
            <a:extLst>
              <a:ext uri="{FF2B5EF4-FFF2-40B4-BE49-F238E27FC236}">
                <a16:creationId xmlns:a16="http://schemas.microsoft.com/office/drawing/2014/main" id="{9D153551-888E-2E4A-C9F1-C375C679B619}"/>
              </a:ext>
            </a:extLst>
          </p:cNvPr>
          <p:cNvSpPr txBox="1"/>
          <p:nvPr userDrawn="1"/>
        </p:nvSpPr>
        <p:spPr>
          <a:xfrm>
            <a:off x="4870450" y="-151634"/>
            <a:ext cx="3200400" cy="4508927"/>
          </a:xfrm>
          <a:prstGeom prst="rect">
            <a:avLst/>
          </a:prstGeom>
          <a:noFill/>
        </p:spPr>
        <p:txBody>
          <a:bodyPr wrap="square" rtlCol="0">
            <a:spAutoFit/>
          </a:bodyPr>
          <a:lstStyle/>
          <a:p>
            <a:r>
              <a:rPr lang="es-ES" sz="28700" b="1" i="0" dirty="0">
                <a:solidFill>
                  <a:srgbClr val="12A9D8"/>
                </a:solidFill>
                <a:latin typeface="Ubuntu" panose="020B0504030602030204" pitchFamily="34" charset="0"/>
              </a:rPr>
              <a:t>?</a:t>
            </a:r>
          </a:p>
        </p:txBody>
      </p:sp>
    </p:spTree>
    <p:extLst>
      <p:ext uri="{BB962C8B-B14F-4D97-AF65-F5344CB8AC3E}">
        <p14:creationId xmlns:p14="http://schemas.microsoft.com/office/powerpoint/2010/main" val="413502412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5_Title and Content">
    <p:spTree>
      <p:nvGrpSpPr>
        <p:cNvPr id="1" name=""/>
        <p:cNvGrpSpPr/>
        <p:nvPr/>
      </p:nvGrpSpPr>
      <p:grpSpPr>
        <a:xfrm>
          <a:off x="0" y="0"/>
          <a:ext cx="0" cy="0"/>
          <a:chOff x="0" y="0"/>
          <a:chExt cx="0" cy="0"/>
        </a:xfrm>
      </p:grpSpPr>
      <p:pic>
        <p:nvPicPr>
          <p:cNvPr id="13" name="Imagen 12">
            <a:extLst>
              <a:ext uri="{FF2B5EF4-FFF2-40B4-BE49-F238E27FC236}">
                <a16:creationId xmlns:a16="http://schemas.microsoft.com/office/drawing/2014/main" id="{0FF4B6A3-5928-6171-FC4C-7F717B79BBA3}"/>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311150" y="-8877"/>
            <a:ext cx="6629400" cy="11346153"/>
          </a:xfrm>
          <a:prstGeom prst="rect">
            <a:avLst/>
          </a:prstGeom>
        </p:spPr>
      </p:pic>
      <p:sp>
        <p:nvSpPr>
          <p:cNvPr id="3" name="Rectángulo 2">
            <a:extLst>
              <a:ext uri="{FF2B5EF4-FFF2-40B4-BE49-F238E27FC236}">
                <a16:creationId xmlns:a16="http://schemas.microsoft.com/office/drawing/2014/main" id="{8E2A0C8C-2F63-07D5-D3ED-F129D31CE088}"/>
              </a:ext>
            </a:extLst>
          </p:cNvPr>
          <p:cNvSpPr/>
          <p:nvPr userDrawn="1"/>
        </p:nvSpPr>
        <p:spPr>
          <a:xfrm>
            <a:off x="6318250" y="-17753"/>
            <a:ext cx="13785850" cy="11346153"/>
          </a:xfrm>
          <a:prstGeom prst="rect">
            <a:avLst/>
          </a:prstGeom>
          <a:solidFill>
            <a:srgbClr val="330E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4" name="Holder 4"/>
          <p:cNvSpPr>
            <a:spLocks noGrp="1"/>
          </p:cNvSpPr>
          <p:nvPr>
            <p:ph type="ftr" sz="quarter" idx="5"/>
          </p:nvPr>
        </p:nvSpPr>
        <p:spPr>
          <a:xfrm>
            <a:off x="16647741" y="10759212"/>
            <a:ext cx="2962677" cy="200055"/>
          </a:xfrm>
          <a:prstGeom prst="rect">
            <a:avLst/>
          </a:prstGeom>
        </p:spPr>
        <p:txBody>
          <a:bodyPr lIns="0" tIns="0" rIns="0" bIns="0"/>
          <a:lstStyle>
            <a:lvl1pPr>
              <a:defRPr sz="1300" b="0" i="0">
                <a:solidFill>
                  <a:schemeClr val="bg1"/>
                </a:solidFill>
                <a:latin typeface="Ubuntu Light"/>
                <a:cs typeface="Ubuntu Light"/>
              </a:defRPr>
            </a:lvl1pPr>
          </a:lstStyle>
          <a:p>
            <a:pPr marL="26034">
              <a:spcBef>
                <a:spcPts val="30"/>
              </a:spcBef>
            </a:pPr>
            <a:r>
              <a:rPr lang="es-ES" dirty="0"/>
              <a:t>Public</a:t>
            </a:r>
            <a:r>
              <a:rPr lang="es-ES" spc="-40" dirty="0"/>
              <a:t> </a:t>
            </a:r>
            <a:r>
              <a:rPr lang="es-ES" dirty="0"/>
              <a:t>©</a:t>
            </a:r>
            <a:r>
              <a:rPr lang="es-ES" spc="-40" dirty="0"/>
              <a:t> </a:t>
            </a:r>
            <a:r>
              <a:rPr lang="es-ES" dirty="0"/>
              <a:t>2023</a:t>
            </a:r>
            <a:r>
              <a:rPr lang="es-ES" spc="-40" dirty="0"/>
              <a:t> </a:t>
            </a:r>
            <a:r>
              <a:rPr lang="es-ES" spc="-10" dirty="0"/>
              <a:t>Sogeti.</a:t>
            </a:r>
            <a:r>
              <a:rPr lang="es-ES" spc="-35" dirty="0"/>
              <a:t> </a:t>
            </a:r>
            <a:r>
              <a:rPr lang="es-ES" dirty="0" err="1"/>
              <a:t>All</a:t>
            </a:r>
            <a:r>
              <a:rPr lang="es-ES" spc="-40" dirty="0"/>
              <a:t> </a:t>
            </a:r>
            <a:r>
              <a:rPr lang="es-ES" dirty="0"/>
              <a:t>rights</a:t>
            </a:r>
            <a:r>
              <a:rPr lang="es-ES" spc="-40" dirty="0"/>
              <a:t> </a:t>
            </a:r>
            <a:r>
              <a:rPr lang="es-ES" spc="-10" dirty="0" err="1"/>
              <a:t>reserved</a:t>
            </a:r>
            <a:endParaRPr lang="es-ES" spc="-10" dirty="0"/>
          </a:p>
        </p:txBody>
      </p:sp>
      <p:sp>
        <p:nvSpPr>
          <p:cNvPr id="2" name="CuadroTexto 1">
            <a:extLst>
              <a:ext uri="{FF2B5EF4-FFF2-40B4-BE49-F238E27FC236}">
                <a16:creationId xmlns:a16="http://schemas.microsoft.com/office/drawing/2014/main" id="{72E5CF79-7DA3-E21E-3060-87CB44907F25}"/>
              </a:ext>
            </a:extLst>
          </p:cNvPr>
          <p:cNvSpPr txBox="1"/>
          <p:nvPr userDrawn="1"/>
        </p:nvSpPr>
        <p:spPr>
          <a:xfrm>
            <a:off x="755650" y="10845800"/>
            <a:ext cx="7772400" cy="292388"/>
          </a:xfrm>
          <a:prstGeom prst="rect">
            <a:avLst/>
          </a:prstGeom>
          <a:noFill/>
        </p:spPr>
        <p:txBody>
          <a:bodyPr wrap="square" rtlCol="0">
            <a:spAutoFit/>
          </a:bodyPr>
          <a:lstStyle/>
          <a:p>
            <a:r>
              <a:rPr lang="es-ES" sz="1300" b="0" i="0" dirty="0">
                <a:solidFill>
                  <a:schemeClr val="bg1"/>
                </a:solidFill>
                <a:latin typeface="Ubuntu Medium" panose="020B0504030602030204" pitchFamily="34" charset="0"/>
              </a:rPr>
              <a:t>#FlourishingDigitalBusinessWithQuality </a:t>
            </a:r>
            <a:r>
              <a:rPr lang="es-ES" sz="1300" b="1" i="0" dirty="0">
                <a:solidFill>
                  <a:schemeClr val="bg1"/>
                </a:solidFill>
                <a:latin typeface="Ubuntu" panose="020B0504030602030204" pitchFamily="34" charset="0"/>
              </a:rPr>
              <a:t> </a:t>
            </a:r>
            <a:r>
              <a:rPr lang="es-ES" sz="1300" b="1" i="0" dirty="0">
                <a:solidFill>
                  <a:srgbClr val="290E3B"/>
                </a:solidFill>
                <a:latin typeface="Ubuntu" panose="020B0504030602030204" pitchFamily="34" charset="0"/>
              </a:rPr>
              <a:t>·</a:t>
            </a:r>
            <a:r>
              <a:rPr lang="es-ES" sz="1300" b="0" i="0" dirty="0">
                <a:solidFill>
                  <a:schemeClr val="tx2"/>
                </a:solidFill>
                <a:latin typeface="Ubuntu Medium" panose="020B0504030602030204" pitchFamily="34" charset="0"/>
              </a:rPr>
              <a:t>   </a:t>
            </a:r>
            <a:r>
              <a:rPr lang="es-ES" sz="1300" b="1" i="0" dirty="0">
                <a:solidFill>
                  <a:srgbClr val="12A9D8"/>
                </a:solidFill>
                <a:latin typeface="Ubuntu" panose="020B0504030602030204" pitchFamily="34" charset="0"/>
              </a:rPr>
              <a:t>Sogeti España</a:t>
            </a:r>
          </a:p>
        </p:txBody>
      </p:sp>
      <p:sp>
        <p:nvSpPr>
          <p:cNvPr id="5" name="Forma libre 4">
            <a:extLst>
              <a:ext uri="{FF2B5EF4-FFF2-40B4-BE49-F238E27FC236}">
                <a16:creationId xmlns:a16="http://schemas.microsoft.com/office/drawing/2014/main" id="{FBAABD7F-C513-9B40-6AE2-E43DB3944CCE}"/>
              </a:ext>
            </a:extLst>
          </p:cNvPr>
          <p:cNvSpPr/>
          <p:nvPr userDrawn="1"/>
        </p:nvSpPr>
        <p:spPr>
          <a:xfrm flipV="1">
            <a:off x="755650" y="10384024"/>
            <a:ext cx="2362200" cy="385576"/>
          </a:xfrm>
          <a:custGeom>
            <a:avLst/>
            <a:gdLst/>
            <a:ahLst/>
            <a:cxnLst/>
            <a:rect l="l" t="t" r="r" b="b"/>
            <a:pathLst>
              <a:path w="4876802" h="796029">
                <a:moveTo>
                  <a:pt x="2572782" y="405299"/>
                </a:moveTo>
                <a:cubicBezTo>
                  <a:pt x="2589609" y="405299"/>
                  <a:pt x="2601809" y="398820"/>
                  <a:pt x="2609382" y="385863"/>
                </a:cubicBezTo>
                <a:cubicBezTo>
                  <a:pt x="2616954" y="372906"/>
                  <a:pt x="2620740" y="355826"/>
                  <a:pt x="2620740" y="334623"/>
                </a:cubicBezTo>
                <a:cubicBezTo>
                  <a:pt x="2620740" y="313420"/>
                  <a:pt x="2616618" y="296256"/>
                  <a:pt x="2608372" y="283131"/>
                </a:cubicBezTo>
                <a:cubicBezTo>
                  <a:pt x="2600126" y="270006"/>
                  <a:pt x="2587927" y="263443"/>
                  <a:pt x="2571772" y="263443"/>
                </a:cubicBezTo>
                <a:cubicBezTo>
                  <a:pt x="2554945" y="263443"/>
                  <a:pt x="2542744" y="270006"/>
                  <a:pt x="2535172" y="283131"/>
                </a:cubicBezTo>
                <a:cubicBezTo>
                  <a:pt x="2527600" y="296256"/>
                  <a:pt x="2523814" y="313420"/>
                  <a:pt x="2523814" y="334623"/>
                </a:cubicBezTo>
                <a:cubicBezTo>
                  <a:pt x="2523814" y="355826"/>
                  <a:pt x="2527937" y="372906"/>
                  <a:pt x="2536182" y="385863"/>
                </a:cubicBezTo>
                <a:cubicBezTo>
                  <a:pt x="2544428" y="398820"/>
                  <a:pt x="2556628" y="405299"/>
                  <a:pt x="2572782" y="405299"/>
                </a:cubicBezTo>
                <a:close/>
                <a:moveTo>
                  <a:pt x="1810782" y="405299"/>
                </a:moveTo>
                <a:cubicBezTo>
                  <a:pt x="1827610" y="405299"/>
                  <a:pt x="1839810" y="398820"/>
                  <a:pt x="1847382" y="385863"/>
                </a:cubicBezTo>
                <a:cubicBezTo>
                  <a:pt x="1854954" y="372906"/>
                  <a:pt x="1858740" y="355826"/>
                  <a:pt x="1858740" y="334623"/>
                </a:cubicBezTo>
                <a:cubicBezTo>
                  <a:pt x="1858740" y="313420"/>
                  <a:pt x="1854618" y="296256"/>
                  <a:pt x="1846372" y="283131"/>
                </a:cubicBezTo>
                <a:cubicBezTo>
                  <a:pt x="1838127" y="270006"/>
                  <a:pt x="1825927" y="263443"/>
                  <a:pt x="1809772" y="263443"/>
                </a:cubicBezTo>
                <a:cubicBezTo>
                  <a:pt x="1792945" y="263443"/>
                  <a:pt x="1780745" y="270006"/>
                  <a:pt x="1773173" y="283131"/>
                </a:cubicBezTo>
                <a:cubicBezTo>
                  <a:pt x="1765600" y="296256"/>
                  <a:pt x="1761814" y="313420"/>
                  <a:pt x="1761814" y="334623"/>
                </a:cubicBezTo>
                <a:cubicBezTo>
                  <a:pt x="1761814" y="355826"/>
                  <a:pt x="1765937" y="372906"/>
                  <a:pt x="1774182" y="385863"/>
                </a:cubicBezTo>
                <a:cubicBezTo>
                  <a:pt x="1782428" y="398820"/>
                  <a:pt x="1794628" y="405299"/>
                  <a:pt x="1810782" y="405299"/>
                </a:cubicBezTo>
                <a:close/>
                <a:moveTo>
                  <a:pt x="810657" y="405299"/>
                </a:moveTo>
                <a:cubicBezTo>
                  <a:pt x="827485" y="405299"/>
                  <a:pt x="839684" y="398820"/>
                  <a:pt x="847257" y="385863"/>
                </a:cubicBezTo>
                <a:cubicBezTo>
                  <a:pt x="854829" y="372906"/>
                  <a:pt x="858615" y="355826"/>
                  <a:pt x="858616" y="334623"/>
                </a:cubicBezTo>
                <a:cubicBezTo>
                  <a:pt x="858615" y="313420"/>
                  <a:pt x="854493" y="296256"/>
                  <a:pt x="846247" y="283131"/>
                </a:cubicBezTo>
                <a:cubicBezTo>
                  <a:pt x="838002" y="270006"/>
                  <a:pt x="825802" y="263443"/>
                  <a:pt x="809647" y="263443"/>
                </a:cubicBezTo>
                <a:cubicBezTo>
                  <a:pt x="792820" y="263443"/>
                  <a:pt x="780620" y="270006"/>
                  <a:pt x="773048" y="283131"/>
                </a:cubicBezTo>
                <a:cubicBezTo>
                  <a:pt x="765475" y="296256"/>
                  <a:pt x="761689" y="313420"/>
                  <a:pt x="761689" y="334623"/>
                </a:cubicBezTo>
                <a:cubicBezTo>
                  <a:pt x="761689" y="355826"/>
                  <a:pt x="765812" y="372906"/>
                  <a:pt x="774057" y="385863"/>
                </a:cubicBezTo>
                <a:cubicBezTo>
                  <a:pt x="782303" y="398820"/>
                  <a:pt x="794503" y="405299"/>
                  <a:pt x="810657" y="405299"/>
                </a:cubicBezTo>
                <a:close/>
                <a:moveTo>
                  <a:pt x="3325256" y="411861"/>
                </a:moveTo>
                <a:cubicBezTo>
                  <a:pt x="3316506" y="411861"/>
                  <a:pt x="3309608" y="408496"/>
                  <a:pt x="3304560" y="401765"/>
                </a:cubicBezTo>
                <a:cubicBezTo>
                  <a:pt x="3299512" y="395034"/>
                  <a:pt x="3296988" y="387125"/>
                  <a:pt x="3296988" y="378038"/>
                </a:cubicBezTo>
                <a:cubicBezTo>
                  <a:pt x="3296988" y="368951"/>
                  <a:pt x="3299512" y="361126"/>
                  <a:pt x="3304560" y="354564"/>
                </a:cubicBezTo>
                <a:cubicBezTo>
                  <a:pt x="3309608" y="348001"/>
                  <a:pt x="3316506" y="344720"/>
                  <a:pt x="3325256" y="344720"/>
                </a:cubicBezTo>
                <a:cubicBezTo>
                  <a:pt x="3333334" y="344720"/>
                  <a:pt x="3339980" y="348001"/>
                  <a:pt x="3345198" y="354564"/>
                </a:cubicBezTo>
                <a:cubicBezTo>
                  <a:pt x="3350414" y="361126"/>
                  <a:pt x="3353022" y="368951"/>
                  <a:pt x="3353022" y="378038"/>
                </a:cubicBezTo>
                <a:cubicBezTo>
                  <a:pt x="3353022" y="387125"/>
                  <a:pt x="3350414" y="395034"/>
                  <a:pt x="3345198" y="401765"/>
                </a:cubicBezTo>
                <a:cubicBezTo>
                  <a:pt x="3339980" y="408496"/>
                  <a:pt x="3333334" y="411861"/>
                  <a:pt x="3325256" y="411861"/>
                </a:cubicBezTo>
                <a:close/>
                <a:moveTo>
                  <a:pt x="2207070" y="453257"/>
                </a:moveTo>
                <a:lnTo>
                  <a:pt x="2207070" y="401765"/>
                </a:lnTo>
                <a:lnTo>
                  <a:pt x="2272697" y="401765"/>
                </a:lnTo>
                <a:lnTo>
                  <a:pt x="2272697" y="314430"/>
                </a:lnTo>
                <a:cubicBezTo>
                  <a:pt x="2272697" y="297939"/>
                  <a:pt x="2274043" y="283299"/>
                  <a:pt x="2276735" y="270510"/>
                </a:cubicBezTo>
                <a:cubicBezTo>
                  <a:pt x="2279428" y="257721"/>
                  <a:pt x="2284055" y="246868"/>
                  <a:pt x="2290618" y="237949"/>
                </a:cubicBezTo>
                <a:cubicBezTo>
                  <a:pt x="2297181" y="229031"/>
                  <a:pt x="2305931" y="222215"/>
                  <a:pt x="2316869" y="217504"/>
                </a:cubicBezTo>
                <a:cubicBezTo>
                  <a:pt x="2327807" y="212792"/>
                  <a:pt x="2341353" y="210436"/>
                  <a:pt x="2357508" y="210436"/>
                </a:cubicBezTo>
                <a:cubicBezTo>
                  <a:pt x="2366931" y="210436"/>
                  <a:pt x="2377280" y="211530"/>
                  <a:pt x="2388554" y="213718"/>
                </a:cubicBezTo>
                <a:cubicBezTo>
                  <a:pt x="2399829" y="215905"/>
                  <a:pt x="2411860" y="220028"/>
                  <a:pt x="2424649" y="226086"/>
                </a:cubicBezTo>
                <a:lnTo>
                  <a:pt x="2416572" y="276063"/>
                </a:lnTo>
                <a:cubicBezTo>
                  <a:pt x="2406475" y="271352"/>
                  <a:pt x="2397388" y="268239"/>
                  <a:pt x="2389312" y="266724"/>
                </a:cubicBezTo>
                <a:cubicBezTo>
                  <a:pt x="2381234" y="265210"/>
                  <a:pt x="2374335" y="264452"/>
                  <a:pt x="2368614" y="264452"/>
                </a:cubicBezTo>
                <a:cubicBezTo>
                  <a:pt x="2356498" y="264452"/>
                  <a:pt x="2347832" y="267902"/>
                  <a:pt x="2342615" y="274801"/>
                </a:cubicBezTo>
                <a:cubicBezTo>
                  <a:pt x="2337398" y="281701"/>
                  <a:pt x="2334790" y="292218"/>
                  <a:pt x="2334790" y="306353"/>
                </a:cubicBezTo>
                <a:lnTo>
                  <a:pt x="2334790" y="453257"/>
                </a:lnTo>
                <a:close/>
                <a:moveTo>
                  <a:pt x="1088092" y="457800"/>
                </a:moveTo>
                <a:cubicBezTo>
                  <a:pt x="1064870" y="457800"/>
                  <a:pt x="1044593" y="455949"/>
                  <a:pt x="1027260" y="452247"/>
                </a:cubicBezTo>
                <a:cubicBezTo>
                  <a:pt x="1009928" y="448545"/>
                  <a:pt x="993016" y="443665"/>
                  <a:pt x="976526" y="437607"/>
                </a:cubicBezTo>
                <a:lnTo>
                  <a:pt x="976526" y="215989"/>
                </a:lnTo>
                <a:lnTo>
                  <a:pt x="1039124" y="215989"/>
                </a:lnTo>
                <a:lnTo>
                  <a:pt x="1039124" y="392173"/>
                </a:lnTo>
                <a:cubicBezTo>
                  <a:pt x="1047874" y="394529"/>
                  <a:pt x="1056456" y="396128"/>
                  <a:pt x="1064870" y="396969"/>
                </a:cubicBezTo>
                <a:cubicBezTo>
                  <a:pt x="1073284" y="397810"/>
                  <a:pt x="1081866" y="398231"/>
                  <a:pt x="1090616" y="398231"/>
                </a:cubicBezTo>
                <a:cubicBezTo>
                  <a:pt x="1094318" y="398231"/>
                  <a:pt x="1098861" y="398063"/>
                  <a:pt x="1104246" y="397726"/>
                </a:cubicBezTo>
                <a:cubicBezTo>
                  <a:pt x="1109631" y="397390"/>
                  <a:pt x="1115184" y="396801"/>
                  <a:pt x="1120905" y="395959"/>
                </a:cubicBezTo>
                <a:cubicBezTo>
                  <a:pt x="1126627" y="395118"/>
                  <a:pt x="1132264" y="394192"/>
                  <a:pt x="1137817" y="393183"/>
                </a:cubicBezTo>
                <a:cubicBezTo>
                  <a:pt x="1143370" y="392173"/>
                  <a:pt x="1148166" y="391164"/>
                  <a:pt x="1152205" y="390154"/>
                </a:cubicBezTo>
                <a:lnTo>
                  <a:pt x="1163311" y="447704"/>
                </a:lnTo>
                <a:cubicBezTo>
                  <a:pt x="1157589" y="449723"/>
                  <a:pt x="1151111" y="451322"/>
                  <a:pt x="1143875" y="452500"/>
                </a:cubicBezTo>
                <a:cubicBezTo>
                  <a:pt x="1136639" y="453678"/>
                  <a:pt x="1129487" y="454687"/>
                  <a:pt x="1122420" y="455529"/>
                </a:cubicBezTo>
                <a:cubicBezTo>
                  <a:pt x="1115352" y="456370"/>
                  <a:pt x="1108706" y="456959"/>
                  <a:pt x="1102479" y="457296"/>
                </a:cubicBezTo>
                <a:cubicBezTo>
                  <a:pt x="1096253" y="457632"/>
                  <a:pt x="1091457" y="457800"/>
                  <a:pt x="1088092" y="457800"/>
                </a:cubicBezTo>
                <a:close/>
                <a:moveTo>
                  <a:pt x="2572782" y="459315"/>
                </a:moveTo>
                <a:cubicBezTo>
                  <a:pt x="2556628" y="459315"/>
                  <a:pt x="2541651" y="456370"/>
                  <a:pt x="2527852" y="450480"/>
                </a:cubicBezTo>
                <a:cubicBezTo>
                  <a:pt x="2514054" y="444591"/>
                  <a:pt x="2502190" y="436177"/>
                  <a:pt x="2492262" y="425239"/>
                </a:cubicBezTo>
                <a:cubicBezTo>
                  <a:pt x="2482334" y="414301"/>
                  <a:pt x="2474594" y="401176"/>
                  <a:pt x="2469040" y="385863"/>
                </a:cubicBezTo>
                <a:cubicBezTo>
                  <a:pt x="2463487" y="370550"/>
                  <a:pt x="2460711" y="353638"/>
                  <a:pt x="2460711" y="335128"/>
                </a:cubicBezTo>
                <a:cubicBezTo>
                  <a:pt x="2460711" y="316281"/>
                  <a:pt x="2463403" y="299201"/>
                  <a:pt x="2468788" y="283888"/>
                </a:cubicBezTo>
                <a:cubicBezTo>
                  <a:pt x="2474173" y="268575"/>
                  <a:pt x="2481829" y="255366"/>
                  <a:pt x="2491758" y="244259"/>
                </a:cubicBezTo>
                <a:cubicBezTo>
                  <a:pt x="2501686" y="233153"/>
                  <a:pt x="2513465" y="224571"/>
                  <a:pt x="2527095" y="218513"/>
                </a:cubicBezTo>
                <a:cubicBezTo>
                  <a:pt x="2540726" y="212455"/>
                  <a:pt x="2555954" y="209427"/>
                  <a:pt x="2572782" y="209427"/>
                </a:cubicBezTo>
                <a:cubicBezTo>
                  <a:pt x="2589609" y="209427"/>
                  <a:pt x="2604838" y="212455"/>
                  <a:pt x="2618468" y="218513"/>
                </a:cubicBezTo>
                <a:cubicBezTo>
                  <a:pt x="2632098" y="224571"/>
                  <a:pt x="2643794" y="233153"/>
                  <a:pt x="2653554" y="244259"/>
                </a:cubicBezTo>
                <a:cubicBezTo>
                  <a:pt x="2663314" y="255366"/>
                  <a:pt x="2670886" y="268575"/>
                  <a:pt x="2676271" y="283888"/>
                </a:cubicBezTo>
                <a:cubicBezTo>
                  <a:pt x="2681656" y="299201"/>
                  <a:pt x="2684348" y="316281"/>
                  <a:pt x="2684348" y="335128"/>
                </a:cubicBezTo>
                <a:cubicBezTo>
                  <a:pt x="2684348" y="353638"/>
                  <a:pt x="2681656" y="370550"/>
                  <a:pt x="2676271" y="385863"/>
                </a:cubicBezTo>
                <a:cubicBezTo>
                  <a:pt x="2670886" y="401176"/>
                  <a:pt x="2663230" y="414301"/>
                  <a:pt x="2653302" y="425239"/>
                </a:cubicBezTo>
                <a:cubicBezTo>
                  <a:pt x="2643373" y="436177"/>
                  <a:pt x="2631594" y="444591"/>
                  <a:pt x="2617964" y="450480"/>
                </a:cubicBezTo>
                <a:cubicBezTo>
                  <a:pt x="2604334" y="456370"/>
                  <a:pt x="2589273" y="459315"/>
                  <a:pt x="2572782" y="459315"/>
                </a:cubicBezTo>
                <a:close/>
                <a:moveTo>
                  <a:pt x="1810782" y="459315"/>
                </a:moveTo>
                <a:cubicBezTo>
                  <a:pt x="1794628" y="459315"/>
                  <a:pt x="1779651" y="456370"/>
                  <a:pt x="1765853" y="450480"/>
                </a:cubicBezTo>
                <a:cubicBezTo>
                  <a:pt x="1752054" y="444591"/>
                  <a:pt x="1740191" y="436177"/>
                  <a:pt x="1730262" y="425239"/>
                </a:cubicBezTo>
                <a:cubicBezTo>
                  <a:pt x="1720334" y="414301"/>
                  <a:pt x="1712594" y="401176"/>
                  <a:pt x="1707040" y="385863"/>
                </a:cubicBezTo>
                <a:cubicBezTo>
                  <a:pt x="1701488" y="370550"/>
                  <a:pt x="1698711" y="353638"/>
                  <a:pt x="1698711" y="335128"/>
                </a:cubicBezTo>
                <a:cubicBezTo>
                  <a:pt x="1698711" y="316281"/>
                  <a:pt x="1701403" y="299201"/>
                  <a:pt x="1706788" y="283888"/>
                </a:cubicBezTo>
                <a:cubicBezTo>
                  <a:pt x="1712173" y="268575"/>
                  <a:pt x="1719829" y="255366"/>
                  <a:pt x="1729758" y="244259"/>
                </a:cubicBezTo>
                <a:cubicBezTo>
                  <a:pt x="1739686" y="233153"/>
                  <a:pt x="1751465" y="224571"/>
                  <a:pt x="1765095" y="218513"/>
                </a:cubicBezTo>
                <a:cubicBezTo>
                  <a:pt x="1778726" y="212455"/>
                  <a:pt x="1793954" y="209427"/>
                  <a:pt x="1810782" y="209427"/>
                </a:cubicBezTo>
                <a:cubicBezTo>
                  <a:pt x="1827610" y="209427"/>
                  <a:pt x="1842838" y="212455"/>
                  <a:pt x="1856469" y="218513"/>
                </a:cubicBezTo>
                <a:cubicBezTo>
                  <a:pt x="1870099" y="224571"/>
                  <a:pt x="1881794" y="233153"/>
                  <a:pt x="1891554" y="244259"/>
                </a:cubicBezTo>
                <a:cubicBezTo>
                  <a:pt x="1901314" y="255366"/>
                  <a:pt x="1908886" y="268575"/>
                  <a:pt x="1914271" y="283888"/>
                </a:cubicBezTo>
                <a:cubicBezTo>
                  <a:pt x="1919656" y="299201"/>
                  <a:pt x="1922348" y="316281"/>
                  <a:pt x="1922348" y="335128"/>
                </a:cubicBezTo>
                <a:cubicBezTo>
                  <a:pt x="1922348" y="353638"/>
                  <a:pt x="1919656" y="370550"/>
                  <a:pt x="1914271" y="385863"/>
                </a:cubicBezTo>
                <a:cubicBezTo>
                  <a:pt x="1908886" y="401176"/>
                  <a:pt x="1901230" y="414301"/>
                  <a:pt x="1891302" y="425239"/>
                </a:cubicBezTo>
                <a:cubicBezTo>
                  <a:pt x="1881374" y="436177"/>
                  <a:pt x="1869594" y="444591"/>
                  <a:pt x="1855964" y="450480"/>
                </a:cubicBezTo>
                <a:cubicBezTo>
                  <a:pt x="1842334" y="456370"/>
                  <a:pt x="1827273" y="459315"/>
                  <a:pt x="1810782" y="459315"/>
                </a:cubicBezTo>
                <a:close/>
                <a:moveTo>
                  <a:pt x="810657" y="459315"/>
                </a:moveTo>
                <a:cubicBezTo>
                  <a:pt x="794503" y="459315"/>
                  <a:pt x="779526" y="456370"/>
                  <a:pt x="765728" y="450480"/>
                </a:cubicBezTo>
                <a:cubicBezTo>
                  <a:pt x="751929" y="444591"/>
                  <a:pt x="740066" y="436177"/>
                  <a:pt x="730138" y="425239"/>
                </a:cubicBezTo>
                <a:cubicBezTo>
                  <a:pt x="720209" y="414301"/>
                  <a:pt x="712469" y="401176"/>
                  <a:pt x="706916" y="385863"/>
                </a:cubicBezTo>
                <a:cubicBezTo>
                  <a:pt x="701362" y="370550"/>
                  <a:pt x="698586" y="353638"/>
                  <a:pt x="698586" y="335128"/>
                </a:cubicBezTo>
                <a:cubicBezTo>
                  <a:pt x="698586" y="316281"/>
                  <a:pt x="701278" y="299201"/>
                  <a:pt x="706663" y="283888"/>
                </a:cubicBezTo>
                <a:cubicBezTo>
                  <a:pt x="712048" y="268575"/>
                  <a:pt x="719704" y="255366"/>
                  <a:pt x="729633" y="244259"/>
                </a:cubicBezTo>
                <a:cubicBezTo>
                  <a:pt x="739561" y="233153"/>
                  <a:pt x="751340" y="224571"/>
                  <a:pt x="764970" y="218513"/>
                </a:cubicBezTo>
                <a:cubicBezTo>
                  <a:pt x="778601" y="212455"/>
                  <a:pt x="793830" y="209427"/>
                  <a:pt x="810657" y="209427"/>
                </a:cubicBezTo>
                <a:cubicBezTo>
                  <a:pt x="827485" y="209427"/>
                  <a:pt x="842713" y="212455"/>
                  <a:pt x="856344" y="218513"/>
                </a:cubicBezTo>
                <a:cubicBezTo>
                  <a:pt x="869974" y="224571"/>
                  <a:pt x="881669" y="233153"/>
                  <a:pt x="891429" y="244259"/>
                </a:cubicBezTo>
                <a:cubicBezTo>
                  <a:pt x="901189" y="255366"/>
                  <a:pt x="908761" y="268575"/>
                  <a:pt x="914146" y="283888"/>
                </a:cubicBezTo>
                <a:cubicBezTo>
                  <a:pt x="919531" y="299201"/>
                  <a:pt x="922223" y="316281"/>
                  <a:pt x="922223" y="335128"/>
                </a:cubicBezTo>
                <a:cubicBezTo>
                  <a:pt x="922223" y="353638"/>
                  <a:pt x="919531" y="370550"/>
                  <a:pt x="914146" y="385863"/>
                </a:cubicBezTo>
                <a:cubicBezTo>
                  <a:pt x="908761" y="401176"/>
                  <a:pt x="901105" y="414301"/>
                  <a:pt x="891177" y="425239"/>
                </a:cubicBezTo>
                <a:cubicBezTo>
                  <a:pt x="881248" y="436177"/>
                  <a:pt x="869469" y="444591"/>
                  <a:pt x="855839" y="450480"/>
                </a:cubicBezTo>
                <a:cubicBezTo>
                  <a:pt x="842209" y="456370"/>
                  <a:pt x="827148" y="459315"/>
                  <a:pt x="810657" y="459315"/>
                </a:cubicBezTo>
                <a:close/>
                <a:moveTo>
                  <a:pt x="546919" y="477993"/>
                </a:moveTo>
                <a:cubicBezTo>
                  <a:pt x="563410" y="477993"/>
                  <a:pt x="576620" y="474207"/>
                  <a:pt x="586548" y="466635"/>
                </a:cubicBezTo>
                <a:cubicBezTo>
                  <a:pt x="596476" y="459062"/>
                  <a:pt x="601441" y="446189"/>
                  <a:pt x="601441" y="428016"/>
                </a:cubicBezTo>
                <a:cubicBezTo>
                  <a:pt x="601441" y="408832"/>
                  <a:pt x="596392" y="395286"/>
                  <a:pt x="586296" y="387377"/>
                </a:cubicBezTo>
                <a:cubicBezTo>
                  <a:pt x="576199" y="379468"/>
                  <a:pt x="561223" y="375514"/>
                  <a:pt x="541366" y="375514"/>
                </a:cubicBezTo>
                <a:lnTo>
                  <a:pt x="516125" y="375514"/>
                </a:lnTo>
                <a:lnTo>
                  <a:pt x="516125" y="476479"/>
                </a:lnTo>
                <a:cubicBezTo>
                  <a:pt x="519827" y="477152"/>
                  <a:pt x="524960" y="477573"/>
                  <a:pt x="531522" y="477741"/>
                </a:cubicBezTo>
                <a:cubicBezTo>
                  <a:pt x="538085" y="477909"/>
                  <a:pt x="543217" y="477993"/>
                  <a:pt x="546919" y="477993"/>
                </a:cubicBezTo>
                <a:close/>
                <a:moveTo>
                  <a:pt x="3324752" y="482537"/>
                </a:moveTo>
                <a:cubicBezTo>
                  <a:pt x="3341916" y="482537"/>
                  <a:pt x="3354958" y="473198"/>
                  <a:pt x="3363876" y="454519"/>
                </a:cubicBezTo>
                <a:cubicBezTo>
                  <a:pt x="3372794" y="435841"/>
                  <a:pt x="3377254" y="408664"/>
                  <a:pt x="3377254" y="372990"/>
                </a:cubicBezTo>
                <a:cubicBezTo>
                  <a:pt x="3377254" y="336979"/>
                  <a:pt x="3372794" y="309634"/>
                  <a:pt x="3363876" y="290956"/>
                </a:cubicBezTo>
                <a:cubicBezTo>
                  <a:pt x="3354958" y="272277"/>
                  <a:pt x="3341916" y="262938"/>
                  <a:pt x="3324752" y="262938"/>
                </a:cubicBezTo>
                <a:cubicBezTo>
                  <a:pt x="3307924" y="262938"/>
                  <a:pt x="3294968" y="272277"/>
                  <a:pt x="3285880" y="290956"/>
                </a:cubicBezTo>
                <a:cubicBezTo>
                  <a:pt x="3276794" y="309634"/>
                  <a:pt x="3272250" y="336979"/>
                  <a:pt x="3272250" y="372990"/>
                </a:cubicBezTo>
                <a:cubicBezTo>
                  <a:pt x="3272250" y="408664"/>
                  <a:pt x="3276794" y="435841"/>
                  <a:pt x="3285880" y="454519"/>
                </a:cubicBezTo>
                <a:cubicBezTo>
                  <a:pt x="3294968" y="473198"/>
                  <a:pt x="3307924" y="482537"/>
                  <a:pt x="3324752" y="482537"/>
                </a:cubicBezTo>
                <a:close/>
                <a:moveTo>
                  <a:pt x="1323054" y="522923"/>
                </a:moveTo>
                <a:lnTo>
                  <a:pt x="1260961" y="512826"/>
                </a:lnTo>
                <a:lnTo>
                  <a:pt x="1260961" y="453257"/>
                </a:lnTo>
                <a:lnTo>
                  <a:pt x="1206945" y="453257"/>
                </a:lnTo>
                <a:lnTo>
                  <a:pt x="1206945" y="401765"/>
                </a:lnTo>
                <a:lnTo>
                  <a:pt x="1260961" y="401765"/>
                </a:lnTo>
                <a:lnTo>
                  <a:pt x="1260961" y="304334"/>
                </a:lnTo>
                <a:cubicBezTo>
                  <a:pt x="1260961" y="284477"/>
                  <a:pt x="1262980" y="268407"/>
                  <a:pt x="1267019" y="256123"/>
                </a:cubicBezTo>
                <a:cubicBezTo>
                  <a:pt x="1271057" y="243839"/>
                  <a:pt x="1276947" y="234331"/>
                  <a:pt x="1284688" y="227600"/>
                </a:cubicBezTo>
                <a:cubicBezTo>
                  <a:pt x="1292428" y="220869"/>
                  <a:pt x="1301852" y="216326"/>
                  <a:pt x="1312958" y="213970"/>
                </a:cubicBezTo>
                <a:cubicBezTo>
                  <a:pt x="1324064" y="211614"/>
                  <a:pt x="1336853" y="210436"/>
                  <a:pt x="1351325" y="210436"/>
                </a:cubicBezTo>
                <a:cubicBezTo>
                  <a:pt x="1363777" y="210436"/>
                  <a:pt x="1376650" y="211446"/>
                  <a:pt x="1389944" y="213465"/>
                </a:cubicBezTo>
                <a:cubicBezTo>
                  <a:pt x="1403238" y="215484"/>
                  <a:pt x="1415606" y="218850"/>
                  <a:pt x="1427048" y="223562"/>
                </a:cubicBezTo>
                <a:lnTo>
                  <a:pt x="1418466" y="277073"/>
                </a:lnTo>
                <a:cubicBezTo>
                  <a:pt x="1412745" y="274381"/>
                  <a:pt x="1407444" y="272193"/>
                  <a:pt x="1402564" y="270510"/>
                </a:cubicBezTo>
                <a:cubicBezTo>
                  <a:pt x="1397684" y="268828"/>
                  <a:pt x="1392973" y="267566"/>
                  <a:pt x="1388429" y="266724"/>
                </a:cubicBezTo>
                <a:cubicBezTo>
                  <a:pt x="1383886" y="265883"/>
                  <a:pt x="1379174" y="265294"/>
                  <a:pt x="1374294" y="264957"/>
                </a:cubicBezTo>
                <a:cubicBezTo>
                  <a:pt x="1369414" y="264621"/>
                  <a:pt x="1364114" y="264452"/>
                  <a:pt x="1358392" y="264452"/>
                </a:cubicBezTo>
                <a:cubicBezTo>
                  <a:pt x="1353007" y="264452"/>
                  <a:pt x="1348127" y="264957"/>
                  <a:pt x="1343752" y="265967"/>
                </a:cubicBezTo>
                <a:cubicBezTo>
                  <a:pt x="1339377" y="266977"/>
                  <a:pt x="1335675" y="268996"/>
                  <a:pt x="1332646" y="272025"/>
                </a:cubicBezTo>
                <a:cubicBezTo>
                  <a:pt x="1329617" y="275054"/>
                  <a:pt x="1327261" y="279261"/>
                  <a:pt x="1325579" y="284645"/>
                </a:cubicBezTo>
                <a:cubicBezTo>
                  <a:pt x="1323896" y="290030"/>
                  <a:pt x="1323054" y="297098"/>
                  <a:pt x="1323054" y="305848"/>
                </a:cubicBezTo>
                <a:lnTo>
                  <a:pt x="1323054" y="401765"/>
                </a:lnTo>
                <a:lnTo>
                  <a:pt x="1422505" y="401765"/>
                </a:lnTo>
                <a:lnTo>
                  <a:pt x="1422505" y="453257"/>
                </a:lnTo>
                <a:lnTo>
                  <a:pt x="1323054" y="453257"/>
                </a:lnTo>
                <a:close/>
                <a:moveTo>
                  <a:pt x="539852" y="532010"/>
                </a:moveTo>
                <a:cubicBezTo>
                  <a:pt x="534131" y="532010"/>
                  <a:pt x="527568" y="531841"/>
                  <a:pt x="520164" y="531505"/>
                </a:cubicBezTo>
                <a:cubicBezTo>
                  <a:pt x="512760" y="531168"/>
                  <a:pt x="505187" y="530748"/>
                  <a:pt x="497447" y="530243"/>
                </a:cubicBezTo>
                <a:cubicBezTo>
                  <a:pt x="489706" y="529738"/>
                  <a:pt x="482049" y="528981"/>
                  <a:pt x="474477" y="527971"/>
                </a:cubicBezTo>
                <a:cubicBezTo>
                  <a:pt x="466905" y="526961"/>
                  <a:pt x="460090" y="525784"/>
                  <a:pt x="454032" y="524437"/>
                </a:cubicBezTo>
                <a:lnTo>
                  <a:pt x="454032" y="215989"/>
                </a:lnTo>
                <a:lnTo>
                  <a:pt x="516125" y="215989"/>
                </a:lnTo>
                <a:lnTo>
                  <a:pt x="516125" y="321498"/>
                </a:lnTo>
                <a:lnTo>
                  <a:pt x="538337" y="321498"/>
                </a:lnTo>
                <a:cubicBezTo>
                  <a:pt x="578723" y="321498"/>
                  <a:pt x="609938" y="329827"/>
                  <a:pt x="631982" y="346486"/>
                </a:cubicBezTo>
                <a:cubicBezTo>
                  <a:pt x="654026" y="363146"/>
                  <a:pt x="665048" y="390154"/>
                  <a:pt x="665048" y="427511"/>
                </a:cubicBezTo>
                <a:cubicBezTo>
                  <a:pt x="665048" y="464531"/>
                  <a:pt x="654111" y="491203"/>
                  <a:pt x="632235" y="507526"/>
                </a:cubicBezTo>
                <a:cubicBezTo>
                  <a:pt x="610359" y="523848"/>
                  <a:pt x="579565" y="532010"/>
                  <a:pt x="539852" y="532010"/>
                </a:cubicBezTo>
                <a:close/>
                <a:moveTo>
                  <a:pt x="3816452" y="535544"/>
                </a:moveTo>
                <a:cubicBezTo>
                  <a:pt x="3797604" y="535544"/>
                  <a:pt x="3780694" y="532430"/>
                  <a:pt x="3765716" y="526204"/>
                </a:cubicBezTo>
                <a:cubicBezTo>
                  <a:pt x="3750740" y="519978"/>
                  <a:pt x="3738708" y="513836"/>
                  <a:pt x="3729622" y="507778"/>
                </a:cubicBezTo>
                <a:lnTo>
                  <a:pt x="3751834" y="462344"/>
                </a:lnTo>
                <a:cubicBezTo>
                  <a:pt x="3760248" y="468065"/>
                  <a:pt x="3770260" y="472861"/>
                  <a:pt x="3781872" y="476731"/>
                </a:cubicBezTo>
                <a:cubicBezTo>
                  <a:pt x="3793482" y="480602"/>
                  <a:pt x="3805178" y="482537"/>
                  <a:pt x="3816956" y="482537"/>
                </a:cubicBezTo>
                <a:cubicBezTo>
                  <a:pt x="3829072" y="482537"/>
                  <a:pt x="3838580" y="479255"/>
                  <a:pt x="3845480" y="472693"/>
                </a:cubicBezTo>
                <a:cubicBezTo>
                  <a:pt x="3852378" y="466130"/>
                  <a:pt x="3855828" y="457127"/>
                  <a:pt x="3855828" y="445685"/>
                </a:cubicBezTo>
                <a:cubicBezTo>
                  <a:pt x="3855828" y="437944"/>
                  <a:pt x="3854230" y="431550"/>
                  <a:pt x="3851032" y="426501"/>
                </a:cubicBezTo>
                <a:cubicBezTo>
                  <a:pt x="3847836" y="421453"/>
                  <a:pt x="3843712" y="417414"/>
                  <a:pt x="3838664" y="414385"/>
                </a:cubicBezTo>
                <a:cubicBezTo>
                  <a:pt x="3833616" y="411357"/>
                  <a:pt x="3827894" y="409169"/>
                  <a:pt x="3821500" y="407823"/>
                </a:cubicBezTo>
                <a:cubicBezTo>
                  <a:pt x="3815106" y="406477"/>
                  <a:pt x="3808712" y="405803"/>
                  <a:pt x="3802316" y="405803"/>
                </a:cubicBezTo>
                <a:lnTo>
                  <a:pt x="3779094" y="405803"/>
                </a:lnTo>
                <a:lnTo>
                  <a:pt x="3779094" y="354311"/>
                </a:lnTo>
                <a:lnTo>
                  <a:pt x="3798278" y="354311"/>
                </a:lnTo>
                <a:cubicBezTo>
                  <a:pt x="3818470" y="354311"/>
                  <a:pt x="3835130" y="351030"/>
                  <a:pt x="3848256" y="344467"/>
                </a:cubicBezTo>
                <a:cubicBezTo>
                  <a:pt x="3861380" y="337904"/>
                  <a:pt x="3867944" y="326378"/>
                  <a:pt x="3867944" y="309887"/>
                </a:cubicBezTo>
                <a:cubicBezTo>
                  <a:pt x="3867944" y="296425"/>
                  <a:pt x="3863652" y="285150"/>
                  <a:pt x="3855072" y="276063"/>
                </a:cubicBezTo>
                <a:cubicBezTo>
                  <a:pt x="3846488" y="266977"/>
                  <a:pt x="3831596" y="262433"/>
                  <a:pt x="3810394" y="262433"/>
                </a:cubicBezTo>
                <a:cubicBezTo>
                  <a:pt x="3793230" y="262433"/>
                  <a:pt x="3778506" y="264284"/>
                  <a:pt x="3766222" y="267986"/>
                </a:cubicBezTo>
                <a:cubicBezTo>
                  <a:pt x="3753938" y="271688"/>
                  <a:pt x="3743924" y="275222"/>
                  <a:pt x="3736184" y="278588"/>
                </a:cubicBezTo>
                <a:lnTo>
                  <a:pt x="3724068" y="226591"/>
                </a:lnTo>
                <a:cubicBezTo>
                  <a:pt x="3727770" y="224908"/>
                  <a:pt x="3732988" y="223057"/>
                  <a:pt x="3739718" y="221037"/>
                </a:cubicBezTo>
                <a:cubicBezTo>
                  <a:pt x="3746450" y="219018"/>
                  <a:pt x="3753770" y="217167"/>
                  <a:pt x="3761678" y="215484"/>
                </a:cubicBezTo>
                <a:cubicBezTo>
                  <a:pt x="3769588" y="213802"/>
                  <a:pt x="3777832" y="212371"/>
                  <a:pt x="3786414" y="211193"/>
                </a:cubicBezTo>
                <a:cubicBezTo>
                  <a:pt x="3794996" y="210015"/>
                  <a:pt x="3803158" y="209427"/>
                  <a:pt x="3810898" y="209427"/>
                </a:cubicBezTo>
                <a:cubicBezTo>
                  <a:pt x="3831764" y="209427"/>
                  <a:pt x="3849770" y="211867"/>
                  <a:pt x="3864916" y="216746"/>
                </a:cubicBezTo>
                <a:cubicBezTo>
                  <a:pt x="3880060" y="221626"/>
                  <a:pt x="3892512" y="228526"/>
                  <a:pt x="3902272" y="237444"/>
                </a:cubicBezTo>
                <a:cubicBezTo>
                  <a:pt x="3912032" y="246363"/>
                  <a:pt x="3919268" y="256880"/>
                  <a:pt x="3923980" y="268996"/>
                </a:cubicBezTo>
                <a:cubicBezTo>
                  <a:pt x="3928692" y="281112"/>
                  <a:pt x="3931048" y="294405"/>
                  <a:pt x="3931048" y="308877"/>
                </a:cubicBezTo>
                <a:cubicBezTo>
                  <a:pt x="3931048" y="327051"/>
                  <a:pt x="3926588" y="342700"/>
                  <a:pt x="3917668" y="355826"/>
                </a:cubicBezTo>
                <a:cubicBezTo>
                  <a:pt x="3908750" y="368951"/>
                  <a:pt x="3896214" y="378879"/>
                  <a:pt x="3880060" y="385610"/>
                </a:cubicBezTo>
                <a:cubicBezTo>
                  <a:pt x="3891840" y="391668"/>
                  <a:pt x="3901262" y="400419"/>
                  <a:pt x="3908330" y="411861"/>
                </a:cubicBezTo>
                <a:cubicBezTo>
                  <a:pt x="3915398" y="423304"/>
                  <a:pt x="3918932" y="435252"/>
                  <a:pt x="3918932" y="447704"/>
                </a:cubicBezTo>
                <a:cubicBezTo>
                  <a:pt x="3918932" y="460156"/>
                  <a:pt x="3916912" y="471767"/>
                  <a:pt x="3912874" y="482537"/>
                </a:cubicBezTo>
                <a:cubicBezTo>
                  <a:pt x="3908834" y="493306"/>
                  <a:pt x="3902608" y="502646"/>
                  <a:pt x="3894196" y="510555"/>
                </a:cubicBezTo>
                <a:cubicBezTo>
                  <a:pt x="3885780" y="518464"/>
                  <a:pt x="3875096" y="524606"/>
                  <a:pt x="3862138" y="528981"/>
                </a:cubicBezTo>
                <a:cubicBezTo>
                  <a:pt x="3849180" y="533356"/>
                  <a:pt x="3833952" y="535544"/>
                  <a:pt x="3816452" y="535544"/>
                </a:cubicBezTo>
                <a:close/>
                <a:moveTo>
                  <a:pt x="3567354" y="535544"/>
                </a:moveTo>
                <a:cubicBezTo>
                  <a:pt x="3549854" y="535544"/>
                  <a:pt x="3532268" y="532178"/>
                  <a:pt x="3514600" y="525447"/>
                </a:cubicBezTo>
                <a:cubicBezTo>
                  <a:pt x="3496930" y="518716"/>
                  <a:pt x="3481366" y="508283"/>
                  <a:pt x="3467904" y="494148"/>
                </a:cubicBezTo>
                <a:lnTo>
                  <a:pt x="3498698" y="450733"/>
                </a:lnTo>
                <a:cubicBezTo>
                  <a:pt x="3509130" y="461839"/>
                  <a:pt x="3519732" y="469748"/>
                  <a:pt x="3530502" y="474460"/>
                </a:cubicBezTo>
                <a:cubicBezTo>
                  <a:pt x="3541272" y="479171"/>
                  <a:pt x="3551536" y="481527"/>
                  <a:pt x="3561296" y="481527"/>
                </a:cubicBezTo>
                <a:cubicBezTo>
                  <a:pt x="3573076" y="481527"/>
                  <a:pt x="3582836" y="478078"/>
                  <a:pt x="3590576" y="471178"/>
                </a:cubicBezTo>
                <a:cubicBezTo>
                  <a:pt x="3598316" y="464279"/>
                  <a:pt x="3602186" y="454435"/>
                  <a:pt x="3602188" y="441646"/>
                </a:cubicBezTo>
                <a:cubicBezTo>
                  <a:pt x="3602186" y="432559"/>
                  <a:pt x="3599074" y="423641"/>
                  <a:pt x="3592848" y="414890"/>
                </a:cubicBezTo>
                <a:cubicBezTo>
                  <a:pt x="3586622" y="406140"/>
                  <a:pt x="3578712" y="397053"/>
                  <a:pt x="3569120" y="387630"/>
                </a:cubicBezTo>
                <a:cubicBezTo>
                  <a:pt x="3559528" y="378206"/>
                  <a:pt x="3549264" y="368362"/>
                  <a:pt x="3538326" y="358097"/>
                </a:cubicBezTo>
                <a:cubicBezTo>
                  <a:pt x="3527388" y="347833"/>
                  <a:pt x="3517124" y="336727"/>
                  <a:pt x="3507532" y="324779"/>
                </a:cubicBezTo>
                <a:cubicBezTo>
                  <a:pt x="3497940" y="312831"/>
                  <a:pt x="3490032" y="299790"/>
                  <a:pt x="3483806" y="285655"/>
                </a:cubicBezTo>
                <a:cubicBezTo>
                  <a:pt x="3477580" y="271520"/>
                  <a:pt x="3474466" y="256039"/>
                  <a:pt x="3474466" y="239211"/>
                </a:cubicBezTo>
                <a:cubicBezTo>
                  <a:pt x="3474466" y="237192"/>
                  <a:pt x="3474382" y="233658"/>
                  <a:pt x="3474214" y="228610"/>
                </a:cubicBezTo>
                <a:cubicBezTo>
                  <a:pt x="3474046" y="223562"/>
                  <a:pt x="3474466" y="219355"/>
                  <a:pt x="3475476" y="215989"/>
                </a:cubicBezTo>
                <a:lnTo>
                  <a:pt x="3679426" y="215989"/>
                </a:lnTo>
                <a:lnTo>
                  <a:pt x="3679426" y="267481"/>
                </a:lnTo>
                <a:lnTo>
                  <a:pt x="3545142" y="267481"/>
                </a:lnTo>
                <a:cubicBezTo>
                  <a:pt x="3545142" y="272530"/>
                  <a:pt x="3546908" y="278083"/>
                  <a:pt x="3550442" y="284141"/>
                </a:cubicBezTo>
                <a:cubicBezTo>
                  <a:pt x="3553976" y="290198"/>
                  <a:pt x="3558268" y="296172"/>
                  <a:pt x="3563316" y="302062"/>
                </a:cubicBezTo>
                <a:cubicBezTo>
                  <a:pt x="3568364" y="307952"/>
                  <a:pt x="3573748" y="313673"/>
                  <a:pt x="3579470" y="319226"/>
                </a:cubicBezTo>
                <a:cubicBezTo>
                  <a:pt x="3585190" y="324779"/>
                  <a:pt x="3590240" y="329575"/>
                  <a:pt x="3594614" y="333613"/>
                </a:cubicBezTo>
                <a:cubicBezTo>
                  <a:pt x="3603364" y="341691"/>
                  <a:pt x="3611946" y="350104"/>
                  <a:pt x="3620360" y="358855"/>
                </a:cubicBezTo>
                <a:cubicBezTo>
                  <a:pt x="3628774" y="367605"/>
                  <a:pt x="3636346" y="376692"/>
                  <a:pt x="3643078" y="386115"/>
                </a:cubicBezTo>
                <a:cubicBezTo>
                  <a:pt x="3649808" y="395539"/>
                  <a:pt x="3655194" y="405214"/>
                  <a:pt x="3659232" y="415143"/>
                </a:cubicBezTo>
                <a:cubicBezTo>
                  <a:pt x="3663270" y="425071"/>
                  <a:pt x="3665290" y="435420"/>
                  <a:pt x="3665290" y="446189"/>
                </a:cubicBezTo>
                <a:cubicBezTo>
                  <a:pt x="3665290" y="460998"/>
                  <a:pt x="3662598" y="474039"/>
                  <a:pt x="3657212" y="485313"/>
                </a:cubicBezTo>
                <a:cubicBezTo>
                  <a:pt x="3651828" y="496588"/>
                  <a:pt x="3644592" y="505927"/>
                  <a:pt x="3635506" y="513331"/>
                </a:cubicBezTo>
                <a:cubicBezTo>
                  <a:pt x="3626418" y="520735"/>
                  <a:pt x="3615986" y="526288"/>
                  <a:pt x="3604206" y="529990"/>
                </a:cubicBezTo>
                <a:cubicBezTo>
                  <a:pt x="3592426" y="533692"/>
                  <a:pt x="3580142" y="535544"/>
                  <a:pt x="3567354" y="535544"/>
                </a:cubicBezTo>
                <a:close/>
                <a:moveTo>
                  <a:pt x="3324752" y="535544"/>
                </a:moveTo>
                <a:cubicBezTo>
                  <a:pt x="3290088" y="535544"/>
                  <a:pt x="3263332" y="522081"/>
                  <a:pt x="3244486" y="495157"/>
                </a:cubicBezTo>
                <a:cubicBezTo>
                  <a:pt x="3225638" y="468233"/>
                  <a:pt x="3216214" y="427511"/>
                  <a:pt x="3216214" y="372990"/>
                </a:cubicBezTo>
                <a:cubicBezTo>
                  <a:pt x="3216214" y="317796"/>
                  <a:pt x="3225470" y="276737"/>
                  <a:pt x="3243980" y="249813"/>
                </a:cubicBezTo>
                <a:cubicBezTo>
                  <a:pt x="3262490" y="222889"/>
                  <a:pt x="3289414" y="209427"/>
                  <a:pt x="3324752" y="209427"/>
                </a:cubicBezTo>
                <a:cubicBezTo>
                  <a:pt x="3360090" y="209427"/>
                  <a:pt x="3387014" y="222889"/>
                  <a:pt x="3405524" y="249813"/>
                </a:cubicBezTo>
                <a:cubicBezTo>
                  <a:pt x="3424034" y="276737"/>
                  <a:pt x="3433290" y="317796"/>
                  <a:pt x="3433290" y="372990"/>
                </a:cubicBezTo>
                <a:cubicBezTo>
                  <a:pt x="3433290" y="427847"/>
                  <a:pt x="3424034" y="468654"/>
                  <a:pt x="3405524" y="495410"/>
                </a:cubicBezTo>
                <a:cubicBezTo>
                  <a:pt x="3387014" y="522166"/>
                  <a:pt x="3360090" y="535544"/>
                  <a:pt x="3324752" y="535544"/>
                </a:cubicBezTo>
                <a:close/>
                <a:moveTo>
                  <a:pt x="3062528" y="535544"/>
                </a:moveTo>
                <a:cubicBezTo>
                  <a:pt x="3045028" y="535544"/>
                  <a:pt x="3027444" y="532178"/>
                  <a:pt x="3009774" y="525447"/>
                </a:cubicBezTo>
                <a:cubicBezTo>
                  <a:pt x="2992106" y="518716"/>
                  <a:pt x="2976540" y="508283"/>
                  <a:pt x="2963078" y="494148"/>
                </a:cubicBezTo>
                <a:lnTo>
                  <a:pt x="2993872" y="450733"/>
                </a:lnTo>
                <a:cubicBezTo>
                  <a:pt x="3004306" y="461839"/>
                  <a:pt x="3014908" y="469748"/>
                  <a:pt x="3025676" y="474460"/>
                </a:cubicBezTo>
                <a:cubicBezTo>
                  <a:pt x="3036446" y="479171"/>
                  <a:pt x="3046712" y="481527"/>
                  <a:pt x="3056472" y="481527"/>
                </a:cubicBezTo>
                <a:cubicBezTo>
                  <a:pt x="3068250" y="481527"/>
                  <a:pt x="3078010" y="478078"/>
                  <a:pt x="3085752" y="471178"/>
                </a:cubicBezTo>
                <a:cubicBezTo>
                  <a:pt x="3093492" y="464279"/>
                  <a:pt x="3097362" y="454435"/>
                  <a:pt x="3097362" y="441646"/>
                </a:cubicBezTo>
                <a:cubicBezTo>
                  <a:pt x="3097362" y="432559"/>
                  <a:pt x="3094248" y="423641"/>
                  <a:pt x="3088022" y="414890"/>
                </a:cubicBezTo>
                <a:cubicBezTo>
                  <a:pt x="3081796" y="406140"/>
                  <a:pt x="3073888" y="397053"/>
                  <a:pt x="3064296" y="387630"/>
                </a:cubicBezTo>
                <a:cubicBezTo>
                  <a:pt x="3054704" y="378206"/>
                  <a:pt x="3044440" y="368362"/>
                  <a:pt x="3033502" y="358097"/>
                </a:cubicBezTo>
                <a:cubicBezTo>
                  <a:pt x="3022564" y="347833"/>
                  <a:pt x="3012298" y="336727"/>
                  <a:pt x="3002708" y="324779"/>
                </a:cubicBezTo>
                <a:cubicBezTo>
                  <a:pt x="2993116" y="312831"/>
                  <a:pt x="2985206" y="299790"/>
                  <a:pt x="2978980" y="285655"/>
                </a:cubicBezTo>
                <a:cubicBezTo>
                  <a:pt x="2972754" y="271520"/>
                  <a:pt x="2969642" y="256039"/>
                  <a:pt x="2969642" y="239211"/>
                </a:cubicBezTo>
                <a:cubicBezTo>
                  <a:pt x="2969642" y="237192"/>
                  <a:pt x="2969558" y="233658"/>
                  <a:pt x="2969388" y="228610"/>
                </a:cubicBezTo>
                <a:cubicBezTo>
                  <a:pt x="2969220" y="223562"/>
                  <a:pt x="2969640" y="219355"/>
                  <a:pt x="2970650" y="215989"/>
                </a:cubicBezTo>
                <a:lnTo>
                  <a:pt x="3174600" y="215989"/>
                </a:lnTo>
                <a:lnTo>
                  <a:pt x="3174600" y="267481"/>
                </a:lnTo>
                <a:lnTo>
                  <a:pt x="3040316" y="267481"/>
                </a:lnTo>
                <a:cubicBezTo>
                  <a:pt x="3040316" y="272530"/>
                  <a:pt x="3042084" y="278083"/>
                  <a:pt x="3045618" y="284141"/>
                </a:cubicBezTo>
                <a:cubicBezTo>
                  <a:pt x="3049152" y="290198"/>
                  <a:pt x="3053442" y="296172"/>
                  <a:pt x="3058490" y="302062"/>
                </a:cubicBezTo>
                <a:cubicBezTo>
                  <a:pt x="3063538" y="307952"/>
                  <a:pt x="3068924" y="313673"/>
                  <a:pt x="3074644" y="319226"/>
                </a:cubicBezTo>
                <a:cubicBezTo>
                  <a:pt x="3080366" y="324779"/>
                  <a:pt x="3085414" y="329575"/>
                  <a:pt x="3089790" y="333613"/>
                </a:cubicBezTo>
                <a:cubicBezTo>
                  <a:pt x="3098540" y="341691"/>
                  <a:pt x="3107122" y="350104"/>
                  <a:pt x="3115536" y="358855"/>
                </a:cubicBezTo>
                <a:cubicBezTo>
                  <a:pt x="3123950" y="367605"/>
                  <a:pt x="3131522" y="376692"/>
                  <a:pt x="3138252" y="386115"/>
                </a:cubicBezTo>
                <a:cubicBezTo>
                  <a:pt x="3144984" y="395539"/>
                  <a:pt x="3150368" y="405214"/>
                  <a:pt x="3154408" y="415143"/>
                </a:cubicBezTo>
                <a:cubicBezTo>
                  <a:pt x="3158446" y="425071"/>
                  <a:pt x="3160464" y="435420"/>
                  <a:pt x="3160464" y="446189"/>
                </a:cubicBezTo>
                <a:cubicBezTo>
                  <a:pt x="3160464" y="460998"/>
                  <a:pt x="3157772" y="474039"/>
                  <a:pt x="3152388" y="485313"/>
                </a:cubicBezTo>
                <a:cubicBezTo>
                  <a:pt x="3147002" y="496588"/>
                  <a:pt x="3139766" y="505927"/>
                  <a:pt x="3130680" y="513331"/>
                </a:cubicBezTo>
                <a:cubicBezTo>
                  <a:pt x="3121594" y="520735"/>
                  <a:pt x="3111160" y="526288"/>
                  <a:pt x="3099382" y="529990"/>
                </a:cubicBezTo>
                <a:cubicBezTo>
                  <a:pt x="3087602" y="533692"/>
                  <a:pt x="3075318" y="535544"/>
                  <a:pt x="3062528" y="535544"/>
                </a:cubicBezTo>
                <a:close/>
                <a:moveTo>
                  <a:pt x="2292890" y="561290"/>
                </a:moveTo>
                <a:cubicBezTo>
                  <a:pt x="2282120" y="561290"/>
                  <a:pt x="2272949" y="557756"/>
                  <a:pt x="2265377" y="550688"/>
                </a:cubicBezTo>
                <a:cubicBezTo>
                  <a:pt x="2257805" y="543621"/>
                  <a:pt x="2254018" y="533861"/>
                  <a:pt x="2254018" y="521408"/>
                </a:cubicBezTo>
                <a:cubicBezTo>
                  <a:pt x="2254018" y="509293"/>
                  <a:pt x="2257805" y="499701"/>
                  <a:pt x="2265377" y="492633"/>
                </a:cubicBezTo>
                <a:cubicBezTo>
                  <a:pt x="2272949" y="485566"/>
                  <a:pt x="2282120" y="482032"/>
                  <a:pt x="2292890" y="482032"/>
                </a:cubicBezTo>
                <a:cubicBezTo>
                  <a:pt x="2303660" y="482032"/>
                  <a:pt x="2312914" y="485566"/>
                  <a:pt x="2320655" y="492633"/>
                </a:cubicBezTo>
                <a:cubicBezTo>
                  <a:pt x="2328396" y="499701"/>
                  <a:pt x="2332266" y="509293"/>
                  <a:pt x="2332266" y="521408"/>
                </a:cubicBezTo>
                <a:cubicBezTo>
                  <a:pt x="2332266" y="533861"/>
                  <a:pt x="2328396" y="543621"/>
                  <a:pt x="2320655" y="550688"/>
                </a:cubicBezTo>
                <a:cubicBezTo>
                  <a:pt x="2312914" y="557756"/>
                  <a:pt x="2303660" y="561290"/>
                  <a:pt x="2292890" y="561290"/>
                </a:cubicBezTo>
                <a:close/>
                <a:moveTo>
                  <a:pt x="1959420" y="563309"/>
                </a:moveTo>
                <a:lnTo>
                  <a:pt x="1959420" y="511817"/>
                </a:lnTo>
                <a:lnTo>
                  <a:pt x="2025047" y="511817"/>
                </a:lnTo>
                <a:lnTo>
                  <a:pt x="2025047" y="310392"/>
                </a:lnTo>
                <a:cubicBezTo>
                  <a:pt x="2025047" y="277746"/>
                  <a:pt x="2031610" y="252926"/>
                  <a:pt x="2044735" y="235930"/>
                </a:cubicBezTo>
                <a:cubicBezTo>
                  <a:pt x="2057860" y="218934"/>
                  <a:pt x="2078727" y="210436"/>
                  <a:pt x="2107333" y="210436"/>
                </a:cubicBezTo>
                <a:cubicBezTo>
                  <a:pt x="2117767" y="210436"/>
                  <a:pt x="2127106" y="211109"/>
                  <a:pt x="2135351" y="212455"/>
                </a:cubicBezTo>
                <a:cubicBezTo>
                  <a:pt x="2143597" y="213802"/>
                  <a:pt x="2150580" y="215400"/>
                  <a:pt x="2156302" y="217251"/>
                </a:cubicBezTo>
                <a:cubicBezTo>
                  <a:pt x="2162023" y="219102"/>
                  <a:pt x="2166650" y="220869"/>
                  <a:pt x="2170184" y="222552"/>
                </a:cubicBezTo>
                <a:cubicBezTo>
                  <a:pt x="2173718" y="224235"/>
                  <a:pt x="2175990" y="225413"/>
                  <a:pt x="2176999" y="226086"/>
                </a:cubicBezTo>
                <a:lnTo>
                  <a:pt x="2168922" y="276063"/>
                </a:lnTo>
                <a:cubicBezTo>
                  <a:pt x="2166230" y="275054"/>
                  <a:pt x="2160677" y="272866"/>
                  <a:pt x="2152263" y="269501"/>
                </a:cubicBezTo>
                <a:cubicBezTo>
                  <a:pt x="2143849" y="266135"/>
                  <a:pt x="2133416" y="264452"/>
                  <a:pt x="2120964" y="264452"/>
                </a:cubicBezTo>
                <a:cubicBezTo>
                  <a:pt x="2111204" y="264452"/>
                  <a:pt x="2103126" y="267313"/>
                  <a:pt x="2096732" y="273034"/>
                </a:cubicBezTo>
                <a:cubicBezTo>
                  <a:pt x="2090338" y="278756"/>
                  <a:pt x="2087140" y="289694"/>
                  <a:pt x="2087140" y="305848"/>
                </a:cubicBezTo>
                <a:lnTo>
                  <a:pt x="2087140" y="563309"/>
                </a:lnTo>
                <a:close/>
                <a:moveTo>
                  <a:pt x="1607052" y="565833"/>
                </a:moveTo>
                <a:cubicBezTo>
                  <a:pt x="1594263" y="565833"/>
                  <a:pt x="1581811" y="564234"/>
                  <a:pt x="1569695" y="561037"/>
                </a:cubicBezTo>
                <a:cubicBezTo>
                  <a:pt x="1557579" y="557840"/>
                  <a:pt x="1546810" y="552455"/>
                  <a:pt x="1537386" y="544883"/>
                </a:cubicBezTo>
                <a:cubicBezTo>
                  <a:pt x="1527963" y="537310"/>
                  <a:pt x="1520474" y="527214"/>
                  <a:pt x="1514921" y="514593"/>
                </a:cubicBezTo>
                <a:cubicBezTo>
                  <a:pt x="1509368" y="501973"/>
                  <a:pt x="1506592" y="486071"/>
                  <a:pt x="1506592" y="466887"/>
                </a:cubicBezTo>
                <a:lnTo>
                  <a:pt x="1506592" y="453257"/>
                </a:lnTo>
                <a:lnTo>
                  <a:pt x="1454595" y="453257"/>
                </a:lnTo>
                <a:lnTo>
                  <a:pt x="1454595" y="401765"/>
                </a:lnTo>
                <a:lnTo>
                  <a:pt x="1506592" y="401765"/>
                </a:lnTo>
                <a:lnTo>
                  <a:pt x="1506592" y="215989"/>
                </a:lnTo>
                <a:lnTo>
                  <a:pt x="1569190" y="215989"/>
                </a:lnTo>
                <a:lnTo>
                  <a:pt x="1569190" y="401765"/>
                </a:lnTo>
                <a:lnTo>
                  <a:pt x="1666621" y="401765"/>
                </a:lnTo>
                <a:lnTo>
                  <a:pt x="1666621" y="453257"/>
                </a:lnTo>
                <a:lnTo>
                  <a:pt x="1569190" y="453257"/>
                </a:lnTo>
                <a:lnTo>
                  <a:pt x="1569190" y="465878"/>
                </a:lnTo>
                <a:cubicBezTo>
                  <a:pt x="1569190" y="475974"/>
                  <a:pt x="1570368" y="484135"/>
                  <a:pt x="1572724" y="490362"/>
                </a:cubicBezTo>
                <a:cubicBezTo>
                  <a:pt x="1575080" y="496588"/>
                  <a:pt x="1578193" y="501384"/>
                  <a:pt x="1582063" y="504749"/>
                </a:cubicBezTo>
                <a:cubicBezTo>
                  <a:pt x="1585933" y="508115"/>
                  <a:pt x="1590477" y="510302"/>
                  <a:pt x="1595693" y="511312"/>
                </a:cubicBezTo>
                <a:cubicBezTo>
                  <a:pt x="1600910" y="512322"/>
                  <a:pt x="1606379" y="512826"/>
                  <a:pt x="1612100" y="512826"/>
                </a:cubicBezTo>
                <a:cubicBezTo>
                  <a:pt x="1622533" y="512826"/>
                  <a:pt x="1633555" y="511396"/>
                  <a:pt x="1645166" y="508535"/>
                </a:cubicBezTo>
                <a:cubicBezTo>
                  <a:pt x="1656777" y="505675"/>
                  <a:pt x="1666453" y="502898"/>
                  <a:pt x="1674194" y="500206"/>
                </a:cubicBezTo>
                <a:lnTo>
                  <a:pt x="1684795" y="550688"/>
                </a:lnTo>
                <a:cubicBezTo>
                  <a:pt x="1673689" y="556073"/>
                  <a:pt x="1661236" y="559943"/>
                  <a:pt x="1647438" y="562299"/>
                </a:cubicBezTo>
                <a:cubicBezTo>
                  <a:pt x="1633639" y="564655"/>
                  <a:pt x="1620178" y="565833"/>
                  <a:pt x="1607052" y="565833"/>
                </a:cubicBezTo>
                <a:close/>
                <a:moveTo>
                  <a:pt x="0" y="796029"/>
                </a:moveTo>
                <a:lnTo>
                  <a:pt x="4876802" y="796029"/>
                </a:lnTo>
                <a:lnTo>
                  <a:pt x="4824822" y="344498"/>
                </a:lnTo>
                <a:cubicBezTo>
                  <a:pt x="4801968" y="145891"/>
                  <a:pt x="4682292" y="207"/>
                  <a:pt x="4541980" y="155"/>
                </a:cubicBezTo>
                <a:lnTo>
                  <a:pt x="0" y="0"/>
                </a:lnTo>
                <a:close/>
              </a:path>
            </a:pathLst>
          </a:custGeom>
          <a:solidFill>
            <a:schemeClr val="bg1"/>
          </a:solidFill>
          <a:ln w="2834" cap="flat">
            <a:noFill/>
            <a:prstDash val="solid"/>
            <a:miter/>
          </a:ln>
        </p:spPr>
        <p:txBody>
          <a:bodyPr wrap="square" rtlCol="0" anchor="ctr">
            <a:noAutofit/>
          </a:bodyPr>
          <a:lstStyle/>
          <a:p>
            <a:endParaRPr lang="en-US" dirty="0"/>
          </a:p>
        </p:txBody>
      </p:sp>
      <p:pic>
        <p:nvPicPr>
          <p:cNvPr id="8" name="Imagen 7" descr="Un dibujo de una cara feliz&#10;&#10;Descripción generada automáticamente con confianza baja">
            <a:extLst>
              <a:ext uri="{FF2B5EF4-FFF2-40B4-BE49-F238E27FC236}">
                <a16:creationId xmlns:a16="http://schemas.microsoft.com/office/drawing/2014/main" id="{A82FAAE7-F450-2EFB-B470-9CA2B285AACF}"/>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7824450" y="406400"/>
            <a:ext cx="1801936" cy="934010"/>
          </a:xfrm>
          <a:prstGeom prst="rect">
            <a:avLst/>
          </a:prstGeom>
        </p:spPr>
      </p:pic>
      <p:sp>
        <p:nvSpPr>
          <p:cNvPr id="10" name="Título 9">
            <a:extLst>
              <a:ext uri="{FF2B5EF4-FFF2-40B4-BE49-F238E27FC236}">
                <a16:creationId xmlns:a16="http://schemas.microsoft.com/office/drawing/2014/main" id="{7E8DAFFC-ADDB-1273-AA91-4852BCB21C8E}"/>
              </a:ext>
            </a:extLst>
          </p:cNvPr>
          <p:cNvSpPr>
            <a:spLocks noGrp="1"/>
          </p:cNvSpPr>
          <p:nvPr>
            <p:ph type="title" hasCustomPrompt="1"/>
          </p:nvPr>
        </p:nvSpPr>
        <p:spPr>
          <a:xfrm>
            <a:off x="7104380" y="1495932"/>
            <a:ext cx="10692384" cy="646331"/>
          </a:xfrm>
        </p:spPr>
        <p:txBody>
          <a:bodyPr/>
          <a:lstStyle>
            <a:lvl1pPr>
              <a:defRPr sz="4200" b="1" i="0">
                <a:solidFill>
                  <a:schemeClr val="bg1"/>
                </a:solidFill>
                <a:latin typeface="Ubuntu" panose="020B0504030602030204" pitchFamily="34" charset="0"/>
              </a:defRPr>
            </a:lvl1pPr>
          </a:lstStyle>
          <a:p>
            <a:r>
              <a:rPr lang="es-ES" dirty="0"/>
              <a:t>ASDFASFD</a:t>
            </a:r>
          </a:p>
        </p:txBody>
      </p:sp>
      <p:sp>
        <p:nvSpPr>
          <p:cNvPr id="11" name="object 12">
            <a:extLst>
              <a:ext uri="{FF2B5EF4-FFF2-40B4-BE49-F238E27FC236}">
                <a16:creationId xmlns:a16="http://schemas.microsoft.com/office/drawing/2014/main" id="{527854C5-8C21-D1AB-7E04-F771C691CE29}"/>
              </a:ext>
            </a:extLst>
          </p:cNvPr>
          <p:cNvSpPr txBox="1"/>
          <p:nvPr userDrawn="1"/>
        </p:nvSpPr>
        <p:spPr>
          <a:xfrm>
            <a:off x="7104380" y="807573"/>
            <a:ext cx="9881870" cy="567463"/>
          </a:xfrm>
          <a:prstGeom prst="rect">
            <a:avLst/>
          </a:prstGeom>
        </p:spPr>
        <p:txBody>
          <a:bodyPr vert="horz" wrap="square" lIns="0" tIns="13335" rIns="0" bIns="0" rtlCol="0">
            <a:spAutoFit/>
          </a:bodyPr>
          <a:lstStyle/>
          <a:p>
            <a:pPr marL="12700">
              <a:lnSpc>
                <a:spcPct val="100000"/>
              </a:lnSpc>
              <a:spcBef>
                <a:spcPts val="105"/>
              </a:spcBef>
            </a:pPr>
            <a:r>
              <a:rPr lang="en-US" sz="3600" spc="-30" dirty="0">
                <a:solidFill>
                  <a:srgbClr val="12A9D8"/>
                </a:solidFill>
                <a:latin typeface="Ubuntu Mono" panose="020B0509030602030204" pitchFamily="49" charset="0"/>
                <a:cs typeface="Ubuntu"/>
              </a:rPr>
              <a:t>Thinking about…</a:t>
            </a:r>
            <a:endParaRPr lang="en-US" sz="3600" dirty="0">
              <a:solidFill>
                <a:srgbClr val="12A9D8"/>
              </a:solidFill>
              <a:latin typeface="Ubuntu"/>
              <a:cs typeface="Ubuntu"/>
            </a:endParaRPr>
          </a:p>
        </p:txBody>
      </p:sp>
      <p:sp>
        <p:nvSpPr>
          <p:cNvPr id="15" name="Marcador de texto 14">
            <a:extLst>
              <a:ext uri="{FF2B5EF4-FFF2-40B4-BE49-F238E27FC236}">
                <a16:creationId xmlns:a16="http://schemas.microsoft.com/office/drawing/2014/main" id="{894536B8-BEFF-96E8-2A83-A0B97363D840}"/>
              </a:ext>
            </a:extLst>
          </p:cNvPr>
          <p:cNvSpPr>
            <a:spLocks noGrp="1"/>
          </p:cNvSpPr>
          <p:nvPr>
            <p:ph type="body" sz="quarter" idx="10"/>
          </p:nvPr>
        </p:nvSpPr>
        <p:spPr>
          <a:xfrm>
            <a:off x="7104380" y="3225800"/>
            <a:ext cx="12244070" cy="6931641"/>
          </a:xfrm>
          <a:prstGeom prst="rect">
            <a:avLst/>
          </a:prstGeom>
        </p:spPr>
        <p:txBody>
          <a:bodyPr/>
          <a:lstStyle>
            <a:lvl1pPr>
              <a:defRPr sz="2900" b="0" i="0">
                <a:solidFill>
                  <a:schemeClr val="bg1"/>
                </a:solidFill>
                <a:latin typeface="Ubuntu Light" panose="020B0304030602030204" pitchFamily="34" charset="0"/>
              </a:defRPr>
            </a:lvl1pPr>
            <a:lvl2pPr>
              <a:defRPr sz="2900" b="0" i="0">
                <a:solidFill>
                  <a:schemeClr val="bg1"/>
                </a:solidFill>
                <a:latin typeface="Ubuntu Light" panose="020B0304030602030204" pitchFamily="34" charset="0"/>
              </a:defRPr>
            </a:lvl2pPr>
            <a:lvl3pPr>
              <a:defRPr sz="2900" b="0" i="0">
                <a:solidFill>
                  <a:schemeClr val="bg1"/>
                </a:solidFill>
                <a:latin typeface="Ubuntu Light" panose="020B0304030602030204" pitchFamily="34" charset="0"/>
              </a:defRPr>
            </a:lvl3pPr>
            <a:lvl4pPr>
              <a:defRPr sz="2900" b="0" i="0">
                <a:solidFill>
                  <a:schemeClr val="bg1"/>
                </a:solidFill>
                <a:latin typeface="Ubuntu Light" panose="020B0304030602030204" pitchFamily="34" charset="0"/>
              </a:defRPr>
            </a:lvl4pPr>
            <a:lvl5pPr>
              <a:defRPr sz="2900" b="0" i="0">
                <a:solidFill>
                  <a:schemeClr val="bg1"/>
                </a:solidFill>
                <a:latin typeface="Ubuntu Light" panose="020B0304030602030204" pitchFamily="34" charset="0"/>
              </a:defRPr>
            </a:lvl5pPr>
          </a:lstStyle>
          <a:p>
            <a:pPr lvl="0"/>
            <a:r>
              <a:rPr lang="es-ES" dirty="0"/>
              <a:t>Haga clic para modificar los estilos de texto del patrón</a:t>
            </a:r>
          </a:p>
          <a:p>
            <a:pPr lvl="1"/>
            <a:r>
              <a:rPr lang="es-ES" dirty="0"/>
              <a:t>Segundo nivel</a:t>
            </a:r>
          </a:p>
          <a:p>
            <a:pPr lvl="2"/>
            <a:r>
              <a:rPr lang="es-ES" dirty="0"/>
              <a:t> nivel</a:t>
            </a:r>
          </a:p>
          <a:p>
            <a:pPr lvl="3"/>
            <a:r>
              <a:rPr lang="es-ES" dirty="0"/>
              <a:t>Cuarto nivel</a:t>
            </a:r>
          </a:p>
          <a:p>
            <a:pPr lvl="4"/>
            <a:r>
              <a:rPr lang="es-ES" dirty="0"/>
              <a:t>Quinto nivel</a:t>
            </a:r>
          </a:p>
        </p:txBody>
      </p:sp>
      <p:sp>
        <p:nvSpPr>
          <p:cNvPr id="16" name="CuadroTexto 15">
            <a:extLst>
              <a:ext uri="{FF2B5EF4-FFF2-40B4-BE49-F238E27FC236}">
                <a16:creationId xmlns:a16="http://schemas.microsoft.com/office/drawing/2014/main" id="{9D153551-888E-2E4A-C9F1-C375C679B619}"/>
              </a:ext>
            </a:extLst>
          </p:cNvPr>
          <p:cNvSpPr txBox="1"/>
          <p:nvPr userDrawn="1"/>
        </p:nvSpPr>
        <p:spPr>
          <a:xfrm>
            <a:off x="4870450" y="-151634"/>
            <a:ext cx="3200400" cy="4508927"/>
          </a:xfrm>
          <a:prstGeom prst="rect">
            <a:avLst/>
          </a:prstGeom>
          <a:noFill/>
        </p:spPr>
        <p:txBody>
          <a:bodyPr wrap="square" rtlCol="0">
            <a:spAutoFit/>
          </a:bodyPr>
          <a:lstStyle/>
          <a:p>
            <a:r>
              <a:rPr lang="es-ES" sz="28700" b="1" i="0" dirty="0">
                <a:solidFill>
                  <a:schemeClr val="bg1"/>
                </a:solidFill>
                <a:latin typeface="Ubuntu" panose="020B0504030602030204" pitchFamily="34" charset="0"/>
              </a:rPr>
              <a:t>?</a:t>
            </a:r>
          </a:p>
        </p:txBody>
      </p:sp>
    </p:spTree>
    <p:extLst>
      <p:ext uri="{BB962C8B-B14F-4D97-AF65-F5344CB8AC3E}">
        <p14:creationId xmlns:p14="http://schemas.microsoft.com/office/powerpoint/2010/main" val="85379032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C105481D-0D0B-E9C7-02B6-54B5E6DB60BF}"/>
              </a:ext>
            </a:extLst>
          </p:cNvPr>
          <p:cNvPicPr>
            <a:picLocks noChangeAspect="1"/>
          </p:cNvPicPr>
          <p:nvPr userDrawn="1"/>
        </p:nvPicPr>
        <p:blipFill>
          <a:blip r:embed="rId2">
            <a:alphaModFix/>
            <a:extLst>
              <a:ext uri="{28A0092B-C50C-407E-A947-70E740481C1C}">
                <a14:useLocalDpi xmlns:a14="http://schemas.microsoft.com/office/drawing/2010/main"/>
              </a:ext>
            </a:extLst>
          </a:blip>
          <a:stretch>
            <a:fillRect/>
          </a:stretch>
        </p:blipFill>
        <p:spPr>
          <a:xfrm>
            <a:off x="-61870" y="0"/>
            <a:ext cx="20159620" cy="11328400"/>
          </a:xfrm>
          <a:prstGeom prst="rect">
            <a:avLst/>
          </a:prstGeom>
        </p:spPr>
      </p:pic>
      <p:sp>
        <p:nvSpPr>
          <p:cNvPr id="4" name="Holder 4"/>
          <p:cNvSpPr>
            <a:spLocks noGrp="1"/>
          </p:cNvSpPr>
          <p:nvPr>
            <p:ph type="ftr" sz="quarter" idx="5"/>
          </p:nvPr>
        </p:nvSpPr>
        <p:spPr>
          <a:xfrm>
            <a:off x="16647741" y="10759212"/>
            <a:ext cx="2962677" cy="200055"/>
          </a:xfrm>
          <a:prstGeom prst="rect">
            <a:avLst/>
          </a:prstGeom>
        </p:spPr>
        <p:txBody>
          <a:bodyPr lIns="0" tIns="0" rIns="0" bIns="0"/>
          <a:lstStyle>
            <a:lvl1pPr>
              <a:defRPr sz="1300" b="0" i="0">
                <a:solidFill>
                  <a:schemeClr val="bg1"/>
                </a:solidFill>
                <a:latin typeface="Ubuntu Light"/>
                <a:cs typeface="Ubuntu Light"/>
              </a:defRPr>
            </a:lvl1pPr>
          </a:lstStyle>
          <a:p>
            <a:pPr marL="26034">
              <a:spcBef>
                <a:spcPts val="30"/>
              </a:spcBef>
            </a:pPr>
            <a:r>
              <a:rPr lang="es-ES" dirty="0"/>
              <a:t>Public</a:t>
            </a:r>
            <a:r>
              <a:rPr lang="es-ES" spc="-40" dirty="0"/>
              <a:t> </a:t>
            </a:r>
            <a:r>
              <a:rPr lang="es-ES" dirty="0"/>
              <a:t>©</a:t>
            </a:r>
            <a:r>
              <a:rPr lang="es-ES" spc="-40" dirty="0"/>
              <a:t> </a:t>
            </a:r>
            <a:r>
              <a:rPr lang="es-ES" dirty="0"/>
              <a:t>2023</a:t>
            </a:r>
            <a:r>
              <a:rPr lang="es-ES" spc="-40" dirty="0"/>
              <a:t> </a:t>
            </a:r>
            <a:r>
              <a:rPr lang="es-ES" spc="-10" dirty="0"/>
              <a:t>Sogeti.</a:t>
            </a:r>
            <a:r>
              <a:rPr lang="es-ES" spc="-35" dirty="0"/>
              <a:t> </a:t>
            </a:r>
            <a:r>
              <a:rPr lang="es-ES" dirty="0" err="1"/>
              <a:t>All</a:t>
            </a:r>
            <a:r>
              <a:rPr lang="es-ES" spc="-40" dirty="0"/>
              <a:t> </a:t>
            </a:r>
            <a:r>
              <a:rPr lang="es-ES" dirty="0"/>
              <a:t>rights</a:t>
            </a:r>
            <a:r>
              <a:rPr lang="es-ES" spc="-40" dirty="0"/>
              <a:t> </a:t>
            </a:r>
            <a:r>
              <a:rPr lang="es-ES" spc="-10" dirty="0" err="1"/>
              <a:t>reserved</a:t>
            </a:r>
            <a:endParaRPr lang="es-ES" spc="-10" dirty="0"/>
          </a:p>
        </p:txBody>
      </p:sp>
      <p:sp>
        <p:nvSpPr>
          <p:cNvPr id="2" name="CuadroTexto 1">
            <a:extLst>
              <a:ext uri="{FF2B5EF4-FFF2-40B4-BE49-F238E27FC236}">
                <a16:creationId xmlns:a16="http://schemas.microsoft.com/office/drawing/2014/main" id="{72E5CF79-7DA3-E21E-3060-87CB44907F25}"/>
              </a:ext>
            </a:extLst>
          </p:cNvPr>
          <p:cNvSpPr txBox="1"/>
          <p:nvPr userDrawn="1"/>
        </p:nvSpPr>
        <p:spPr>
          <a:xfrm>
            <a:off x="755650" y="10845800"/>
            <a:ext cx="7772400" cy="292388"/>
          </a:xfrm>
          <a:prstGeom prst="rect">
            <a:avLst/>
          </a:prstGeom>
          <a:noFill/>
        </p:spPr>
        <p:txBody>
          <a:bodyPr wrap="square" rtlCol="0">
            <a:spAutoFit/>
          </a:bodyPr>
          <a:lstStyle/>
          <a:p>
            <a:r>
              <a:rPr lang="es-ES" sz="1300" b="0" i="0" dirty="0">
                <a:solidFill>
                  <a:schemeClr val="bg1"/>
                </a:solidFill>
                <a:latin typeface="Ubuntu Medium" panose="020B0504030602030204" pitchFamily="34" charset="0"/>
              </a:rPr>
              <a:t>#FlourishingDigitalBusinessWithQuality </a:t>
            </a:r>
            <a:r>
              <a:rPr lang="es-ES" sz="1300" b="1" i="0" dirty="0">
                <a:solidFill>
                  <a:schemeClr val="bg1"/>
                </a:solidFill>
                <a:latin typeface="Ubuntu" panose="020B0504030602030204" pitchFamily="34" charset="0"/>
              </a:rPr>
              <a:t> </a:t>
            </a:r>
            <a:r>
              <a:rPr lang="es-ES" sz="1300" b="1" i="0" dirty="0">
                <a:solidFill>
                  <a:srgbClr val="290E3B"/>
                </a:solidFill>
                <a:latin typeface="Ubuntu" panose="020B0504030602030204" pitchFamily="34" charset="0"/>
              </a:rPr>
              <a:t>·</a:t>
            </a:r>
            <a:r>
              <a:rPr lang="es-ES" sz="1300" b="0" i="0" dirty="0">
                <a:solidFill>
                  <a:schemeClr val="tx2"/>
                </a:solidFill>
                <a:latin typeface="Ubuntu Medium" panose="020B0504030602030204" pitchFamily="34" charset="0"/>
              </a:rPr>
              <a:t>   </a:t>
            </a:r>
            <a:r>
              <a:rPr lang="es-ES" sz="1300" b="1" i="0" dirty="0">
                <a:solidFill>
                  <a:srgbClr val="12A9D8"/>
                </a:solidFill>
                <a:latin typeface="Ubuntu" panose="020B0504030602030204" pitchFamily="34" charset="0"/>
              </a:rPr>
              <a:t>Sogeti España</a:t>
            </a:r>
          </a:p>
        </p:txBody>
      </p:sp>
      <p:sp>
        <p:nvSpPr>
          <p:cNvPr id="5" name="Forma libre 4">
            <a:extLst>
              <a:ext uri="{FF2B5EF4-FFF2-40B4-BE49-F238E27FC236}">
                <a16:creationId xmlns:a16="http://schemas.microsoft.com/office/drawing/2014/main" id="{FBAABD7F-C513-9B40-6AE2-E43DB3944CCE}"/>
              </a:ext>
            </a:extLst>
          </p:cNvPr>
          <p:cNvSpPr/>
          <p:nvPr userDrawn="1"/>
        </p:nvSpPr>
        <p:spPr>
          <a:xfrm flipV="1">
            <a:off x="755650" y="10384024"/>
            <a:ext cx="2362200" cy="385576"/>
          </a:xfrm>
          <a:custGeom>
            <a:avLst/>
            <a:gdLst/>
            <a:ahLst/>
            <a:cxnLst/>
            <a:rect l="l" t="t" r="r" b="b"/>
            <a:pathLst>
              <a:path w="4876802" h="796029">
                <a:moveTo>
                  <a:pt x="2572782" y="405299"/>
                </a:moveTo>
                <a:cubicBezTo>
                  <a:pt x="2589609" y="405299"/>
                  <a:pt x="2601809" y="398820"/>
                  <a:pt x="2609382" y="385863"/>
                </a:cubicBezTo>
                <a:cubicBezTo>
                  <a:pt x="2616954" y="372906"/>
                  <a:pt x="2620740" y="355826"/>
                  <a:pt x="2620740" y="334623"/>
                </a:cubicBezTo>
                <a:cubicBezTo>
                  <a:pt x="2620740" y="313420"/>
                  <a:pt x="2616618" y="296256"/>
                  <a:pt x="2608372" y="283131"/>
                </a:cubicBezTo>
                <a:cubicBezTo>
                  <a:pt x="2600126" y="270006"/>
                  <a:pt x="2587927" y="263443"/>
                  <a:pt x="2571772" y="263443"/>
                </a:cubicBezTo>
                <a:cubicBezTo>
                  <a:pt x="2554945" y="263443"/>
                  <a:pt x="2542744" y="270006"/>
                  <a:pt x="2535172" y="283131"/>
                </a:cubicBezTo>
                <a:cubicBezTo>
                  <a:pt x="2527600" y="296256"/>
                  <a:pt x="2523814" y="313420"/>
                  <a:pt x="2523814" y="334623"/>
                </a:cubicBezTo>
                <a:cubicBezTo>
                  <a:pt x="2523814" y="355826"/>
                  <a:pt x="2527937" y="372906"/>
                  <a:pt x="2536182" y="385863"/>
                </a:cubicBezTo>
                <a:cubicBezTo>
                  <a:pt x="2544428" y="398820"/>
                  <a:pt x="2556628" y="405299"/>
                  <a:pt x="2572782" y="405299"/>
                </a:cubicBezTo>
                <a:close/>
                <a:moveTo>
                  <a:pt x="1810782" y="405299"/>
                </a:moveTo>
                <a:cubicBezTo>
                  <a:pt x="1827610" y="405299"/>
                  <a:pt x="1839810" y="398820"/>
                  <a:pt x="1847382" y="385863"/>
                </a:cubicBezTo>
                <a:cubicBezTo>
                  <a:pt x="1854954" y="372906"/>
                  <a:pt x="1858740" y="355826"/>
                  <a:pt x="1858740" y="334623"/>
                </a:cubicBezTo>
                <a:cubicBezTo>
                  <a:pt x="1858740" y="313420"/>
                  <a:pt x="1854618" y="296256"/>
                  <a:pt x="1846372" y="283131"/>
                </a:cubicBezTo>
                <a:cubicBezTo>
                  <a:pt x="1838127" y="270006"/>
                  <a:pt x="1825927" y="263443"/>
                  <a:pt x="1809772" y="263443"/>
                </a:cubicBezTo>
                <a:cubicBezTo>
                  <a:pt x="1792945" y="263443"/>
                  <a:pt x="1780745" y="270006"/>
                  <a:pt x="1773173" y="283131"/>
                </a:cubicBezTo>
                <a:cubicBezTo>
                  <a:pt x="1765600" y="296256"/>
                  <a:pt x="1761814" y="313420"/>
                  <a:pt x="1761814" y="334623"/>
                </a:cubicBezTo>
                <a:cubicBezTo>
                  <a:pt x="1761814" y="355826"/>
                  <a:pt x="1765937" y="372906"/>
                  <a:pt x="1774182" y="385863"/>
                </a:cubicBezTo>
                <a:cubicBezTo>
                  <a:pt x="1782428" y="398820"/>
                  <a:pt x="1794628" y="405299"/>
                  <a:pt x="1810782" y="405299"/>
                </a:cubicBezTo>
                <a:close/>
                <a:moveTo>
                  <a:pt x="810657" y="405299"/>
                </a:moveTo>
                <a:cubicBezTo>
                  <a:pt x="827485" y="405299"/>
                  <a:pt x="839684" y="398820"/>
                  <a:pt x="847257" y="385863"/>
                </a:cubicBezTo>
                <a:cubicBezTo>
                  <a:pt x="854829" y="372906"/>
                  <a:pt x="858615" y="355826"/>
                  <a:pt x="858616" y="334623"/>
                </a:cubicBezTo>
                <a:cubicBezTo>
                  <a:pt x="858615" y="313420"/>
                  <a:pt x="854493" y="296256"/>
                  <a:pt x="846247" y="283131"/>
                </a:cubicBezTo>
                <a:cubicBezTo>
                  <a:pt x="838002" y="270006"/>
                  <a:pt x="825802" y="263443"/>
                  <a:pt x="809647" y="263443"/>
                </a:cubicBezTo>
                <a:cubicBezTo>
                  <a:pt x="792820" y="263443"/>
                  <a:pt x="780620" y="270006"/>
                  <a:pt x="773048" y="283131"/>
                </a:cubicBezTo>
                <a:cubicBezTo>
                  <a:pt x="765475" y="296256"/>
                  <a:pt x="761689" y="313420"/>
                  <a:pt x="761689" y="334623"/>
                </a:cubicBezTo>
                <a:cubicBezTo>
                  <a:pt x="761689" y="355826"/>
                  <a:pt x="765812" y="372906"/>
                  <a:pt x="774057" y="385863"/>
                </a:cubicBezTo>
                <a:cubicBezTo>
                  <a:pt x="782303" y="398820"/>
                  <a:pt x="794503" y="405299"/>
                  <a:pt x="810657" y="405299"/>
                </a:cubicBezTo>
                <a:close/>
                <a:moveTo>
                  <a:pt x="3325256" y="411861"/>
                </a:moveTo>
                <a:cubicBezTo>
                  <a:pt x="3316506" y="411861"/>
                  <a:pt x="3309608" y="408496"/>
                  <a:pt x="3304560" y="401765"/>
                </a:cubicBezTo>
                <a:cubicBezTo>
                  <a:pt x="3299512" y="395034"/>
                  <a:pt x="3296988" y="387125"/>
                  <a:pt x="3296988" y="378038"/>
                </a:cubicBezTo>
                <a:cubicBezTo>
                  <a:pt x="3296988" y="368951"/>
                  <a:pt x="3299512" y="361126"/>
                  <a:pt x="3304560" y="354564"/>
                </a:cubicBezTo>
                <a:cubicBezTo>
                  <a:pt x="3309608" y="348001"/>
                  <a:pt x="3316506" y="344720"/>
                  <a:pt x="3325256" y="344720"/>
                </a:cubicBezTo>
                <a:cubicBezTo>
                  <a:pt x="3333334" y="344720"/>
                  <a:pt x="3339980" y="348001"/>
                  <a:pt x="3345198" y="354564"/>
                </a:cubicBezTo>
                <a:cubicBezTo>
                  <a:pt x="3350414" y="361126"/>
                  <a:pt x="3353022" y="368951"/>
                  <a:pt x="3353022" y="378038"/>
                </a:cubicBezTo>
                <a:cubicBezTo>
                  <a:pt x="3353022" y="387125"/>
                  <a:pt x="3350414" y="395034"/>
                  <a:pt x="3345198" y="401765"/>
                </a:cubicBezTo>
                <a:cubicBezTo>
                  <a:pt x="3339980" y="408496"/>
                  <a:pt x="3333334" y="411861"/>
                  <a:pt x="3325256" y="411861"/>
                </a:cubicBezTo>
                <a:close/>
                <a:moveTo>
                  <a:pt x="2207070" y="453257"/>
                </a:moveTo>
                <a:lnTo>
                  <a:pt x="2207070" y="401765"/>
                </a:lnTo>
                <a:lnTo>
                  <a:pt x="2272697" y="401765"/>
                </a:lnTo>
                <a:lnTo>
                  <a:pt x="2272697" y="314430"/>
                </a:lnTo>
                <a:cubicBezTo>
                  <a:pt x="2272697" y="297939"/>
                  <a:pt x="2274043" y="283299"/>
                  <a:pt x="2276735" y="270510"/>
                </a:cubicBezTo>
                <a:cubicBezTo>
                  <a:pt x="2279428" y="257721"/>
                  <a:pt x="2284055" y="246868"/>
                  <a:pt x="2290618" y="237949"/>
                </a:cubicBezTo>
                <a:cubicBezTo>
                  <a:pt x="2297181" y="229031"/>
                  <a:pt x="2305931" y="222215"/>
                  <a:pt x="2316869" y="217504"/>
                </a:cubicBezTo>
                <a:cubicBezTo>
                  <a:pt x="2327807" y="212792"/>
                  <a:pt x="2341353" y="210436"/>
                  <a:pt x="2357508" y="210436"/>
                </a:cubicBezTo>
                <a:cubicBezTo>
                  <a:pt x="2366931" y="210436"/>
                  <a:pt x="2377280" y="211530"/>
                  <a:pt x="2388554" y="213718"/>
                </a:cubicBezTo>
                <a:cubicBezTo>
                  <a:pt x="2399829" y="215905"/>
                  <a:pt x="2411860" y="220028"/>
                  <a:pt x="2424649" y="226086"/>
                </a:cubicBezTo>
                <a:lnTo>
                  <a:pt x="2416572" y="276063"/>
                </a:lnTo>
                <a:cubicBezTo>
                  <a:pt x="2406475" y="271352"/>
                  <a:pt x="2397388" y="268239"/>
                  <a:pt x="2389312" y="266724"/>
                </a:cubicBezTo>
                <a:cubicBezTo>
                  <a:pt x="2381234" y="265210"/>
                  <a:pt x="2374335" y="264452"/>
                  <a:pt x="2368614" y="264452"/>
                </a:cubicBezTo>
                <a:cubicBezTo>
                  <a:pt x="2356498" y="264452"/>
                  <a:pt x="2347832" y="267902"/>
                  <a:pt x="2342615" y="274801"/>
                </a:cubicBezTo>
                <a:cubicBezTo>
                  <a:pt x="2337398" y="281701"/>
                  <a:pt x="2334790" y="292218"/>
                  <a:pt x="2334790" y="306353"/>
                </a:cubicBezTo>
                <a:lnTo>
                  <a:pt x="2334790" y="453257"/>
                </a:lnTo>
                <a:close/>
                <a:moveTo>
                  <a:pt x="1088092" y="457800"/>
                </a:moveTo>
                <a:cubicBezTo>
                  <a:pt x="1064870" y="457800"/>
                  <a:pt x="1044593" y="455949"/>
                  <a:pt x="1027260" y="452247"/>
                </a:cubicBezTo>
                <a:cubicBezTo>
                  <a:pt x="1009928" y="448545"/>
                  <a:pt x="993016" y="443665"/>
                  <a:pt x="976526" y="437607"/>
                </a:cubicBezTo>
                <a:lnTo>
                  <a:pt x="976526" y="215989"/>
                </a:lnTo>
                <a:lnTo>
                  <a:pt x="1039124" y="215989"/>
                </a:lnTo>
                <a:lnTo>
                  <a:pt x="1039124" y="392173"/>
                </a:lnTo>
                <a:cubicBezTo>
                  <a:pt x="1047874" y="394529"/>
                  <a:pt x="1056456" y="396128"/>
                  <a:pt x="1064870" y="396969"/>
                </a:cubicBezTo>
                <a:cubicBezTo>
                  <a:pt x="1073284" y="397810"/>
                  <a:pt x="1081866" y="398231"/>
                  <a:pt x="1090616" y="398231"/>
                </a:cubicBezTo>
                <a:cubicBezTo>
                  <a:pt x="1094318" y="398231"/>
                  <a:pt x="1098861" y="398063"/>
                  <a:pt x="1104246" y="397726"/>
                </a:cubicBezTo>
                <a:cubicBezTo>
                  <a:pt x="1109631" y="397390"/>
                  <a:pt x="1115184" y="396801"/>
                  <a:pt x="1120905" y="395959"/>
                </a:cubicBezTo>
                <a:cubicBezTo>
                  <a:pt x="1126627" y="395118"/>
                  <a:pt x="1132264" y="394192"/>
                  <a:pt x="1137817" y="393183"/>
                </a:cubicBezTo>
                <a:cubicBezTo>
                  <a:pt x="1143370" y="392173"/>
                  <a:pt x="1148166" y="391164"/>
                  <a:pt x="1152205" y="390154"/>
                </a:cubicBezTo>
                <a:lnTo>
                  <a:pt x="1163311" y="447704"/>
                </a:lnTo>
                <a:cubicBezTo>
                  <a:pt x="1157589" y="449723"/>
                  <a:pt x="1151111" y="451322"/>
                  <a:pt x="1143875" y="452500"/>
                </a:cubicBezTo>
                <a:cubicBezTo>
                  <a:pt x="1136639" y="453678"/>
                  <a:pt x="1129487" y="454687"/>
                  <a:pt x="1122420" y="455529"/>
                </a:cubicBezTo>
                <a:cubicBezTo>
                  <a:pt x="1115352" y="456370"/>
                  <a:pt x="1108706" y="456959"/>
                  <a:pt x="1102479" y="457296"/>
                </a:cubicBezTo>
                <a:cubicBezTo>
                  <a:pt x="1096253" y="457632"/>
                  <a:pt x="1091457" y="457800"/>
                  <a:pt x="1088092" y="457800"/>
                </a:cubicBezTo>
                <a:close/>
                <a:moveTo>
                  <a:pt x="2572782" y="459315"/>
                </a:moveTo>
                <a:cubicBezTo>
                  <a:pt x="2556628" y="459315"/>
                  <a:pt x="2541651" y="456370"/>
                  <a:pt x="2527852" y="450480"/>
                </a:cubicBezTo>
                <a:cubicBezTo>
                  <a:pt x="2514054" y="444591"/>
                  <a:pt x="2502190" y="436177"/>
                  <a:pt x="2492262" y="425239"/>
                </a:cubicBezTo>
                <a:cubicBezTo>
                  <a:pt x="2482334" y="414301"/>
                  <a:pt x="2474594" y="401176"/>
                  <a:pt x="2469040" y="385863"/>
                </a:cubicBezTo>
                <a:cubicBezTo>
                  <a:pt x="2463487" y="370550"/>
                  <a:pt x="2460711" y="353638"/>
                  <a:pt x="2460711" y="335128"/>
                </a:cubicBezTo>
                <a:cubicBezTo>
                  <a:pt x="2460711" y="316281"/>
                  <a:pt x="2463403" y="299201"/>
                  <a:pt x="2468788" y="283888"/>
                </a:cubicBezTo>
                <a:cubicBezTo>
                  <a:pt x="2474173" y="268575"/>
                  <a:pt x="2481829" y="255366"/>
                  <a:pt x="2491758" y="244259"/>
                </a:cubicBezTo>
                <a:cubicBezTo>
                  <a:pt x="2501686" y="233153"/>
                  <a:pt x="2513465" y="224571"/>
                  <a:pt x="2527095" y="218513"/>
                </a:cubicBezTo>
                <a:cubicBezTo>
                  <a:pt x="2540726" y="212455"/>
                  <a:pt x="2555954" y="209427"/>
                  <a:pt x="2572782" y="209427"/>
                </a:cubicBezTo>
                <a:cubicBezTo>
                  <a:pt x="2589609" y="209427"/>
                  <a:pt x="2604838" y="212455"/>
                  <a:pt x="2618468" y="218513"/>
                </a:cubicBezTo>
                <a:cubicBezTo>
                  <a:pt x="2632098" y="224571"/>
                  <a:pt x="2643794" y="233153"/>
                  <a:pt x="2653554" y="244259"/>
                </a:cubicBezTo>
                <a:cubicBezTo>
                  <a:pt x="2663314" y="255366"/>
                  <a:pt x="2670886" y="268575"/>
                  <a:pt x="2676271" y="283888"/>
                </a:cubicBezTo>
                <a:cubicBezTo>
                  <a:pt x="2681656" y="299201"/>
                  <a:pt x="2684348" y="316281"/>
                  <a:pt x="2684348" y="335128"/>
                </a:cubicBezTo>
                <a:cubicBezTo>
                  <a:pt x="2684348" y="353638"/>
                  <a:pt x="2681656" y="370550"/>
                  <a:pt x="2676271" y="385863"/>
                </a:cubicBezTo>
                <a:cubicBezTo>
                  <a:pt x="2670886" y="401176"/>
                  <a:pt x="2663230" y="414301"/>
                  <a:pt x="2653302" y="425239"/>
                </a:cubicBezTo>
                <a:cubicBezTo>
                  <a:pt x="2643373" y="436177"/>
                  <a:pt x="2631594" y="444591"/>
                  <a:pt x="2617964" y="450480"/>
                </a:cubicBezTo>
                <a:cubicBezTo>
                  <a:pt x="2604334" y="456370"/>
                  <a:pt x="2589273" y="459315"/>
                  <a:pt x="2572782" y="459315"/>
                </a:cubicBezTo>
                <a:close/>
                <a:moveTo>
                  <a:pt x="1810782" y="459315"/>
                </a:moveTo>
                <a:cubicBezTo>
                  <a:pt x="1794628" y="459315"/>
                  <a:pt x="1779651" y="456370"/>
                  <a:pt x="1765853" y="450480"/>
                </a:cubicBezTo>
                <a:cubicBezTo>
                  <a:pt x="1752054" y="444591"/>
                  <a:pt x="1740191" y="436177"/>
                  <a:pt x="1730262" y="425239"/>
                </a:cubicBezTo>
                <a:cubicBezTo>
                  <a:pt x="1720334" y="414301"/>
                  <a:pt x="1712594" y="401176"/>
                  <a:pt x="1707040" y="385863"/>
                </a:cubicBezTo>
                <a:cubicBezTo>
                  <a:pt x="1701488" y="370550"/>
                  <a:pt x="1698711" y="353638"/>
                  <a:pt x="1698711" y="335128"/>
                </a:cubicBezTo>
                <a:cubicBezTo>
                  <a:pt x="1698711" y="316281"/>
                  <a:pt x="1701403" y="299201"/>
                  <a:pt x="1706788" y="283888"/>
                </a:cubicBezTo>
                <a:cubicBezTo>
                  <a:pt x="1712173" y="268575"/>
                  <a:pt x="1719829" y="255366"/>
                  <a:pt x="1729758" y="244259"/>
                </a:cubicBezTo>
                <a:cubicBezTo>
                  <a:pt x="1739686" y="233153"/>
                  <a:pt x="1751465" y="224571"/>
                  <a:pt x="1765095" y="218513"/>
                </a:cubicBezTo>
                <a:cubicBezTo>
                  <a:pt x="1778726" y="212455"/>
                  <a:pt x="1793954" y="209427"/>
                  <a:pt x="1810782" y="209427"/>
                </a:cubicBezTo>
                <a:cubicBezTo>
                  <a:pt x="1827610" y="209427"/>
                  <a:pt x="1842838" y="212455"/>
                  <a:pt x="1856469" y="218513"/>
                </a:cubicBezTo>
                <a:cubicBezTo>
                  <a:pt x="1870099" y="224571"/>
                  <a:pt x="1881794" y="233153"/>
                  <a:pt x="1891554" y="244259"/>
                </a:cubicBezTo>
                <a:cubicBezTo>
                  <a:pt x="1901314" y="255366"/>
                  <a:pt x="1908886" y="268575"/>
                  <a:pt x="1914271" y="283888"/>
                </a:cubicBezTo>
                <a:cubicBezTo>
                  <a:pt x="1919656" y="299201"/>
                  <a:pt x="1922348" y="316281"/>
                  <a:pt x="1922348" y="335128"/>
                </a:cubicBezTo>
                <a:cubicBezTo>
                  <a:pt x="1922348" y="353638"/>
                  <a:pt x="1919656" y="370550"/>
                  <a:pt x="1914271" y="385863"/>
                </a:cubicBezTo>
                <a:cubicBezTo>
                  <a:pt x="1908886" y="401176"/>
                  <a:pt x="1901230" y="414301"/>
                  <a:pt x="1891302" y="425239"/>
                </a:cubicBezTo>
                <a:cubicBezTo>
                  <a:pt x="1881374" y="436177"/>
                  <a:pt x="1869594" y="444591"/>
                  <a:pt x="1855964" y="450480"/>
                </a:cubicBezTo>
                <a:cubicBezTo>
                  <a:pt x="1842334" y="456370"/>
                  <a:pt x="1827273" y="459315"/>
                  <a:pt x="1810782" y="459315"/>
                </a:cubicBezTo>
                <a:close/>
                <a:moveTo>
                  <a:pt x="810657" y="459315"/>
                </a:moveTo>
                <a:cubicBezTo>
                  <a:pt x="794503" y="459315"/>
                  <a:pt x="779526" y="456370"/>
                  <a:pt x="765728" y="450480"/>
                </a:cubicBezTo>
                <a:cubicBezTo>
                  <a:pt x="751929" y="444591"/>
                  <a:pt x="740066" y="436177"/>
                  <a:pt x="730138" y="425239"/>
                </a:cubicBezTo>
                <a:cubicBezTo>
                  <a:pt x="720209" y="414301"/>
                  <a:pt x="712469" y="401176"/>
                  <a:pt x="706916" y="385863"/>
                </a:cubicBezTo>
                <a:cubicBezTo>
                  <a:pt x="701362" y="370550"/>
                  <a:pt x="698586" y="353638"/>
                  <a:pt x="698586" y="335128"/>
                </a:cubicBezTo>
                <a:cubicBezTo>
                  <a:pt x="698586" y="316281"/>
                  <a:pt x="701278" y="299201"/>
                  <a:pt x="706663" y="283888"/>
                </a:cubicBezTo>
                <a:cubicBezTo>
                  <a:pt x="712048" y="268575"/>
                  <a:pt x="719704" y="255366"/>
                  <a:pt x="729633" y="244259"/>
                </a:cubicBezTo>
                <a:cubicBezTo>
                  <a:pt x="739561" y="233153"/>
                  <a:pt x="751340" y="224571"/>
                  <a:pt x="764970" y="218513"/>
                </a:cubicBezTo>
                <a:cubicBezTo>
                  <a:pt x="778601" y="212455"/>
                  <a:pt x="793830" y="209427"/>
                  <a:pt x="810657" y="209427"/>
                </a:cubicBezTo>
                <a:cubicBezTo>
                  <a:pt x="827485" y="209427"/>
                  <a:pt x="842713" y="212455"/>
                  <a:pt x="856344" y="218513"/>
                </a:cubicBezTo>
                <a:cubicBezTo>
                  <a:pt x="869974" y="224571"/>
                  <a:pt x="881669" y="233153"/>
                  <a:pt x="891429" y="244259"/>
                </a:cubicBezTo>
                <a:cubicBezTo>
                  <a:pt x="901189" y="255366"/>
                  <a:pt x="908761" y="268575"/>
                  <a:pt x="914146" y="283888"/>
                </a:cubicBezTo>
                <a:cubicBezTo>
                  <a:pt x="919531" y="299201"/>
                  <a:pt x="922223" y="316281"/>
                  <a:pt x="922223" y="335128"/>
                </a:cubicBezTo>
                <a:cubicBezTo>
                  <a:pt x="922223" y="353638"/>
                  <a:pt x="919531" y="370550"/>
                  <a:pt x="914146" y="385863"/>
                </a:cubicBezTo>
                <a:cubicBezTo>
                  <a:pt x="908761" y="401176"/>
                  <a:pt x="901105" y="414301"/>
                  <a:pt x="891177" y="425239"/>
                </a:cubicBezTo>
                <a:cubicBezTo>
                  <a:pt x="881248" y="436177"/>
                  <a:pt x="869469" y="444591"/>
                  <a:pt x="855839" y="450480"/>
                </a:cubicBezTo>
                <a:cubicBezTo>
                  <a:pt x="842209" y="456370"/>
                  <a:pt x="827148" y="459315"/>
                  <a:pt x="810657" y="459315"/>
                </a:cubicBezTo>
                <a:close/>
                <a:moveTo>
                  <a:pt x="546919" y="477993"/>
                </a:moveTo>
                <a:cubicBezTo>
                  <a:pt x="563410" y="477993"/>
                  <a:pt x="576620" y="474207"/>
                  <a:pt x="586548" y="466635"/>
                </a:cubicBezTo>
                <a:cubicBezTo>
                  <a:pt x="596476" y="459062"/>
                  <a:pt x="601441" y="446189"/>
                  <a:pt x="601441" y="428016"/>
                </a:cubicBezTo>
                <a:cubicBezTo>
                  <a:pt x="601441" y="408832"/>
                  <a:pt x="596392" y="395286"/>
                  <a:pt x="586296" y="387377"/>
                </a:cubicBezTo>
                <a:cubicBezTo>
                  <a:pt x="576199" y="379468"/>
                  <a:pt x="561223" y="375514"/>
                  <a:pt x="541366" y="375514"/>
                </a:cubicBezTo>
                <a:lnTo>
                  <a:pt x="516125" y="375514"/>
                </a:lnTo>
                <a:lnTo>
                  <a:pt x="516125" y="476479"/>
                </a:lnTo>
                <a:cubicBezTo>
                  <a:pt x="519827" y="477152"/>
                  <a:pt x="524960" y="477573"/>
                  <a:pt x="531522" y="477741"/>
                </a:cubicBezTo>
                <a:cubicBezTo>
                  <a:pt x="538085" y="477909"/>
                  <a:pt x="543217" y="477993"/>
                  <a:pt x="546919" y="477993"/>
                </a:cubicBezTo>
                <a:close/>
                <a:moveTo>
                  <a:pt x="3324752" y="482537"/>
                </a:moveTo>
                <a:cubicBezTo>
                  <a:pt x="3341916" y="482537"/>
                  <a:pt x="3354958" y="473198"/>
                  <a:pt x="3363876" y="454519"/>
                </a:cubicBezTo>
                <a:cubicBezTo>
                  <a:pt x="3372794" y="435841"/>
                  <a:pt x="3377254" y="408664"/>
                  <a:pt x="3377254" y="372990"/>
                </a:cubicBezTo>
                <a:cubicBezTo>
                  <a:pt x="3377254" y="336979"/>
                  <a:pt x="3372794" y="309634"/>
                  <a:pt x="3363876" y="290956"/>
                </a:cubicBezTo>
                <a:cubicBezTo>
                  <a:pt x="3354958" y="272277"/>
                  <a:pt x="3341916" y="262938"/>
                  <a:pt x="3324752" y="262938"/>
                </a:cubicBezTo>
                <a:cubicBezTo>
                  <a:pt x="3307924" y="262938"/>
                  <a:pt x="3294968" y="272277"/>
                  <a:pt x="3285880" y="290956"/>
                </a:cubicBezTo>
                <a:cubicBezTo>
                  <a:pt x="3276794" y="309634"/>
                  <a:pt x="3272250" y="336979"/>
                  <a:pt x="3272250" y="372990"/>
                </a:cubicBezTo>
                <a:cubicBezTo>
                  <a:pt x="3272250" y="408664"/>
                  <a:pt x="3276794" y="435841"/>
                  <a:pt x="3285880" y="454519"/>
                </a:cubicBezTo>
                <a:cubicBezTo>
                  <a:pt x="3294968" y="473198"/>
                  <a:pt x="3307924" y="482537"/>
                  <a:pt x="3324752" y="482537"/>
                </a:cubicBezTo>
                <a:close/>
                <a:moveTo>
                  <a:pt x="1323054" y="522923"/>
                </a:moveTo>
                <a:lnTo>
                  <a:pt x="1260961" y="512826"/>
                </a:lnTo>
                <a:lnTo>
                  <a:pt x="1260961" y="453257"/>
                </a:lnTo>
                <a:lnTo>
                  <a:pt x="1206945" y="453257"/>
                </a:lnTo>
                <a:lnTo>
                  <a:pt x="1206945" y="401765"/>
                </a:lnTo>
                <a:lnTo>
                  <a:pt x="1260961" y="401765"/>
                </a:lnTo>
                <a:lnTo>
                  <a:pt x="1260961" y="304334"/>
                </a:lnTo>
                <a:cubicBezTo>
                  <a:pt x="1260961" y="284477"/>
                  <a:pt x="1262980" y="268407"/>
                  <a:pt x="1267019" y="256123"/>
                </a:cubicBezTo>
                <a:cubicBezTo>
                  <a:pt x="1271057" y="243839"/>
                  <a:pt x="1276947" y="234331"/>
                  <a:pt x="1284688" y="227600"/>
                </a:cubicBezTo>
                <a:cubicBezTo>
                  <a:pt x="1292428" y="220869"/>
                  <a:pt x="1301852" y="216326"/>
                  <a:pt x="1312958" y="213970"/>
                </a:cubicBezTo>
                <a:cubicBezTo>
                  <a:pt x="1324064" y="211614"/>
                  <a:pt x="1336853" y="210436"/>
                  <a:pt x="1351325" y="210436"/>
                </a:cubicBezTo>
                <a:cubicBezTo>
                  <a:pt x="1363777" y="210436"/>
                  <a:pt x="1376650" y="211446"/>
                  <a:pt x="1389944" y="213465"/>
                </a:cubicBezTo>
                <a:cubicBezTo>
                  <a:pt x="1403238" y="215484"/>
                  <a:pt x="1415606" y="218850"/>
                  <a:pt x="1427048" y="223562"/>
                </a:cubicBezTo>
                <a:lnTo>
                  <a:pt x="1418466" y="277073"/>
                </a:lnTo>
                <a:cubicBezTo>
                  <a:pt x="1412745" y="274381"/>
                  <a:pt x="1407444" y="272193"/>
                  <a:pt x="1402564" y="270510"/>
                </a:cubicBezTo>
                <a:cubicBezTo>
                  <a:pt x="1397684" y="268828"/>
                  <a:pt x="1392973" y="267566"/>
                  <a:pt x="1388429" y="266724"/>
                </a:cubicBezTo>
                <a:cubicBezTo>
                  <a:pt x="1383886" y="265883"/>
                  <a:pt x="1379174" y="265294"/>
                  <a:pt x="1374294" y="264957"/>
                </a:cubicBezTo>
                <a:cubicBezTo>
                  <a:pt x="1369414" y="264621"/>
                  <a:pt x="1364114" y="264452"/>
                  <a:pt x="1358392" y="264452"/>
                </a:cubicBezTo>
                <a:cubicBezTo>
                  <a:pt x="1353007" y="264452"/>
                  <a:pt x="1348127" y="264957"/>
                  <a:pt x="1343752" y="265967"/>
                </a:cubicBezTo>
                <a:cubicBezTo>
                  <a:pt x="1339377" y="266977"/>
                  <a:pt x="1335675" y="268996"/>
                  <a:pt x="1332646" y="272025"/>
                </a:cubicBezTo>
                <a:cubicBezTo>
                  <a:pt x="1329617" y="275054"/>
                  <a:pt x="1327261" y="279261"/>
                  <a:pt x="1325579" y="284645"/>
                </a:cubicBezTo>
                <a:cubicBezTo>
                  <a:pt x="1323896" y="290030"/>
                  <a:pt x="1323054" y="297098"/>
                  <a:pt x="1323054" y="305848"/>
                </a:cubicBezTo>
                <a:lnTo>
                  <a:pt x="1323054" y="401765"/>
                </a:lnTo>
                <a:lnTo>
                  <a:pt x="1422505" y="401765"/>
                </a:lnTo>
                <a:lnTo>
                  <a:pt x="1422505" y="453257"/>
                </a:lnTo>
                <a:lnTo>
                  <a:pt x="1323054" y="453257"/>
                </a:lnTo>
                <a:close/>
                <a:moveTo>
                  <a:pt x="539852" y="532010"/>
                </a:moveTo>
                <a:cubicBezTo>
                  <a:pt x="534131" y="532010"/>
                  <a:pt x="527568" y="531841"/>
                  <a:pt x="520164" y="531505"/>
                </a:cubicBezTo>
                <a:cubicBezTo>
                  <a:pt x="512760" y="531168"/>
                  <a:pt x="505187" y="530748"/>
                  <a:pt x="497447" y="530243"/>
                </a:cubicBezTo>
                <a:cubicBezTo>
                  <a:pt x="489706" y="529738"/>
                  <a:pt x="482049" y="528981"/>
                  <a:pt x="474477" y="527971"/>
                </a:cubicBezTo>
                <a:cubicBezTo>
                  <a:pt x="466905" y="526961"/>
                  <a:pt x="460090" y="525784"/>
                  <a:pt x="454032" y="524437"/>
                </a:cubicBezTo>
                <a:lnTo>
                  <a:pt x="454032" y="215989"/>
                </a:lnTo>
                <a:lnTo>
                  <a:pt x="516125" y="215989"/>
                </a:lnTo>
                <a:lnTo>
                  <a:pt x="516125" y="321498"/>
                </a:lnTo>
                <a:lnTo>
                  <a:pt x="538337" y="321498"/>
                </a:lnTo>
                <a:cubicBezTo>
                  <a:pt x="578723" y="321498"/>
                  <a:pt x="609938" y="329827"/>
                  <a:pt x="631982" y="346486"/>
                </a:cubicBezTo>
                <a:cubicBezTo>
                  <a:pt x="654026" y="363146"/>
                  <a:pt x="665048" y="390154"/>
                  <a:pt x="665048" y="427511"/>
                </a:cubicBezTo>
                <a:cubicBezTo>
                  <a:pt x="665048" y="464531"/>
                  <a:pt x="654111" y="491203"/>
                  <a:pt x="632235" y="507526"/>
                </a:cubicBezTo>
                <a:cubicBezTo>
                  <a:pt x="610359" y="523848"/>
                  <a:pt x="579565" y="532010"/>
                  <a:pt x="539852" y="532010"/>
                </a:cubicBezTo>
                <a:close/>
                <a:moveTo>
                  <a:pt x="3816452" y="535544"/>
                </a:moveTo>
                <a:cubicBezTo>
                  <a:pt x="3797604" y="535544"/>
                  <a:pt x="3780694" y="532430"/>
                  <a:pt x="3765716" y="526204"/>
                </a:cubicBezTo>
                <a:cubicBezTo>
                  <a:pt x="3750740" y="519978"/>
                  <a:pt x="3738708" y="513836"/>
                  <a:pt x="3729622" y="507778"/>
                </a:cubicBezTo>
                <a:lnTo>
                  <a:pt x="3751834" y="462344"/>
                </a:lnTo>
                <a:cubicBezTo>
                  <a:pt x="3760248" y="468065"/>
                  <a:pt x="3770260" y="472861"/>
                  <a:pt x="3781872" y="476731"/>
                </a:cubicBezTo>
                <a:cubicBezTo>
                  <a:pt x="3793482" y="480602"/>
                  <a:pt x="3805178" y="482537"/>
                  <a:pt x="3816956" y="482537"/>
                </a:cubicBezTo>
                <a:cubicBezTo>
                  <a:pt x="3829072" y="482537"/>
                  <a:pt x="3838580" y="479255"/>
                  <a:pt x="3845480" y="472693"/>
                </a:cubicBezTo>
                <a:cubicBezTo>
                  <a:pt x="3852378" y="466130"/>
                  <a:pt x="3855828" y="457127"/>
                  <a:pt x="3855828" y="445685"/>
                </a:cubicBezTo>
                <a:cubicBezTo>
                  <a:pt x="3855828" y="437944"/>
                  <a:pt x="3854230" y="431550"/>
                  <a:pt x="3851032" y="426501"/>
                </a:cubicBezTo>
                <a:cubicBezTo>
                  <a:pt x="3847836" y="421453"/>
                  <a:pt x="3843712" y="417414"/>
                  <a:pt x="3838664" y="414385"/>
                </a:cubicBezTo>
                <a:cubicBezTo>
                  <a:pt x="3833616" y="411357"/>
                  <a:pt x="3827894" y="409169"/>
                  <a:pt x="3821500" y="407823"/>
                </a:cubicBezTo>
                <a:cubicBezTo>
                  <a:pt x="3815106" y="406477"/>
                  <a:pt x="3808712" y="405803"/>
                  <a:pt x="3802316" y="405803"/>
                </a:cubicBezTo>
                <a:lnTo>
                  <a:pt x="3779094" y="405803"/>
                </a:lnTo>
                <a:lnTo>
                  <a:pt x="3779094" y="354311"/>
                </a:lnTo>
                <a:lnTo>
                  <a:pt x="3798278" y="354311"/>
                </a:lnTo>
                <a:cubicBezTo>
                  <a:pt x="3818470" y="354311"/>
                  <a:pt x="3835130" y="351030"/>
                  <a:pt x="3848256" y="344467"/>
                </a:cubicBezTo>
                <a:cubicBezTo>
                  <a:pt x="3861380" y="337904"/>
                  <a:pt x="3867944" y="326378"/>
                  <a:pt x="3867944" y="309887"/>
                </a:cubicBezTo>
                <a:cubicBezTo>
                  <a:pt x="3867944" y="296425"/>
                  <a:pt x="3863652" y="285150"/>
                  <a:pt x="3855072" y="276063"/>
                </a:cubicBezTo>
                <a:cubicBezTo>
                  <a:pt x="3846488" y="266977"/>
                  <a:pt x="3831596" y="262433"/>
                  <a:pt x="3810394" y="262433"/>
                </a:cubicBezTo>
                <a:cubicBezTo>
                  <a:pt x="3793230" y="262433"/>
                  <a:pt x="3778506" y="264284"/>
                  <a:pt x="3766222" y="267986"/>
                </a:cubicBezTo>
                <a:cubicBezTo>
                  <a:pt x="3753938" y="271688"/>
                  <a:pt x="3743924" y="275222"/>
                  <a:pt x="3736184" y="278588"/>
                </a:cubicBezTo>
                <a:lnTo>
                  <a:pt x="3724068" y="226591"/>
                </a:lnTo>
                <a:cubicBezTo>
                  <a:pt x="3727770" y="224908"/>
                  <a:pt x="3732988" y="223057"/>
                  <a:pt x="3739718" y="221037"/>
                </a:cubicBezTo>
                <a:cubicBezTo>
                  <a:pt x="3746450" y="219018"/>
                  <a:pt x="3753770" y="217167"/>
                  <a:pt x="3761678" y="215484"/>
                </a:cubicBezTo>
                <a:cubicBezTo>
                  <a:pt x="3769588" y="213802"/>
                  <a:pt x="3777832" y="212371"/>
                  <a:pt x="3786414" y="211193"/>
                </a:cubicBezTo>
                <a:cubicBezTo>
                  <a:pt x="3794996" y="210015"/>
                  <a:pt x="3803158" y="209427"/>
                  <a:pt x="3810898" y="209427"/>
                </a:cubicBezTo>
                <a:cubicBezTo>
                  <a:pt x="3831764" y="209427"/>
                  <a:pt x="3849770" y="211867"/>
                  <a:pt x="3864916" y="216746"/>
                </a:cubicBezTo>
                <a:cubicBezTo>
                  <a:pt x="3880060" y="221626"/>
                  <a:pt x="3892512" y="228526"/>
                  <a:pt x="3902272" y="237444"/>
                </a:cubicBezTo>
                <a:cubicBezTo>
                  <a:pt x="3912032" y="246363"/>
                  <a:pt x="3919268" y="256880"/>
                  <a:pt x="3923980" y="268996"/>
                </a:cubicBezTo>
                <a:cubicBezTo>
                  <a:pt x="3928692" y="281112"/>
                  <a:pt x="3931048" y="294405"/>
                  <a:pt x="3931048" y="308877"/>
                </a:cubicBezTo>
                <a:cubicBezTo>
                  <a:pt x="3931048" y="327051"/>
                  <a:pt x="3926588" y="342700"/>
                  <a:pt x="3917668" y="355826"/>
                </a:cubicBezTo>
                <a:cubicBezTo>
                  <a:pt x="3908750" y="368951"/>
                  <a:pt x="3896214" y="378879"/>
                  <a:pt x="3880060" y="385610"/>
                </a:cubicBezTo>
                <a:cubicBezTo>
                  <a:pt x="3891840" y="391668"/>
                  <a:pt x="3901262" y="400419"/>
                  <a:pt x="3908330" y="411861"/>
                </a:cubicBezTo>
                <a:cubicBezTo>
                  <a:pt x="3915398" y="423304"/>
                  <a:pt x="3918932" y="435252"/>
                  <a:pt x="3918932" y="447704"/>
                </a:cubicBezTo>
                <a:cubicBezTo>
                  <a:pt x="3918932" y="460156"/>
                  <a:pt x="3916912" y="471767"/>
                  <a:pt x="3912874" y="482537"/>
                </a:cubicBezTo>
                <a:cubicBezTo>
                  <a:pt x="3908834" y="493306"/>
                  <a:pt x="3902608" y="502646"/>
                  <a:pt x="3894196" y="510555"/>
                </a:cubicBezTo>
                <a:cubicBezTo>
                  <a:pt x="3885780" y="518464"/>
                  <a:pt x="3875096" y="524606"/>
                  <a:pt x="3862138" y="528981"/>
                </a:cubicBezTo>
                <a:cubicBezTo>
                  <a:pt x="3849180" y="533356"/>
                  <a:pt x="3833952" y="535544"/>
                  <a:pt x="3816452" y="535544"/>
                </a:cubicBezTo>
                <a:close/>
                <a:moveTo>
                  <a:pt x="3567354" y="535544"/>
                </a:moveTo>
                <a:cubicBezTo>
                  <a:pt x="3549854" y="535544"/>
                  <a:pt x="3532268" y="532178"/>
                  <a:pt x="3514600" y="525447"/>
                </a:cubicBezTo>
                <a:cubicBezTo>
                  <a:pt x="3496930" y="518716"/>
                  <a:pt x="3481366" y="508283"/>
                  <a:pt x="3467904" y="494148"/>
                </a:cubicBezTo>
                <a:lnTo>
                  <a:pt x="3498698" y="450733"/>
                </a:lnTo>
                <a:cubicBezTo>
                  <a:pt x="3509130" y="461839"/>
                  <a:pt x="3519732" y="469748"/>
                  <a:pt x="3530502" y="474460"/>
                </a:cubicBezTo>
                <a:cubicBezTo>
                  <a:pt x="3541272" y="479171"/>
                  <a:pt x="3551536" y="481527"/>
                  <a:pt x="3561296" y="481527"/>
                </a:cubicBezTo>
                <a:cubicBezTo>
                  <a:pt x="3573076" y="481527"/>
                  <a:pt x="3582836" y="478078"/>
                  <a:pt x="3590576" y="471178"/>
                </a:cubicBezTo>
                <a:cubicBezTo>
                  <a:pt x="3598316" y="464279"/>
                  <a:pt x="3602186" y="454435"/>
                  <a:pt x="3602188" y="441646"/>
                </a:cubicBezTo>
                <a:cubicBezTo>
                  <a:pt x="3602186" y="432559"/>
                  <a:pt x="3599074" y="423641"/>
                  <a:pt x="3592848" y="414890"/>
                </a:cubicBezTo>
                <a:cubicBezTo>
                  <a:pt x="3586622" y="406140"/>
                  <a:pt x="3578712" y="397053"/>
                  <a:pt x="3569120" y="387630"/>
                </a:cubicBezTo>
                <a:cubicBezTo>
                  <a:pt x="3559528" y="378206"/>
                  <a:pt x="3549264" y="368362"/>
                  <a:pt x="3538326" y="358097"/>
                </a:cubicBezTo>
                <a:cubicBezTo>
                  <a:pt x="3527388" y="347833"/>
                  <a:pt x="3517124" y="336727"/>
                  <a:pt x="3507532" y="324779"/>
                </a:cubicBezTo>
                <a:cubicBezTo>
                  <a:pt x="3497940" y="312831"/>
                  <a:pt x="3490032" y="299790"/>
                  <a:pt x="3483806" y="285655"/>
                </a:cubicBezTo>
                <a:cubicBezTo>
                  <a:pt x="3477580" y="271520"/>
                  <a:pt x="3474466" y="256039"/>
                  <a:pt x="3474466" y="239211"/>
                </a:cubicBezTo>
                <a:cubicBezTo>
                  <a:pt x="3474466" y="237192"/>
                  <a:pt x="3474382" y="233658"/>
                  <a:pt x="3474214" y="228610"/>
                </a:cubicBezTo>
                <a:cubicBezTo>
                  <a:pt x="3474046" y="223562"/>
                  <a:pt x="3474466" y="219355"/>
                  <a:pt x="3475476" y="215989"/>
                </a:cubicBezTo>
                <a:lnTo>
                  <a:pt x="3679426" y="215989"/>
                </a:lnTo>
                <a:lnTo>
                  <a:pt x="3679426" y="267481"/>
                </a:lnTo>
                <a:lnTo>
                  <a:pt x="3545142" y="267481"/>
                </a:lnTo>
                <a:cubicBezTo>
                  <a:pt x="3545142" y="272530"/>
                  <a:pt x="3546908" y="278083"/>
                  <a:pt x="3550442" y="284141"/>
                </a:cubicBezTo>
                <a:cubicBezTo>
                  <a:pt x="3553976" y="290198"/>
                  <a:pt x="3558268" y="296172"/>
                  <a:pt x="3563316" y="302062"/>
                </a:cubicBezTo>
                <a:cubicBezTo>
                  <a:pt x="3568364" y="307952"/>
                  <a:pt x="3573748" y="313673"/>
                  <a:pt x="3579470" y="319226"/>
                </a:cubicBezTo>
                <a:cubicBezTo>
                  <a:pt x="3585190" y="324779"/>
                  <a:pt x="3590240" y="329575"/>
                  <a:pt x="3594614" y="333613"/>
                </a:cubicBezTo>
                <a:cubicBezTo>
                  <a:pt x="3603364" y="341691"/>
                  <a:pt x="3611946" y="350104"/>
                  <a:pt x="3620360" y="358855"/>
                </a:cubicBezTo>
                <a:cubicBezTo>
                  <a:pt x="3628774" y="367605"/>
                  <a:pt x="3636346" y="376692"/>
                  <a:pt x="3643078" y="386115"/>
                </a:cubicBezTo>
                <a:cubicBezTo>
                  <a:pt x="3649808" y="395539"/>
                  <a:pt x="3655194" y="405214"/>
                  <a:pt x="3659232" y="415143"/>
                </a:cubicBezTo>
                <a:cubicBezTo>
                  <a:pt x="3663270" y="425071"/>
                  <a:pt x="3665290" y="435420"/>
                  <a:pt x="3665290" y="446189"/>
                </a:cubicBezTo>
                <a:cubicBezTo>
                  <a:pt x="3665290" y="460998"/>
                  <a:pt x="3662598" y="474039"/>
                  <a:pt x="3657212" y="485313"/>
                </a:cubicBezTo>
                <a:cubicBezTo>
                  <a:pt x="3651828" y="496588"/>
                  <a:pt x="3644592" y="505927"/>
                  <a:pt x="3635506" y="513331"/>
                </a:cubicBezTo>
                <a:cubicBezTo>
                  <a:pt x="3626418" y="520735"/>
                  <a:pt x="3615986" y="526288"/>
                  <a:pt x="3604206" y="529990"/>
                </a:cubicBezTo>
                <a:cubicBezTo>
                  <a:pt x="3592426" y="533692"/>
                  <a:pt x="3580142" y="535544"/>
                  <a:pt x="3567354" y="535544"/>
                </a:cubicBezTo>
                <a:close/>
                <a:moveTo>
                  <a:pt x="3324752" y="535544"/>
                </a:moveTo>
                <a:cubicBezTo>
                  <a:pt x="3290088" y="535544"/>
                  <a:pt x="3263332" y="522081"/>
                  <a:pt x="3244486" y="495157"/>
                </a:cubicBezTo>
                <a:cubicBezTo>
                  <a:pt x="3225638" y="468233"/>
                  <a:pt x="3216214" y="427511"/>
                  <a:pt x="3216214" y="372990"/>
                </a:cubicBezTo>
                <a:cubicBezTo>
                  <a:pt x="3216214" y="317796"/>
                  <a:pt x="3225470" y="276737"/>
                  <a:pt x="3243980" y="249813"/>
                </a:cubicBezTo>
                <a:cubicBezTo>
                  <a:pt x="3262490" y="222889"/>
                  <a:pt x="3289414" y="209427"/>
                  <a:pt x="3324752" y="209427"/>
                </a:cubicBezTo>
                <a:cubicBezTo>
                  <a:pt x="3360090" y="209427"/>
                  <a:pt x="3387014" y="222889"/>
                  <a:pt x="3405524" y="249813"/>
                </a:cubicBezTo>
                <a:cubicBezTo>
                  <a:pt x="3424034" y="276737"/>
                  <a:pt x="3433290" y="317796"/>
                  <a:pt x="3433290" y="372990"/>
                </a:cubicBezTo>
                <a:cubicBezTo>
                  <a:pt x="3433290" y="427847"/>
                  <a:pt x="3424034" y="468654"/>
                  <a:pt x="3405524" y="495410"/>
                </a:cubicBezTo>
                <a:cubicBezTo>
                  <a:pt x="3387014" y="522166"/>
                  <a:pt x="3360090" y="535544"/>
                  <a:pt x="3324752" y="535544"/>
                </a:cubicBezTo>
                <a:close/>
                <a:moveTo>
                  <a:pt x="3062528" y="535544"/>
                </a:moveTo>
                <a:cubicBezTo>
                  <a:pt x="3045028" y="535544"/>
                  <a:pt x="3027444" y="532178"/>
                  <a:pt x="3009774" y="525447"/>
                </a:cubicBezTo>
                <a:cubicBezTo>
                  <a:pt x="2992106" y="518716"/>
                  <a:pt x="2976540" y="508283"/>
                  <a:pt x="2963078" y="494148"/>
                </a:cubicBezTo>
                <a:lnTo>
                  <a:pt x="2993872" y="450733"/>
                </a:lnTo>
                <a:cubicBezTo>
                  <a:pt x="3004306" y="461839"/>
                  <a:pt x="3014908" y="469748"/>
                  <a:pt x="3025676" y="474460"/>
                </a:cubicBezTo>
                <a:cubicBezTo>
                  <a:pt x="3036446" y="479171"/>
                  <a:pt x="3046712" y="481527"/>
                  <a:pt x="3056472" y="481527"/>
                </a:cubicBezTo>
                <a:cubicBezTo>
                  <a:pt x="3068250" y="481527"/>
                  <a:pt x="3078010" y="478078"/>
                  <a:pt x="3085752" y="471178"/>
                </a:cubicBezTo>
                <a:cubicBezTo>
                  <a:pt x="3093492" y="464279"/>
                  <a:pt x="3097362" y="454435"/>
                  <a:pt x="3097362" y="441646"/>
                </a:cubicBezTo>
                <a:cubicBezTo>
                  <a:pt x="3097362" y="432559"/>
                  <a:pt x="3094248" y="423641"/>
                  <a:pt x="3088022" y="414890"/>
                </a:cubicBezTo>
                <a:cubicBezTo>
                  <a:pt x="3081796" y="406140"/>
                  <a:pt x="3073888" y="397053"/>
                  <a:pt x="3064296" y="387630"/>
                </a:cubicBezTo>
                <a:cubicBezTo>
                  <a:pt x="3054704" y="378206"/>
                  <a:pt x="3044440" y="368362"/>
                  <a:pt x="3033502" y="358097"/>
                </a:cubicBezTo>
                <a:cubicBezTo>
                  <a:pt x="3022564" y="347833"/>
                  <a:pt x="3012298" y="336727"/>
                  <a:pt x="3002708" y="324779"/>
                </a:cubicBezTo>
                <a:cubicBezTo>
                  <a:pt x="2993116" y="312831"/>
                  <a:pt x="2985206" y="299790"/>
                  <a:pt x="2978980" y="285655"/>
                </a:cubicBezTo>
                <a:cubicBezTo>
                  <a:pt x="2972754" y="271520"/>
                  <a:pt x="2969642" y="256039"/>
                  <a:pt x="2969642" y="239211"/>
                </a:cubicBezTo>
                <a:cubicBezTo>
                  <a:pt x="2969642" y="237192"/>
                  <a:pt x="2969558" y="233658"/>
                  <a:pt x="2969388" y="228610"/>
                </a:cubicBezTo>
                <a:cubicBezTo>
                  <a:pt x="2969220" y="223562"/>
                  <a:pt x="2969640" y="219355"/>
                  <a:pt x="2970650" y="215989"/>
                </a:cubicBezTo>
                <a:lnTo>
                  <a:pt x="3174600" y="215989"/>
                </a:lnTo>
                <a:lnTo>
                  <a:pt x="3174600" y="267481"/>
                </a:lnTo>
                <a:lnTo>
                  <a:pt x="3040316" y="267481"/>
                </a:lnTo>
                <a:cubicBezTo>
                  <a:pt x="3040316" y="272530"/>
                  <a:pt x="3042084" y="278083"/>
                  <a:pt x="3045618" y="284141"/>
                </a:cubicBezTo>
                <a:cubicBezTo>
                  <a:pt x="3049152" y="290198"/>
                  <a:pt x="3053442" y="296172"/>
                  <a:pt x="3058490" y="302062"/>
                </a:cubicBezTo>
                <a:cubicBezTo>
                  <a:pt x="3063538" y="307952"/>
                  <a:pt x="3068924" y="313673"/>
                  <a:pt x="3074644" y="319226"/>
                </a:cubicBezTo>
                <a:cubicBezTo>
                  <a:pt x="3080366" y="324779"/>
                  <a:pt x="3085414" y="329575"/>
                  <a:pt x="3089790" y="333613"/>
                </a:cubicBezTo>
                <a:cubicBezTo>
                  <a:pt x="3098540" y="341691"/>
                  <a:pt x="3107122" y="350104"/>
                  <a:pt x="3115536" y="358855"/>
                </a:cubicBezTo>
                <a:cubicBezTo>
                  <a:pt x="3123950" y="367605"/>
                  <a:pt x="3131522" y="376692"/>
                  <a:pt x="3138252" y="386115"/>
                </a:cubicBezTo>
                <a:cubicBezTo>
                  <a:pt x="3144984" y="395539"/>
                  <a:pt x="3150368" y="405214"/>
                  <a:pt x="3154408" y="415143"/>
                </a:cubicBezTo>
                <a:cubicBezTo>
                  <a:pt x="3158446" y="425071"/>
                  <a:pt x="3160464" y="435420"/>
                  <a:pt x="3160464" y="446189"/>
                </a:cubicBezTo>
                <a:cubicBezTo>
                  <a:pt x="3160464" y="460998"/>
                  <a:pt x="3157772" y="474039"/>
                  <a:pt x="3152388" y="485313"/>
                </a:cubicBezTo>
                <a:cubicBezTo>
                  <a:pt x="3147002" y="496588"/>
                  <a:pt x="3139766" y="505927"/>
                  <a:pt x="3130680" y="513331"/>
                </a:cubicBezTo>
                <a:cubicBezTo>
                  <a:pt x="3121594" y="520735"/>
                  <a:pt x="3111160" y="526288"/>
                  <a:pt x="3099382" y="529990"/>
                </a:cubicBezTo>
                <a:cubicBezTo>
                  <a:pt x="3087602" y="533692"/>
                  <a:pt x="3075318" y="535544"/>
                  <a:pt x="3062528" y="535544"/>
                </a:cubicBezTo>
                <a:close/>
                <a:moveTo>
                  <a:pt x="2292890" y="561290"/>
                </a:moveTo>
                <a:cubicBezTo>
                  <a:pt x="2282120" y="561290"/>
                  <a:pt x="2272949" y="557756"/>
                  <a:pt x="2265377" y="550688"/>
                </a:cubicBezTo>
                <a:cubicBezTo>
                  <a:pt x="2257805" y="543621"/>
                  <a:pt x="2254018" y="533861"/>
                  <a:pt x="2254018" y="521408"/>
                </a:cubicBezTo>
                <a:cubicBezTo>
                  <a:pt x="2254018" y="509293"/>
                  <a:pt x="2257805" y="499701"/>
                  <a:pt x="2265377" y="492633"/>
                </a:cubicBezTo>
                <a:cubicBezTo>
                  <a:pt x="2272949" y="485566"/>
                  <a:pt x="2282120" y="482032"/>
                  <a:pt x="2292890" y="482032"/>
                </a:cubicBezTo>
                <a:cubicBezTo>
                  <a:pt x="2303660" y="482032"/>
                  <a:pt x="2312914" y="485566"/>
                  <a:pt x="2320655" y="492633"/>
                </a:cubicBezTo>
                <a:cubicBezTo>
                  <a:pt x="2328396" y="499701"/>
                  <a:pt x="2332266" y="509293"/>
                  <a:pt x="2332266" y="521408"/>
                </a:cubicBezTo>
                <a:cubicBezTo>
                  <a:pt x="2332266" y="533861"/>
                  <a:pt x="2328396" y="543621"/>
                  <a:pt x="2320655" y="550688"/>
                </a:cubicBezTo>
                <a:cubicBezTo>
                  <a:pt x="2312914" y="557756"/>
                  <a:pt x="2303660" y="561290"/>
                  <a:pt x="2292890" y="561290"/>
                </a:cubicBezTo>
                <a:close/>
                <a:moveTo>
                  <a:pt x="1959420" y="563309"/>
                </a:moveTo>
                <a:lnTo>
                  <a:pt x="1959420" y="511817"/>
                </a:lnTo>
                <a:lnTo>
                  <a:pt x="2025047" y="511817"/>
                </a:lnTo>
                <a:lnTo>
                  <a:pt x="2025047" y="310392"/>
                </a:lnTo>
                <a:cubicBezTo>
                  <a:pt x="2025047" y="277746"/>
                  <a:pt x="2031610" y="252926"/>
                  <a:pt x="2044735" y="235930"/>
                </a:cubicBezTo>
                <a:cubicBezTo>
                  <a:pt x="2057860" y="218934"/>
                  <a:pt x="2078727" y="210436"/>
                  <a:pt x="2107333" y="210436"/>
                </a:cubicBezTo>
                <a:cubicBezTo>
                  <a:pt x="2117767" y="210436"/>
                  <a:pt x="2127106" y="211109"/>
                  <a:pt x="2135351" y="212455"/>
                </a:cubicBezTo>
                <a:cubicBezTo>
                  <a:pt x="2143597" y="213802"/>
                  <a:pt x="2150580" y="215400"/>
                  <a:pt x="2156302" y="217251"/>
                </a:cubicBezTo>
                <a:cubicBezTo>
                  <a:pt x="2162023" y="219102"/>
                  <a:pt x="2166650" y="220869"/>
                  <a:pt x="2170184" y="222552"/>
                </a:cubicBezTo>
                <a:cubicBezTo>
                  <a:pt x="2173718" y="224235"/>
                  <a:pt x="2175990" y="225413"/>
                  <a:pt x="2176999" y="226086"/>
                </a:cubicBezTo>
                <a:lnTo>
                  <a:pt x="2168922" y="276063"/>
                </a:lnTo>
                <a:cubicBezTo>
                  <a:pt x="2166230" y="275054"/>
                  <a:pt x="2160677" y="272866"/>
                  <a:pt x="2152263" y="269501"/>
                </a:cubicBezTo>
                <a:cubicBezTo>
                  <a:pt x="2143849" y="266135"/>
                  <a:pt x="2133416" y="264452"/>
                  <a:pt x="2120964" y="264452"/>
                </a:cubicBezTo>
                <a:cubicBezTo>
                  <a:pt x="2111204" y="264452"/>
                  <a:pt x="2103126" y="267313"/>
                  <a:pt x="2096732" y="273034"/>
                </a:cubicBezTo>
                <a:cubicBezTo>
                  <a:pt x="2090338" y="278756"/>
                  <a:pt x="2087140" y="289694"/>
                  <a:pt x="2087140" y="305848"/>
                </a:cubicBezTo>
                <a:lnTo>
                  <a:pt x="2087140" y="563309"/>
                </a:lnTo>
                <a:close/>
                <a:moveTo>
                  <a:pt x="1607052" y="565833"/>
                </a:moveTo>
                <a:cubicBezTo>
                  <a:pt x="1594263" y="565833"/>
                  <a:pt x="1581811" y="564234"/>
                  <a:pt x="1569695" y="561037"/>
                </a:cubicBezTo>
                <a:cubicBezTo>
                  <a:pt x="1557579" y="557840"/>
                  <a:pt x="1546810" y="552455"/>
                  <a:pt x="1537386" y="544883"/>
                </a:cubicBezTo>
                <a:cubicBezTo>
                  <a:pt x="1527963" y="537310"/>
                  <a:pt x="1520474" y="527214"/>
                  <a:pt x="1514921" y="514593"/>
                </a:cubicBezTo>
                <a:cubicBezTo>
                  <a:pt x="1509368" y="501973"/>
                  <a:pt x="1506592" y="486071"/>
                  <a:pt x="1506592" y="466887"/>
                </a:cubicBezTo>
                <a:lnTo>
                  <a:pt x="1506592" y="453257"/>
                </a:lnTo>
                <a:lnTo>
                  <a:pt x="1454595" y="453257"/>
                </a:lnTo>
                <a:lnTo>
                  <a:pt x="1454595" y="401765"/>
                </a:lnTo>
                <a:lnTo>
                  <a:pt x="1506592" y="401765"/>
                </a:lnTo>
                <a:lnTo>
                  <a:pt x="1506592" y="215989"/>
                </a:lnTo>
                <a:lnTo>
                  <a:pt x="1569190" y="215989"/>
                </a:lnTo>
                <a:lnTo>
                  <a:pt x="1569190" y="401765"/>
                </a:lnTo>
                <a:lnTo>
                  <a:pt x="1666621" y="401765"/>
                </a:lnTo>
                <a:lnTo>
                  <a:pt x="1666621" y="453257"/>
                </a:lnTo>
                <a:lnTo>
                  <a:pt x="1569190" y="453257"/>
                </a:lnTo>
                <a:lnTo>
                  <a:pt x="1569190" y="465878"/>
                </a:lnTo>
                <a:cubicBezTo>
                  <a:pt x="1569190" y="475974"/>
                  <a:pt x="1570368" y="484135"/>
                  <a:pt x="1572724" y="490362"/>
                </a:cubicBezTo>
                <a:cubicBezTo>
                  <a:pt x="1575080" y="496588"/>
                  <a:pt x="1578193" y="501384"/>
                  <a:pt x="1582063" y="504749"/>
                </a:cubicBezTo>
                <a:cubicBezTo>
                  <a:pt x="1585933" y="508115"/>
                  <a:pt x="1590477" y="510302"/>
                  <a:pt x="1595693" y="511312"/>
                </a:cubicBezTo>
                <a:cubicBezTo>
                  <a:pt x="1600910" y="512322"/>
                  <a:pt x="1606379" y="512826"/>
                  <a:pt x="1612100" y="512826"/>
                </a:cubicBezTo>
                <a:cubicBezTo>
                  <a:pt x="1622533" y="512826"/>
                  <a:pt x="1633555" y="511396"/>
                  <a:pt x="1645166" y="508535"/>
                </a:cubicBezTo>
                <a:cubicBezTo>
                  <a:pt x="1656777" y="505675"/>
                  <a:pt x="1666453" y="502898"/>
                  <a:pt x="1674194" y="500206"/>
                </a:cubicBezTo>
                <a:lnTo>
                  <a:pt x="1684795" y="550688"/>
                </a:lnTo>
                <a:cubicBezTo>
                  <a:pt x="1673689" y="556073"/>
                  <a:pt x="1661236" y="559943"/>
                  <a:pt x="1647438" y="562299"/>
                </a:cubicBezTo>
                <a:cubicBezTo>
                  <a:pt x="1633639" y="564655"/>
                  <a:pt x="1620178" y="565833"/>
                  <a:pt x="1607052" y="565833"/>
                </a:cubicBezTo>
                <a:close/>
                <a:moveTo>
                  <a:pt x="0" y="796029"/>
                </a:moveTo>
                <a:lnTo>
                  <a:pt x="4876802" y="796029"/>
                </a:lnTo>
                <a:lnTo>
                  <a:pt x="4824822" y="344498"/>
                </a:lnTo>
                <a:cubicBezTo>
                  <a:pt x="4801968" y="145891"/>
                  <a:pt x="4682292" y="207"/>
                  <a:pt x="4541980" y="155"/>
                </a:cubicBezTo>
                <a:lnTo>
                  <a:pt x="0" y="0"/>
                </a:lnTo>
                <a:close/>
              </a:path>
            </a:pathLst>
          </a:custGeom>
          <a:solidFill>
            <a:schemeClr val="bg1"/>
          </a:solidFill>
          <a:ln w="2834" cap="flat">
            <a:noFill/>
            <a:prstDash val="solid"/>
            <a:miter/>
          </a:ln>
        </p:spPr>
        <p:txBody>
          <a:bodyPr wrap="square" rtlCol="0" anchor="ctr">
            <a:noAutofit/>
          </a:bodyPr>
          <a:lstStyle/>
          <a:p>
            <a:endParaRPr lang="en-US" dirty="0"/>
          </a:p>
        </p:txBody>
      </p:sp>
      <p:pic>
        <p:nvPicPr>
          <p:cNvPr id="8" name="Imagen 7" descr="Un dibujo de una cara feliz&#10;&#10;Descripción generada automáticamente con confianza baja">
            <a:extLst>
              <a:ext uri="{FF2B5EF4-FFF2-40B4-BE49-F238E27FC236}">
                <a16:creationId xmlns:a16="http://schemas.microsoft.com/office/drawing/2014/main" id="{A82FAAE7-F450-2EFB-B470-9CA2B285AACF}"/>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7824450" y="406400"/>
            <a:ext cx="1801936" cy="934010"/>
          </a:xfrm>
          <a:prstGeom prst="rect">
            <a:avLst/>
          </a:prstGeom>
        </p:spPr>
      </p:pic>
    </p:spTree>
    <p:extLst>
      <p:ext uri="{BB962C8B-B14F-4D97-AF65-F5344CB8AC3E}">
        <p14:creationId xmlns:p14="http://schemas.microsoft.com/office/powerpoint/2010/main" val="396396264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10" name="Rectángulo 9">
            <a:extLst>
              <a:ext uri="{FF2B5EF4-FFF2-40B4-BE49-F238E27FC236}">
                <a16:creationId xmlns:a16="http://schemas.microsoft.com/office/drawing/2014/main" id="{E7BF236D-D0D3-10D7-3261-21E349035258}"/>
              </a:ext>
            </a:extLst>
          </p:cNvPr>
          <p:cNvSpPr/>
          <p:nvPr userDrawn="1"/>
        </p:nvSpPr>
        <p:spPr>
          <a:xfrm>
            <a:off x="0" y="0"/>
            <a:ext cx="20104100" cy="113284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6" name="Imagen 5" descr="Un dibujo de un hombre&#10;&#10;Descripción generada automáticamente con confianza baja">
            <a:extLst>
              <a:ext uri="{FF2B5EF4-FFF2-40B4-BE49-F238E27FC236}">
                <a16:creationId xmlns:a16="http://schemas.microsoft.com/office/drawing/2014/main" id="{37B732A4-1024-2E8A-DE04-CE50284B2112}"/>
              </a:ext>
            </a:extLst>
          </p:cNvPr>
          <p:cNvPicPr>
            <a:picLocks noChangeAspect="1"/>
          </p:cNvPicPr>
          <p:nvPr userDrawn="1"/>
        </p:nvPicPr>
        <p:blipFill rotWithShape="1">
          <a:blip r:embed="rId2">
            <a:extLst>
              <a:ext uri="{28A0092B-C50C-407E-A947-70E740481C1C}">
                <a14:useLocalDpi xmlns:a14="http://schemas.microsoft.com/office/drawing/2010/main"/>
              </a:ext>
            </a:extLst>
          </a:blip>
          <a:srcRect t="-225"/>
          <a:stretch/>
        </p:blipFill>
        <p:spPr>
          <a:xfrm>
            <a:off x="0" y="0"/>
            <a:ext cx="10433050" cy="11328400"/>
          </a:xfrm>
          <a:prstGeom prst="rect">
            <a:avLst/>
          </a:prstGeom>
        </p:spPr>
      </p:pic>
      <p:sp>
        <p:nvSpPr>
          <p:cNvPr id="4" name="Holder 4"/>
          <p:cNvSpPr>
            <a:spLocks noGrp="1"/>
          </p:cNvSpPr>
          <p:nvPr>
            <p:ph type="ftr" sz="quarter" idx="5"/>
          </p:nvPr>
        </p:nvSpPr>
        <p:spPr>
          <a:xfrm>
            <a:off x="16647741" y="10759212"/>
            <a:ext cx="2962677" cy="200055"/>
          </a:xfrm>
          <a:prstGeom prst="rect">
            <a:avLst/>
          </a:prstGeom>
        </p:spPr>
        <p:txBody>
          <a:bodyPr lIns="0" tIns="0" rIns="0" bIns="0"/>
          <a:lstStyle>
            <a:lvl1pPr>
              <a:defRPr sz="1300" b="0" i="0">
                <a:solidFill>
                  <a:schemeClr val="bg1"/>
                </a:solidFill>
                <a:latin typeface="Ubuntu Light"/>
                <a:cs typeface="Ubuntu Light"/>
              </a:defRPr>
            </a:lvl1pPr>
          </a:lstStyle>
          <a:p>
            <a:pPr marL="26034">
              <a:spcBef>
                <a:spcPts val="30"/>
              </a:spcBef>
            </a:pPr>
            <a:r>
              <a:rPr lang="es-ES" dirty="0"/>
              <a:t>Public</a:t>
            </a:r>
            <a:r>
              <a:rPr lang="es-ES" spc="-40" dirty="0"/>
              <a:t> </a:t>
            </a:r>
            <a:r>
              <a:rPr lang="es-ES" dirty="0"/>
              <a:t>©</a:t>
            </a:r>
            <a:r>
              <a:rPr lang="es-ES" spc="-40" dirty="0"/>
              <a:t> </a:t>
            </a:r>
            <a:r>
              <a:rPr lang="es-ES" dirty="0"/>
              <a:t>2023</a:t>
            </a:r>
            <a:r>
              <a:rPr lang="es-ES" spc="-40" dirty="0"/>
              <a:t> </a:t>
            </a:r>
            <a:r>
              <a:rPr lang="es-ES" spc="-10" dirty="0"/>
              <a:t>Sogeti.</a:t>
            </a:r>
            <a:r>
              <a:rPr lang="es-ES" spc="-35" dirty="0"/>
              <a:t> </a:t>
            </a:r>
            <a:r>
              <a:rPr lang="es-ES" dirty="0" err="1"/>
              <a:t>All</a:t>
            </a:r>
            <a:r>
              <a:rPr lang="es-ES" spc="-40" dirty="0"/>
              <a:t> </a:t>
            </a:r>
            <a:r>
              <a:rPr lang="es-ES" dirty="0"/>
              <a:t>rights</a:t>
            </a:r>
            <a:r>
              <a:rPr lang="es-ES" spc="-40" dirty="0"/>
              <a:t> </a:t>
            </a:r>
            <a:r>
              <a:rPr lang="es-ES" spc="-10" dirty="0" err="1"/>
              <a:t>reserved</a:t>
            </a:r>
            <a:endParaRPr lang="es-ES" spc="-10" dirty="0"/>
          </a:p>
        </p:txBody>
      </p:sp>
      <p:sp>
        <p:nvSpPr>
          <p:cNvPr id="2" name="CuadroTexto 1">
            <a:extLst>
              <a:ext uri="{FF2B5EF4-FFF2-40B4-BE49-F238E27FC236}">
                <a16:creationId xmlns:a16="http://schemas.microsoft.com/office/drawing/2014/main" id="{72E5CF79-7DA3-E21E-3060-87CB44907F25}"/>
              </a:ext>
            </a:extLst>
          </p:cNvPr>
          <p:cNvSpPr txBox="1"/>
          <p:nvPr userDrawn="1"/>
        </p:nvSpPr>
        <p:spPr>
          <a:xfrm>
            <a:off x="755650" y="10845800"/>
            <a:ext cx="7772400" cy="292388"/>
          </a:xfrm>
          <a:prstGeom prst="rect">
            <a:avLst/>
          </a:prstGeom>
          <a:noFill/>
        </p:spPr>
        <p:txBody>
          <a:bodyPr wrap="square" rtlCol="0">
            <a:spAutoFit/>
          </a:bodyPr>
          <a:lstStyle/>
          <a:p>
            <a:r>
              <a:rPr lang="es-ES" sz="1300" b="0" i="0" dirty="0">
                <a:solidFill>
                  <a:schemeClr val="bg1"/>
                </a:solidFill>
                <a:latin typeface="Ubuntu Medium" panose="020B0504030602030204" pitchFamily="34" charset="0"/>
              </a:rPr>
              <a:t>#FlourishingDigitalBusinessWithQuality </a:t>
            </a:r>
            <a:r>
              <a:rPr lang="es-ES" sz="1300" b="1" i="0" dirty="0">
                <a:solidFill>
                  <a:schemeClr val="bg1"/>
                </a:solidFill>
                <a:latin typeface="Ubuntu" panose="020B0504030602030204" pitchFamily="34" charset="0"/>
              </a:rPr>
              <a:t> ·</a:t>
            </a:r>
            <a:r>
              <a:rPr lang="es-ES" sz="1300" b="0" i="0" dirty="0">
                <a:solidFill>
                  <a:schemeClr val="bg1"/>
                </a:solidFill>
                <a:latin typeface="Ubuntu Medium" panose="020B0504030602030204" pitchFamily="34" charset="0"/>
              </a:rPr>
              <a:t>   </a:t>
            </a:r>
            <a:r>
              <a:rPr lang="es-ES" sz="1300" b="0" i="0" dirty="0" err="1">
                <a:solidFill>
                  <a:schemeClr val="bg1"/>
                </a:solidFill>
                <a:latin typeface="Ubuntu Medium" panose="020B0504030602030204" pitchFamily="34" charset="0"/>
              </a:rPr>
              <a:t>by</a:t>
            </a:r>
            <a:r>
              <a:rPr lang="es-ES" sz="1300" b="0" i="0" dirty="0">
                <a:solidFill>
                  <a:schemeClr val="bg1"/>
                </a:solidFill>
                <a:latin typeface="Ubuntu Medium" panose="020B0504030602030204" pitchFamily="34" charset="0"/>
              </a:rPr>
              <a:t> </a:t>
            </a:r>
            <a:r>
              <a:rPr lang="es-ES" sz="1300" b="1" i="0" dirty="0">
                <a:solidFill>
                  <a:schemeClr val="bg1"/>
                </a:solidFill>
                <a:latin typeface="Ubuntu" panose="020B0504030602030204" pitchFamily="34" charset="0"/>
              </a:rPr>
              <a:t>Sogeti España</a:t>
            </a:r>
          </a:p>
        </p:txBody>
      </p:sp>
      <p:sp>
        <p:nvSpPr>
          <p:cNvPr id="5" name="Forma libre 4">
            <a:extLst>
              <a:ext uri="{FF2B5EF4-FFF2-40B4-BE49-F238E27FC236}">
                <a16:creationId xmlns:a16="http://schemas.microsoft.com/office/drawing/2014/main" id="{FBAABD7F-C513-9B40-6AE2-E43DB3944CCE}"/>
              </a:ext>
            </a:extLst>
          </p:cNvPr>
          <p:cNvSpPr/>
          <p:nvPr userDrawn="1"/>
        </p:nvSpPr>
        <p:spPr>
          <a:xfrm flipV="1">
            <a:off x="755650" y="10384024"/>
            <a:ext cx="2362200" cy="385576"/>
          </a:xfrm>
          <a:custGeom>
            <a:avLst/>
            <a:gdLst/>
            <a:ahLst/>
            <a:cxnLst/>
            <a:rect l="l" t="t" r="r" b="b"/>
            <a:pathLst>
              <a:path w="4876802" h="796029">
                <a:moveTo>
                  <a:pt x="2572782" y="405299"/>
                </a:moveTo>
                <a:cubicBezTo>
                  <a:pt x="2589609" y="405299"/>
                  <a:pt x="2601809" y="398820"/>
                  <a:pt x="2609382" y="385863"/>
                </a:cubicBezTo>
                <a:cubicBezTo>
                  <a:pt x="2616954" y="372906"/>
                  <a:pt x="2620740" y="355826"/>
                  <a:pt x="2620740" y="334623"/>
                </a:cubicBezTo>
                <a:cubicBezTo>
                  <a:pt x="2620740" y="313420"/>
                  <a:pt x="2616618" y="296256"/>
                  <a:pt x="2608372" y="283131"/>
                </a:cubicBezTo>
                <a:cubicBezTo>
                  <a:pt x="2600126" y="270006"/>
                  <a:pt x="2587927" y="263443"/>
                  <a:pt x="2571772" y="263443"/>
                </a:cubicBezTo>
                <a:cubicBezTo>
                  <a:pt x="2554945" y="263443"/>
                  <a:pt x="2542744" y="270006"/>
                  <a:pt x="2535172" y="283131"/>
                </a:cubicBezTo>
                <a:cubicBezTo>
                  <a:pt x="2527600" y="296256"/>
                  <a:pt x="2523814" y="313420"/>
                  <a:pt x="2523814" y="334623"/>
                </a:cubicBezTo>
                <a:cubicBezTo>
                  <a:pt x="2523814" y="355826"/>
                  <a:pt x="2527937" y="372906"/>
                  <a:pt x="2536182" y="385863"/>
                </a:cubicBezTo>
                <a:cubicBezTo>
                  <a:pt x="2544428" y="398820"/>
                  <a:pt x="2556628" y="405299"/>
                  <a:pt x="2572782" y="405299"/>
                </a:cubicBezTo>
                <a:close/>
                <a:moveTo>
                  <a:pt x="1810782" y="405299"/>
                </a:moveTo>
                <a:cubicBezTo>
                  <a:pt x="1827610" y="405299"/>
                  <a:pt x="1839810" y="398820"/>
                  <a:pt x="1847382" y="385863"/>
                </a:cubicBezTo>
                <a:cubicBezTo>
                  <a:pt x="1854954" y="372906"/>
                  <a:pt x="1858740" y="355826"/>
                  <a:pt x="1858740" y="334623"/>
                </a:cubicBezTo>
                <a:cubicBezTo>
                  <a:pt x="1858740" y="313420"/>
                  <a:pt x="1854618" y="296256"/>
                  <a:pt x="1846372" y="283131"/>
                </a:cubicBezTo>
                <a:cubicBezTo>
                  <a:pt x="1838127" y="270006"/>
                  <a:pt x="1825927" y="263443"/>
                  <a:pt x="1809772" y="263443"/>
                </a:cubicBezTo>
                <a:cubicBezTo>
                  <a:pt x="1792945" y="263443"/>
                  <a:pt x="1780745" y="270006"/>
                  <a:pt x="1773173" y="283131"/>
                </a:cubicBezTo>
                <a:cubicBezTo>
                  <a:pt x="1765600" y="296256"/>
                  <a:pt x="1761814" y="313420"/>
                  <a:pt x="1761814" y="334623"/>
                </a:cubicBezTo>
                <a:cubicBezTo>
                  <a:pt x="1761814" y="355826"/>
                  <a:pt x="1765937" y="372906"/>
                  <a:pt x="1774182" y="385863"/>
                </a:cubicBezTo>
                <a:cubicBezTo>
                  <a:pt x="1782428" y="398820"/>
                  <a:pt x="1794628" y="405299"/>
                  <a:pt x="1810782" y="405299"/>
                </a:cubicBezTo>
                <a:close/>
                <a:moveTo>
                  <a:pt x="810657" y="405299"/>
                </a:moveTo>
                <a:cubicBezTo>
                  <a:pt x="827485" y="405299"/>
                  <a:pt x="839684" y="398820"/>
                  <a:pt x="847257" y="385863"/>
                </a:cubicBezTo>
                <a:cubicBezTo>
                  <a:pt x="854829" y="372906"/>
                  <a:pt x="858615" y="355826"/>
                  <a:pt x="858616" y="334623"/>
                </a:cubicBezTo>
                <a:cubicBezTo>
                  <a:pt x="858615" y="313420"/>
                  <a:pt x="854493" y="296256"/>
                  <a:pt x="846247" y="283131"/>
                </a:cubicBezTo>
                <a:cubicBezTo>
                  <a:pt x="838002" y="270006"/>
                  <a:pt x="825802" y="263443"/>
                  <a:pt x="809647" y="263443"/>
                </a:cubicBezTo>
                <a:cubicBezTo>
                  <a:pt x="792820" y="263443"/>
                  <a:pt x="780620" y="270006"/>
                  <a:pt x="773048" y="283131"/>
                </a:cubicBezTo>
                <a:cubicBezTo>
                  <a:pt x="765475" y="296256"/>
                  <a:pt x="761689" y="313420"/>
                  <a:pt x="761689" y="334623"/>
                </a:cubicBezTo>
                <a:cubicBezTo>
                  <a:pt x="761689" y="355826"/>
                  <a:pt x="765812" y="372906"/>
                  <a:pt x="774057" y="385863"/>
                </a:cubicBezTo>
                <a:cubicBezTo>
                  <a:pt x="782303" y="398820"/>
                  <a:pt x="794503" y="405299"/>
                  <a:pt x="810657" y="405299"/>
                </a:cubicBezTo>
                <a:close/>
                <a:moveTo>
                  <a:pt x="3325256" y="411861"/>
                </a:moveTo>
                <a:cubicBezTo>
                  <a:pt x="3316506" y="411861"/>
                  <a:pt x="3309608" y="408496"/>
                  <a:pt x="3304560" y="401765"/>
                </a:cubicBezTo>
                <a:cubicBezTo>
                  <a:pt x="3299512" y="395034"/>
                  <a:pt x="3296988" y="387125"/>
                  <a:pt x="3296988" y="378038"/>
                </a:cubicBezTo>
                <a:cubicBezTo>
                  <a:pt x="3296988" y="368951"/>
                  <a:pt x="3299512" y="361126"/>
                  <a:pt x="3304560" y="354564"/>
                </a:cubicBezTo>
                <a:cubicBezTo>
                  <a:pt x="3309608" y="348001"/>
                  <a:pt x="3316506" y="344720"/>
                  <a:pt x="3325256" y="344720"/>
                </a:cubicBezTo>
                <a:cubicBezTo>
                  <a:pt x="3333334" y="344720"/>
                  <a:pt x="3339980" y="348001"/>
                  <a:pt x="3345198" y="354564"/>
                </a:cubicBezTo>
                <a:cubicBezTo>
                  <a:pt x="3350414" y="361126"/>
                  <a:pt x="3353022" y="368951"/>
                  <a:pt x="3353022" y="378038"/>
                </a:cubicBezTo>
                <a:cubicBezTo>
                  <a:pt x="3353022" y="387125"/>
                  <a:pt x="3350414" y="395034"/>
                  <a:pt x="3345198" y="401765"/>
                </a:cubicBezTo>
                <a:cubicBezTo>
                  <a:pt x="3339980" y="408496"/>
                  <a:pt x="3333334" y="411861"/>
                  <a:pt x="3325256" y="411861"/>
                </a:cubicBezTo>
                <a:close/>
                <a:moveTo>
                  <a:pt x="2207070" y="453257"/>
                </a:moveTo>
                <a:lnTo>
                  <a:pt x="2207070" y="401765"/>
                </a:lnTo>
                <a:lnTo>
                  <a:pt x="2272697" y="401765"/>
                </a:lnTo>
                <a:lnTo>
                  <a:pt x="2272697" y="314430"/>
                </a:lnTo>
                <a:cubicBezTo>
                  <a:pt x="2272697" y="297939"/>
                  <a:pt x="2274043" y="283299"/>
                  <a:pt x="2276735" y="270510"/>
                </a:cubicBezTo>
                <a:cubicBezTo>
                  <a:pt x="2279428" y="257721"/>
                  <a:pt x="2284055" y="246868"/>
                  <a:pt x="2290618" y="237949"/>
                </a:cubicBezTo>
                <a:cubicBezTo>
                  <a:pt x="2297181" y="229031"/>
                  <a:pt x="2305931" y="222215"/>
                  <a:pt x="2316869" y="217504"/>
                </a:cubicBezTo>
                <a:cubicBezTo>
                  <a:pt x="2327807" y="212792"/>
                  <a:pt x="2341353" y="210436"/>
                  <a:pt x="2357508" y="210436"/>
                </a:cubicBezTo>
                <a:cubicBezTo>
                  <a:pt x="2366931" y="210436"/>
                  <a:pt x="2377280" y="211530"/>
                  <a:pt x="2388554" y="213718"/>
                </a:cubicBezTo>
                <a:cubicBezTo>
                  <a:pt x="2399829" y="215905"/>
                  <a:pt x="2411860" y="220028"/>
                  <a:pt x="2424649" y="226086"/>
                </a:cubicBezTo>
                <a:lnTo>
                  <a:pt x="2416572" y="276063"/>
                </a:lnTo>
                <a:cubicBezTo>
                  <a:pt x="2406475" y="271352"/>
                  <a:pt x="2397388" y="268239"/>
                  <a:pt x="2389312" y="266724"/>
                </a:cubicBezTo>
                <a:cubicBezTo>
                  <a:pt x="2381234" y="265210"/>
                  <a:pt x="2374335" y="264452"/>
                  <a:pt x="2368614" y="264452"/>
                </a:cubicBezTo>
                <a:cubicBezTo>
                  <a:pt x="2356498" y="264452"/>
                  <a:pt x="2347832" y="267902"/>
                  <a:pt x="2342615" y="274801"/>
                </a:cubicBezTo>
                <a:cubicBezTo>
                  <a:pt x="2337398" y="281701"/>
                  <a:pt x="2334790" y="292218"/>
                  <a:pt x="2334790" y="306353"/>
                </a:cubicBezTo>
                <a:lnTo>
                  <a:pt x="2334790" y="453257"/>
                </a:lnTo>
                <a:close/>
                <a:moveTo>
                  <a:pt x="1088092" y="457800"/>
                </a:moveTo>
                <a:cubicBezTo>
                  <a:pt x="1064870" y="457800"/>
                  <a:pt x="1044593" y="455949"/>
                  <a:pt x="1027260" y="452247"/>
                </a:cubicBezTo>
                <a:cubicBezTo>
                  <a:pt x="1009928" y="448545"/>
                  <a:pt x="993016" y="443665"/>
                  <a:pt x="976526" y="437607"/>
                </a:cubicBezTo>
                <a:lnTo>
                  <a:pt x="976526" y="215989"/>
                </a:lnTo>
                <a:lnTo>
                  <a:pt x="1039124" y="215989"/>
                </a:lnTo>
                <a:lnTo>
                  <a:pt x="1039124" y="392173"/>
                </a:lnTo>
                <a:cubicBezTo>
                  <a:pt x="1047874" y="394529"/>
                  <a:pt x="1056456" y="396128"/>
                  <a:pt x="1064870" y="396969"/>
                </a:cubicBezTo>
                <a:cubicBezTo>
                  <a:pt x="1073284" y="397810"/>
                  <a:pt x="1081866" y="398231"/>
                  <a:pt x="1090616" y="398231"/>
                </a:cubicBezTo>
                <a:cubicBezTo>
                  <a:pt x="1094318" y="398231"/>
                  <a:pt x="1098861" y="398063"/>
                  <a:pt x="1104246" y="397726"/>
                </a:cubicBezTo>
                <a:cubicBezTo>
                  <a:pt x="1109631" y="397390"/>
                  <a:pt x="1115184" y="396801"/>
                  <a:pt x="1120905" y="395959"/>
                </a:cubicBezTo>
                <a:cubicBezTo>
                  <a:pt x="1126627" y="395118"/>
                  <a:pt x="1132264" y="394192"/>
                  <a:pt x="1137817" y="393183"/>
                </a:cubicBezTo>
                <a:cubicBezTo>
                  <a:pt x="1143370" y="392173"/>
                  <a:pt x="1148166" y="391164"/>
                  <a:pt x="1152205" y="390154"/>
                </a:cubicBezTo>
                <a:lnTo>
                  <a:pt x="1163311" y="447704"/>
                </a:lnTo>
                <a:cubicBezTo>
                  <a:pt x="1157589" y="449723"/>
                  <a:pt x="1151111" y="451322"/>
                  <a:pt x="1143875" y="452500"/>
                </a:cubicBezTo>
                <a:cubicBezTo>
                  <a:pt x="1136639" y="453678"/>
                  <a:pt x="1129487" y="454687"/>
                  <a:pt x="1122420" y="455529"/>
                </a:cubicBezTo>
                <a:cubicBezTo>
                  <a:pt x="1115352" y="456370"/>
                  <a:pt x="1108706" y="456959"/>
                  <a:pt x="1102479" y="457296"/>
                </a:cubicBezTo>
                <a:cubicBezTo>
                  <a:pt x="1096253" y="457632"/>
                  <a:pt x="1091457" y="457800"/>
                  <a:pt x="1088092" y="457800"/>
                </a:cubicBezTo>
                <a:close/>
                <a:moveTo>
                  <a:pt x="2572782" y="459315"/>
                </a:moveTo>
                <a:cubicBezTo>
                  <a:pt x="2556628" y="459315"/>
                  <a:pt x="2541651" y="456370"/>
                  <a:pt x="2527852" y="450480"/>
                </a:cubicBezTo>
                <a:cubicBezTo>
                  <a:pt x="2514054" y="444591"/>
                  <a:pt x="2502190" y="436177"/>
                  <a:pt x="2492262" y="425239"/>
                </a:cubicBezTo>
                <a:cubicBezTo>
                  <a:pt x="2482334" y="414301"/>
                  <a:pt x="2474594" y="401176"/>
                  <a:pt x="2469040" y="385863"/>
                </a:cubicBezTo>
                <a:cubicBezTo>
                  <a:pt x="2463487" y="370550"/>
                  <a:pt x="2460711" y="353638"/>
                  <a:pt x="2460711" y="335128"/>
                </a:cubicBezTo>
                <a:cubicBezTo>
                  <a:pt x="2460711" y="316281"/>
                  <a:pt x="2463403" y="299201"/>
                  <a:pt x="2468788" y="283888"/>
                </a:cubicBezTo>
                <a:cubicBezTo>
                  <a:pt x="2474173" y="268575"/>
                  <a:pt x="2481829" y="255366"/>
                  <a:pt x="2491758" y="244259"/>
                </a:cubicBezTo>
                <a:cubicBezTo>
                  <a:pt x="2501686" y="233153"/>
                  <a:pt x="2513465" y="224571"/>
                  <a:pt x="2527095" y="218513"/>
                </a:cubicBezTo>
                <a:cubicBezTo>
                  <a:pt x="2540726" y="212455"/>
                  <a:pt x="2555954" y="209427"/>
                  <a:pt x="2572782" y="209427"/>
                </a:cubicBezTo>
                <a:cubicBezTo>
                  <a:pt x="2589609" y="209427"/>
                  <a:pt x="2604838" y="212455"/>
                  <a:pt x="2618468" y="218513"/>
                </a:cubicBezTo>
                <a:cubicBezTo>
                  <a:pt x="2632098" y="224571"/>
                  <a:pt x="2643794" y="233153"/>
                  <a:pt x="2653554" y="244259"/>
                </a:cubicBezTo>
                <a:cubicBezTo>
                  <a:pt x="2663314" y="255366"/>
                  <a:pt x="2670886" y="268575"/>
                  <a:pt x="2676271" y="283888"/>
                </a:cubicBezTo>
                <a:cubicBezTo>
                  <a:pt x="2681656" y="299201"/>
                  <a:pt x="2684348" y="316281"/>
                  <a:pt x="2684348" y="335128"/>
                </a:cubicBezTo>
                <a:cubicBezTo>
                  <a:pt x="2684348" y="353638"/>
                  <a:pt x="2681656" y="370550"/>
                  <a:pt x="2676271" y="385863"/>
                </a:cubicBezTo>
                <a:cubicBezTo>
                  <a:pt x="2670886" y="401176"/>
                  <a:pt x="2663230" y="414301"/>
                  <a:pt x="2653302" y="425239"/>
                </a:cubicBezTo>
                <a:cubicBezTo>
                  <a:pt x="2643373" y="436177"/>
                  <a:pt x="2631594" y="444591"/>
                  <a:pt x="2617964" y="450480"/>
                </a:cubicBezTo>
                <a:cubicBezTo>
                  <a:pt x="2604334" y="456370"/>
                  <a:pt x="2589273" y="459315"/>
                  <a:pt x="2572782" y="459315"/>
                </a:cubicBezTo>
                <a:close/>
                <a:moveTo>
                  <a:pt x="1810782" y="459315"/>
                </a:moveTo>
                <a:cubicBezTo>
                  <a:pt x="1794628" y="459315"/>
                  <a:pt x="1779651" y="456370"/>
                  <a:pt x="1765853" y="450480"/>
                </a:cubicBezTo>
                <a:cubicBezTo>
                  <a:pt x="1752054" y="444591"/>
                  <a:pt x="1740191" y="436177"/>
                  <a:pt x="1730262" y="425239"/>
                </a:cubicBezTo>
                <a:cubicBezTo>
                  <a:pt x="1720334" y="414301"/>
                  <a:pt x="1712594" y="401176"/>
                  <a:pt x="1707040" y="385863"/>
                </a:cubicBezTo>
                <a:cubicBezTo>
                  <a:pt x="1701488" y="370550"/>
                  <a:pt x="1698711" y="353638"/>
                  <a:pt x="1698711" y="335128"/>
                </a:cubicBezTo>
                <a:cubicBezTo>
                  <a:pt x="1698711" y="316281"/>
                  <a:pt x="1701403" y="299201"/>
                  <a:pt x="1706788" y="283888"/>
                </a:cubicBezTo>
                <a:cubicBezTo>
                  <a:pt x="1712173" y="268575"/>
                  <a:pt x="1719829" y="255366"/>
                  <a:pt x="1729758" y="244259"/>
                </a:cubicBezTo>
                <a:cubicBezTo>
                  <a:pt x="1739686" y="233153"/>
                  <a:pt x="1751465" y="224571"/>
                  <a:pt x="1765095" y="218513"/>
                </a:cubicBezTo>
                <a:cubicBezTo>
                  <a:pt x="1778726" y="212455"/>
                  <a:pt x="1793954" y="209427"/>
                  <a:pt x="1810782" y="209427"/>
                </a:cubicBezTo>
                <a:cubicBezTo>
                  <a:pt x="1827610" y="209427"/>
                  <a:pt x="1842838" y="212455"/>
                  <a:pt x="1856469" y="218513"/>
                </a:cubicBezTo>
                <a:cubicBezTo>
                  <a:pt x="1870099" y="224571"/>
                  <a:pt x="1881794" y="233153"/>
                  <a:pt x="1891554" y="244259"/>
                </a:cubicBezTo>
                <a:cubicBezTo>
                  <a:pt x="1901314" y="255366"/>
                  <a:pt x="1908886" y="268575"/>
                  <a:pt x="1914271" y="283888"/>
                </a:cubicBezTo>
                <a:cubicBezTo>
                  <a:pt x="1919656" y="299201"/>
                  <a:pt x="1922348" y="316281"/>
                  <a:pt x="1922348" y="335128"/>
                </a:cubicBezTo>
                <a:cubicBezTo>
                  <a:pt x="1922348" y="353638"/>
                  <a:pt x="1919656" y="370550"/>
                  <a:pt x="1914271" y="385863"/>
                </a:cubicBezTo>
                <a:cubicBezTo>
                  <a:pt x="1908886" y="401176"/>
                  <a:pt x="1901230" y="414301"/>
                  <a:pt x="1891302" y="425239"/>
                </a:cubicBezTo>
                <a:cubicBezTo>
                  <a:pt x="1881374" y="436177"/>
                  <a:pt x="1869594" y="444591"/>
                  <a:pt x="1855964" y="450480"/>
                </a:cubicBezTo>
                <a:cubicBezTo>
                  <a:pt x="1842334" y="456370"/>
                  <a:pt x="1827273" y="459315"/>
                  <a:pt x="1810782" y="459315"/>
                </a:cubicBezTo>
                <a:close/>
                <a:moveTo>
                  <a:pt x="810657" y="459315"/>
                </a:moveTo>
                <a:cubicBezTo>
                  <a:pt x="794503" y="459315"/>
                  <a:pt x="779526" y="456370"/>
                  <a:pt x="765728" y="450480"/>
                </a:cubicBezTo>
                <a:cubicBezTo>
                  <a:pt x="751929" y="444591"/>
                  <a:pt x="740066" y="436177"/>
                  <a:pt x="730138" y="425239"/>
                </a:cubicBezTo>
                <a:cubicBezTo>
                  <a:pt x="720209" y="414301"/>
                  <a:pt x="712469" y="401176"/>
                  <a:pt x="706916" y="385863"/>
                </a:cubicBezTo>
                <a:cubicBezTo>
                  <a:pt x="701362" y="370550"/>
                  <a:pt x="698586" y="353638"/>
                  <a:pt x="698586" y="335128"/>
                </a:cubicBezTo>
                <a:cubicBezTo>
                  <a:pt x="698586" y="316281"/>
                  <a:pt x="701278" y="299201"/>
                  <a:pt x="706663" y="283888"/>
                </a:cubicBezTo>
                <a:cubicBezTo>
                  <a:pt x="712048" y="268575"/>
                  <a:pt x="719704" y="255366"/>
                  <a:pt x="729633" y="244259"/>
                </a:cubicBezTo>
                <a:cubicBezTo>
                  <a:pt x="739561" y="233153"/>
                  <a:pt x="751340" y="224571"/>
                  <a:pt x="764970" y="218513"/>
                </a:cubicBezTo>
                <a:cubicBezTo>
                  <a:pt x="778601" y="212455"/>
                  <a:pt x="793830" y="209427"/>
                  <a:pt x="810657" y="209427"/>
                </a:cubicBezTo>
                <a:cubicBezTo>
                  <a:pt x="827485" y="209427"/>
                  <a:pt x="842713" y="212455"/>
                  <a:pt x="856344" y="218513"/>
                </a:cubicBezTo>
                <a:cubicBezTo>
                  <a:pt x="869974" y="224571"/>
                  <a:pt x="881669" y="233153"/>
                  <a:pt x="891429" y="244259"/>
                </a:cubicBezTo>
                <a:cubicBezTo>
                  <a:pt x="901189" y="255366"/>
                  <a:pt x="908761" y="268575"/>
                  <a:pt x="914146" y="283888"/>
                </a:cubicBezTo>
                <a:cubicBezTo>
                  <a:pt x="919531" y="299201"/>
                  <a:pt x="922223" y="316281"/>
                  <a:pt x="922223" y="335128"/>
                </a:cubicBezTo>
                <a:cubicBezTo>
                  <a:pt x="922223" y="353638"/>
                  <a:pt x="919531" y="370550"/>
                  <a:pt x="914146" y="385863"/>
                </a:cubicBezTo>
                <a:cubicBezTo>
                  <a:pt x="908761" y="401176"/>
                  <a:pt x="901105" y="414301"/>
                  <a:pt x="891177" y="425239"/>
                </a:cubicBezTo>
                <a:cubicBezTo>
                  <a:pt x="881248" y="436177"/>
                  <a:pt x="869469" y="444591"/>
                  <a:pt x="855839" y="450480"/>
                </a:cubicBezTo>
                <a:cubicBezTo>
                  <a:pt x="842209" y="456370"/>
                  <a:pt x="827148" y="459315"/>
                  <a:pt x="810657" y="459315"/>
                </a:cubicBezTo>
                <a:close/>
                <a:moveTo>
                  <a:pt x="546919" y="477993"/>
                </a:moveTo>
                <a:cubicBezTo>
                  <a:pt x="563410" y="477993"/>
                  <a:pt x="576620" y="474207"/>
                  <a:pt x="586548" y="466635"/>
                </a:cubicBezTo>
                <a:cubicBezTo>
                  <a:pt x="596476" y="459062"/>
                  <a:pt x="601441" y="446189"/>
                  <a:pt x="601441" y="428016"/>
                </a:cubicBezTo>
                <a:cubicBezTo>
                  <a:pt x="601441" y="408832"/>
                  <a:pt x="596392" y="395286"/>
                  <a:pt x="586296" y="387377"/>
                </a:cubicBezTo>
                <a:cubicBezTo>
                  <a:pt x="576199" y="379468"/>
                  <a:pt x="561223" y="375514"/>
                  <a:pt x="541366" y="375514"/>
                </a:cubicBezTo>
                <a:lnTo>
                  <a:pt x="516125" y="375514"/>
                </a:lnTo>
                <a:lnTo>
                  <a:pt x="516125" y="476479"/>
                </a:lnTo>
                <a:cubicBezTo>
                  <a:pt x="519827" y="477152"/>
                  <a:pt x="524960" y="477573"/>
                  <a:pt x="531522" y="477741"/>
                </a:cubicBezTo>
                <a:cubicBezTo>
                  <a:pt x="538085" y="477909"/>
                  <a:pt x="543217" y="477993"/>
                  <a:pt x="546919" y="477993"/>
                </a:cubicBezTo>
                <a:close/>
                <a:moveTo>
                  <a:pt x="3324752" y="482537"/>
                </a:moveTo>
                <a:cubicBezTo>
                  <a:pt x="3341916" y="482537"/>
                  <a:pt x="3354958" y="473198"/>
                  <a:pt x="3363876" y="454519"/>
                </a:cubicBezTo>
                <a:cubicBezTo>
                  <a:pt x="3372794" y="435841"/>
                  <a:pt x="3377254" y="408664"/>
                  <a:pt x="3377254" y="372990"/>
                </a:cubicBezTo>
                <a:cubicBezTo>
                  <a:pt x="3377254" y="336979"/>
                  <a:pt x="3372794" y="309634"/>
                  <a:pt x="3363876" y="290956"/>
                </a:cubicBezTo>
                <a:cubicBezTo>
                  <a:pt x="3354958" y="272277"/>
                  <a:pt x="3341916" y="262938"/>
                  <a:pt x="3324752" y="262938"/>
                </a:cubicBezTo>
                <a:cubicBezTo>
                  <a:pt x="3307924" y="262938"/>
                  <a:pt x="3294968" y="272277"/>
                  <a:pt x="3285880" y="290956"/>
                </a:cubicBezTo>
                <a:cubicBezTo>
                  <a:pt x="3276794" y="309634"/>
                  <a:pt x="3272250" y="336979"/>
                  <a:pt x="3272250" y="372990"/>
                </a:cubicBezTo>
                <a:cubicBezTo>
                  <a:pt x="3272250" y="408664"/>
                  <a:pt x="3276794" y="435841"/>
                  <a:pt x="3285880" y="454519"/>
                </a:cubicBezTo>
                <a:cubicBezTo>
                  <a:pt x="3294968" y="473198"/>
                  <a:pt x="3307924" y="482537"/>
                  <a:pt x="3324752" y="482537"/>
                </a:cubicBezTo>
                <a:close/>
                <a:moveTo>
                  <a:pt x="1323054" y="522923"/>
                </a:moveTo>
                <a:lnTo>
                  <a:pt x="1260961" y="512826"/>
                </a:lnTo>
                <a:lnTo>
                  <a:pt x="1260961" y="453257"/>
                </a:lnTo>
                <a:lnTo>
                  <a:pt x="1206945" y="453257"/>
                </a:lnTo>
                <a:lnTo>
                  <a:pt x="1206945" y="401765"/>
                </a:lnTo>
                <a:lnTo>
                  <a:pt x="1260961" y="401765"/>
                </a:lnTo>
                <a:lnTo>
                  <a:pt x="1260961" y="304334"/>
                </a:lnTo>
                <a:cubicBezTo>
                  <a:pt x="1260961" y="284477"/>
                  <a:pt x="1262980" y="268407"/>
                  <a:pt x="1267019" y="256123"/>
                </a:cubicBezTo>
                <a:cubicBezTo>
                  <a:pt x="1271057" y="243839"/>
                  <a:pt x="1276947" y="234331"/>
                  <a:pt x="1284688" y="227600"/>
                </a:cubicBezTo>
                <a:cubicBezTo>
                  <a:pt x="1292428" y="220869"/>
                  <a:pt x="1301852" y="216326"/>
                  <a:pt x="1312958" y="213970"/>
                </a:cubicBezTo>
                <a:cubicBezTo>
                  <a:pt x="1324064" y="211614"/>
                  <a:pt x="1336853" y="210436"/>
                  <a:pt x="1351325" y="210436"/>
                </a:cubicBezTo>
                <a:cubicBezTo>
                  <a:pt x="1363777" y="210436"/>
                  <a:pt x="1376650" y="211446"/>
                  <a:pt x="1389944" y="213465"/>
                </a:cubicBezTo>
                <a:cubicBezTo>
                  <a:pt x="1403238" y="215484"/>
                  <a:pt x="1415606" y="218850"/>
                  <a:pt x="1427048" y="223562"/>
                </a:cubicBezTo>
                <a:lnTo>
                  <a:pt x="1418466" y="277073"/>
                </a:lnTo>
                <a:cubicBezTo>
                  <a:pt x="1412745" y="274381"/>
                  <a:pt x="1407444" y="272193"/>
                  <a:pt x="1402564" y="270510"/>
                </a:cubicBezTo>
                <a:cubicBezTo>
                  <a:pt x="1397684" y="268828"/>
                  <a:pt x="1392973" y="267566"/>
                  <a:pt x="1388429" y="266724"/>
                </a:cubicBezTo>
                <a:cubicBezTo>
                  <a:pt x="1383886" y="265883"/>
                  <a:pt x="1379174" y="265294"/>
                  <a:pt x="1374294" y="264957"/>
                </a:cubicBezTo>
                <a:cubicBezTo>
                  <a:pt x="1369414" y="264621"/>
                  <a:pt x="1364114" y="264452"/>
                  <a:pt x="1358392" y="264452"/>
                </a:cubicBezTo>
                <a:cubicBezTo>
                  <a:pt x="1353007" y="264452"/>
                  <a:pt x="1348127" y="264957"/>
                  <a:pt x="1343752" y="265967"/>
                </a:cubicBezTo>
                <a:cubicBezTo>
                  <a:pt x="1339377" y="266977"/>
                  <a:pt x="1335675" y="268996"/>
                  <a:pt x="1332646" y="272025"/>
                </a:cubicBezTo>
                <a:cubicBezTo>
                  <a:pt x="1329617" y="275054"/>
                  <a:pt x="1327261" y="279261"/>
                  <a:pt x="1325579" y="284645"/>
                </a:cubicBezTo>
                <a:cubicBezTo>
                  <a:pt x="1323896" y="290030"/>
                  <a:pt x="1323054" y="297098"/>
                  <a:pt x="1323054" y="305848"/>
                </a:cubicBezTo>
                <a:lnTo>
                  <a:pt x="1323054" y="401765"/>
                </a:lnTo>
                <a:lnTo>
                  <a:pt x="1422505" y="401765"/>
                </a:lnTo>
                <a:lnTo>
                  <a:pt x="1422505" y="453257"/>
                </a:lnTo>
                <a:lnTo>
                  <a:pt x="1323054" y="453257"/>
                </a:lnTo>
                <a:close/>
                <a:moveTo>
                  <a:pt x="539852" y="532010"/>
                </a:moveTo>
                <a:cubicBezTo>
                  <a:pt x="534131" y="532010"/>
                  <a:pt x="527568" y="531841"/>
                  <a:pt x="520164" y="531505"/>
                </a:cubicBezTo>
                <a:cubicBezTo>
                  <a:pt x="512760" y="531168"/>
                  <a:pt x="505187" y="530748"/>
                  <a:pt x="497447" y="530243"/>
                </a:cubicBezTo>
                <a:cubicBezTo>
                  <a:pt x="489706" y="529738"/>
                  <a:pt x="482049" y="528981"/>
                  <a:pt x="474477" y="527971"/>
                </a:cubicBezTo>
                <a:cubicBezTo>
                  <a:pt x="466905" y="526961"/>
                  <a:pt x="460090" y="525784"/>
                  <a:pt x="454032" y="524437"/>
                </a:cubicBezTo>
                <a:lnTo>
                  <a:pt x="454032" y="215989"/>
                </a:lnTo>
                <a:lnTo>
                  <a:pt x="516125" y="215989"/>
                </a:lnTo>
                <a:lnTo>
                  <a:pt x="516125" y="321498"/>
                </a:lnTo>
                <a:lnTo>
                  <a:pt x="538337" y="321498"/>
                </a:lnTo>
                <a:cubicBezTo>
                  <a:pt x="578723" y="321498"/>
                  <a:pt x="609938" y="329827"/>
                  <a:pt x="631982" y="346486"/>
                </a:cubicBezTo>
                <a:cubicBezTo>
                  <a:pt x="654026" y="363146"/>
                  <a:pt x="665048" y="390154"/>
                  <a:pt x="665048" y="427511"/>
                </a:cubicBezTo>
                <a:cubicBezTo>
                  <a:pt x="665048" y="464531"/>
                  <a:pt x="654111" y="491203"/>
                  <a:pt x="632235" y="507526"/>
                </a:cubicBezTo>
                <a:cubicBezTo>
                  <a:pt x="610359" y="523848"/>
                  <a:pt x="579565" y="532010"/>
                  <a:pt x="539852" y="532010"/>
                </a:cubicBezTo>
                <a:close/>
                <a:moveTo>
                  <a:pt x="3816452" y="535544"/>
                </a:moveTo>
                <a:cubicBezTo>
                  <a:pt x="3797604" y="535544"/>
                  <a:pt x="3780694" y="532430"/>
                  <a:pt x="3765716" y="526204"/>
                </a:cubicBezTo>
                <a:cubicBezTo>
                  <a:pt x="3750740" y="519978"/>
                  <a:pt x="3738708" y="513836"/>
                  <a:pt x="3729622" y="507778"/>
                </a:cubicBezTo>
                <a:lnTo>
                  <a:pt x="3751834" y="462344"/>
                </a:lnTo>
                <a:cubicBezTo>
                  <a:pt x="3760248" y="468065"/>
                  <a:pt x="3770260" y="472861"/>
                  <a:pt x="3781872" y="476731"/>
                </a:cubicBezTo>
                <a:cubicBezTo>
                  <a:pt x="3793482" y="480602"/>
                  <a:pt x="3805178" y="482537"/>
                  <a:pt x="3816956" y="482537"/>
                </a:cubicBezTo>
                <a:cubicBezTo>
                  <a:pt x="3829072" y="482537"/>
                  <a:pt x="3838580" y="479255"/>
                  <a:pt x="3845480" y="472693"/>
                </a:cubicBezTo>
                <a:cubicBezTo>
                  <a:pt x="3852378" y="466130"/>
                  <a:pt x="3855828" y="457127"/>
                  <a:pt x="3855828" y="445685"/>
                </a:cubicBezTo>
                <a:cubicBezTo>
                  <a:pt x="3855828" y="437944"/>
                  <a:pt x="3854230" y="431550"/>
                  <a:pt x="3851032" y="426501"/>
                </a:cubicBezTo>
                <a:cubicBezTo>
                  <a:pt x="3847836" y="421453"/>
                  <a:pt x="3843712" y="417414"/>
                  <a:pt x="3838664" y="414385"/>
                </a:cubicBezTo>
                <a:cubicBezTo>
                  <a:pt x="3833616" y="411357"/>
                  <a:pt x="3827894" y="409169"/>
                  <a:pt x="3821500" y="407823"/>
                </a:cubicBezTo>
                <a:cubicBezTo>
                  <a:pt x="3815106" y="406477"/>
                  <a:pt x="3808712" y="405803"/>
                  <a:pt x="3802316" y="405803"/>
                </a:cubicBezTo>
                <a:lnTo>
                  <a:pt x="3779094" y="405803"/>
                </a:lnTo>
                <a:lnTo>
                  <a:pt x="3779094" y="354311"/>
                </a:lnTo>
                <a:lnTo>
                  <a:pt x="3798278" y="354311"/>
                </a:lnTo>
                <a:cubicBezTo>
                  <a:pt x="3818470" y="354311"/>
                  <a:pt x="3835130" y="351030"/>
                  <a:pt x="3848256" y="344467"/>
                </a:cubicBezTo>
                <a:cubicBezTo>
                  <a:pt x="3861380" y="337904"/>
                  <a:pt x="3867944" y="326378"/>
                  <a:pt x="3867944" y="309887"/>
                </a:cubicBezTo>
                <a:cubicBezTo>
                  <a:pt x="3867944" y="296425"/>
                  <a:pt x="3863652" y="285150"/>
                  <a:pt x="3855072" y="276063"/>
                </a:cubicBezTo>
                <a:cubicBezTo>
                  <a:pt x="3846488" y="266977"/>
                  <a:pt x="3831596" y="262433"/>
                  <a:pt x="3810394" y="262433"/>
                </a:cubicBezTo>
                <a:cubicBezTo>
                  <a:pt x="3793230" y="262433"/>
                  <a:pt x="3778506" y="264284"/>
                  <a:pt x="3766222" y="267986"/>
                </a:cubicBezTo>
                <a:cubicBezTo>
                  <a:pt x="3753938" y="271688"/>
                  <a:pt x="3743924" y="275222"/>
                  <a:pt x="3736184" y="278588"/>
                </a:cubicBezTo>
                <a:lnTo>
                  <a:pt x="3724068" y="226591"/>
                </a:lnTo>
                <a:cubicBezTo>
                  <a:pt x="3727770" y="224908"/>
                  <a:pt x="3732988" y="223057"/>
                  <a:pt x="3739718" y="221037"/>
                </a:cubicBezTo>
                <a:cubicBezTo>
                  <a:pt x="3746450" y="219018"/>
                  <a:pt x="3753770" y="217167"/>
                  <a:pt x="3761678" y="215484"/>
                </a:cubicBezTo>
                <a:cubicBezTo>
                  <a:pt x="3769588" y="213802"/>
                  <a:pt x="3777832" y="212371"/>
                  <a:pt x="3786414" y="211193"/>
                </a:cubicBezTo>
                <a:cubicBezTo>
                  <a:pt x="3794996" y="210015"/>
                  <a:pt x="3803158" y="209427"/>
                  <a:pt x="3810898" y="209427"/>
                </a:cubicBezTo>
                <a:cubicBezTo>
                  <a:pt x="3831764" y="209427"/>
                  <a:pt x="3849770" y="211867"/>
                  <a:pt x="3864916" y="216746"/>
                </a:cubicBezTo>
                <a:cubicBezTo>
                  <a:pt x="3880060" y="221626"/>
                  <a:pt x="3892512" y="228526"/>
                  <a:pt x="3902272" y="237444"/>
                </a:cubicBezTo>
                <a:cubicBezTo>
                  <a:pt x="3912032" y="246363"/>
                  <a:pt x="3919268" y="256880"/>
                  <a:pt x="3923980" y="268996"/>
                </a:cubicBezTo>
                <a:cubicBezTo>
                  <a:pt x="3928692" y="281112"/>
                  <a:pt x="3931048" y="294405"/>
                  <a:pt x="3931048" y="308877"/>
                </a:cubicBezTo>
                <a:cubicBezTo>
                  <a:pt x="3931048" y="327051"/>
                  <a:pt x="3926588" y="342700"/>
                  <a:pt x="3917668" y="355826"/>
                </a:cubicBezTo>
                <a:cubicBezTo>
                  <a:pt x="3908750" y="368951"/>
                  <a:pt x="3896214" y="378879"/>
                  <a:pt x="3880060" y="385610"/>
                </a:cubicBezTo>
                <a:cubicBezTo>
                  <a:pt x="3891840" y="391668"/>
                  <a:pt x="3901262" y="400419"/>
                  <a:pt x="3908330" y="411861"/>
                </a:cubicBezTo>
                <a:cubicBezTo>
                  <a:pt x="3915398" y="423304"/>
                  <a:pt x="3918932" y="435252"/>
                  <a:pt x="3918932" y="447704"/>
                </a:cubicBezTo>
                <a:cubicBezTo>
                  <a:pt x="3918932" y="460156"/>
                  <a:pt x="3916912" y="471767"/>
                  <a:pt x="3912874" y="482537"/>
                </a:cubicBezTo>
                <a:cubicBezTo>
                  <a:pt x="3908834" y="493306"/>
                  <a:pt x="3902608" y="502646"/>
                  <a:pt x="3894196" y="510555"/>
                </a:cubicBezTo>
                <a:cubicBezTo>
                  <a:pt x="3885780" y="518464"/>
                  <a:pt x="3875096" y="524606"/>
                  <a:pt x="3862138" y="528981"/>
                </a:cubicBezTo>
                <a:cubicBezTo>
                  <a:pt x="3849180" y="533356"/>
                  <a:pt x="3833952" y="535544"/>
                  <a:pt x="3816452" y="535544"/>
                </a:cubicBezTo>
                <a:close/>
                <a:moveTo>
                  <a:pt x="3567354" y="535544"/>
                </a:moveTo>
                <a:cubicBezTo>
                  <a:pt x="3549854" y="535544"/>
                  <a:pt x="3532268" y="532178"/>
                  <a:pt x="3514600" y="525447"/>
                </a:cubicBezTo>
                <a:cubicBezTo>
                  <a:pt x="3496930" y="518716"/>
                  <a:pt x="3481366" y="508283"/>
                  <a:pt x="3467904" y="494148"/>
                </a:cubicBezTo>
                <a:lnTo>
                  <a:pt x="3498698" y="450733"/>
                </a:lnTo>
                <a:cubicBezTo>
                  <a:pt x="3509130" y="461839"/>
                  <a:pt x="3519732" y="469748"/>
                  <a:pt x="3530502" y="474460"/>
                </a:cubicBezTo>
                <a:cubicBezTo>
                  <a:pt x="3541272" y="479171"/>
                  <a:pt x="3551536" y="481527"/>
                  <a:pt x="3561296" y="481527"/>
                </a:cubicBezTo>
                <a:cubicBezTo>
                  <a:pt x="3573076" y="481527"/>
                  <a:pt x="3582836" y="478078"/>
                  <a:pt x="3590576" y="471178"/>
                </a:cubicBezTo>
                <a:cubicBezTo>
                  <a:pt x="3598316" y="464279"/>
                  <a:pt x="3602186" y="454435"/>
                  <a:pt x="3602188" y="441646"/>
                </a:cubicBezTo>
                <a:cubicBezTo>
                  <a:pt x="3602186" y="432559"/>
                  <a:pt x="3599074" y="423641"/>
                  <a:pt x="3592848" y="414890"/>
                </a:cubicBezTo>
                <a:cubicBezTo>
                  <a:pt x="3586622" y="406140"/>
                  <a:pt x="3578712" y="397053"/>
                  <a:pt x="3569120" y="387630"/>
                </a:cubicBezTo>
                <a:cubicBezTo>
                  <a:pt x="3559528" y="378206"/>
                  <a:pt x="3549264" y="368362"/>
                  <a:pt x="3538326" y="358097"/>
                </a:cubicBezTo>
                <a:cubicBezTo>
                  <a:pt x="3527388" y="347833"/>
                  <a:pt x="3517124" y="336727"/>
                  <a:pt x="3507532" y="324779"/>
                </a:cubicBezTo>
                <a:cubicBezTo>
                  <a:pt x="3497940" y="312831"/>
                  <a:pt x="3490032" y="299790"/>
                  <a:pt x="3483806" y="285655"/>
                </a:cubicBezTo>
                <a:cubicBezTo>
                  <a:pt x="3477580" y="271520"/>
                  <a:pt x="3474466" y="256039"/>
                  <a:pt x="3474466" y="239211"/>
                </a:cubicBezTo>
                <a:cubicBezTo>
                  <a:pt x="3474466" y="237192"/>
                  <a:pt x="3474382" y="233658"/>
                  <a:pt x="3474214" y="228610"/>
                </a:cubicBezTo>
                <a:cubicBezTo>
                  <a:pt x="3474046" y="223562"/>
                  <a:pt x="3474466" y="219355"/>
                  <a:pt x="3475476" y="215989"/>
                </a:cubicBezTo>
                <a:lnTo>
                  <a:pt x="3679426" y="215989"/>
                </a:lnTo>
                <a:lnTo>
                  <a:pt x="3679426" y="267481"/>
                </a:lnTo>
                <a:lnTo>
                  <a:pt x="3545142" y="267481"/>
                </a:lnTo>
                <a:cubicBezTo>
                  <a:pt x="3545142" y="272530"/>
                  <a:pt x="3546908" y="278083"/>
                  <a:pt x="3550442" y="284141"/>
                </a:cubicBezTo>
                <a:cubicBezTo>
                  <a:pt x="3553976" y="290198"/>
                  <a:pt x="3558268" y="296172"/>
                  <a:pt x="3563316" y="302062"/>
                </a:cubicBezTo>
                <a:cubicBezTo>
                  <a:pt x="3568364" y="307952"/>
                  <a:pt x="3573748" y="313673"/>
                  <a:pt x="3579470" y="319226"/>
                </a:cubicBezTo>
                <a:cubicBezTo>
                  <a:pt x="3585190" y="324779"/>
                  <a:pt x="3590240" y="329575"/>
                  <a:pt x="3594614" y="333613"/>
                </a:cubicBezTo>
                <a:cubicBezTo>
                  <a:pt x="3603364" y="341691"/>
                  <a:pt x="3611946" y="350104"/>
                  <a:pt x="3620360" y="358855"/>
                </a:cubicBezTo>
                <a:cubicBezTo>
                  <a:pt x="3628774" y="367605"/>
                  <a:pt x="3636346" y="376692"/>
                  <a:pt x="3643078" y="386115"/>
                </a:cubicBezTo>
                <a:cubicBezTo>
                  <a:pt x="3649808" y="395539"/>
                  <a:pt x="3655194" y="405214"/>
                  <a:pt x="3659232" y="415143"/>
                </a:cubicBezTo>
                <a:cubicBezTo>
                  <a:pt x="3663270" y="425071"/>
                  <a:pt x="3665290" y="435420"/>
                  <a:pt x="3665290" y="446189"/>
                </a:cubicBezTo>
                <a:cubicBezTo>
                  <a:pt x="3665290" y="460998"/>
                  <a:pt x="3662598" y="474039"/>
                  <a:pt x="3657212" y="485313"/>
                </a:cubicBezTo>
                <a:cubicBezTo>
                  <a:pt x="3651828" y="496588"/>
                  <a:pt x="3644592" y="505927"/>
                  <a:pt x="3635506" y="513331"/>
                </a:cubicBezTo>
                <a:cubicBezTo>
                  <a:pt x="3626418" y="520735"/>
                  <a:pt x="3615986" y="526288"/>
                  <a:pt x="3604206" y="529990"/>
                </a:cubicBezTo>
                <a:cubicBezTo>
                  <a:pt x="3592426" y="533692"/>
                  <a:pt x="3580142" y="535544"/>
                  <a:pt x="3567354" y="535544"/>
                </a:cubicBezTo>
                <a:close/>
                <a:moveTo>
                  <a:pt x="3324752" y="535544"/>
                </a:moveTo>
                <a:cubicBezTo>
                  <a:pt x="3290088" y="535544"/>
                  <a:pt x="3263332" y="522081"/>
                  <a:pt x="3244486" y="495157"/>
                </a:cubicBezTo>
                <a:cubicBezTo>
                  <a:pt x="3225638" y="468233"/>
                  <a:pt x="3216214" y="427511"/>
                  <a:pt x="3216214" y="372990"/>
                </a:cubicBezTo>
                <a:cubicBezTo>
                  <a:pt x="3216214" y="317796"/>
                  <a:pt x="3225470" y="276737"/>
                  <a:pt x="3243980" y="249813"/>
                </a:cubicBezTo>
                <a:cubicBezTo>
                  <a:pt x="3262490" y="222889"/>
                  <a:pt x="3289414" y="209427"/>
                  <a:pt x="3324752" y="209427"/>
                </a:cubicBezTo>
                <a:cubicBezTo>
                  <a:pt x="3360090" y="209427"/>
                  <a:pt x="3387014" y="222889"/>
                  <a:pt x="3405524" y="249813"/>
                </a:cubicBezTo>
                <a:cubicBezTo>
                  <a:pt x="3424034" y="276737"/>
                  <a:pt x="3433290" y="317796"/>
                  <a:pt x="3433290" y="372990"/>
                </a:cubicBezTo>
                <a:cubicBezTo>
                  <a:pt x="3433290" y="427847"/>
                  <a:pt x="3424034" y="468654"/>
                  <a:pt x="3405524" y="495410"/>
                </a:cubicBezTo>
                <a:cubicBezTo>
                  <a:pt x="3387014" y="522166"/>
                  <a:pt x="3360090" y="535544"/>
                  <a:pt x="3324752" y="535544"/>
                </a:cubicBezTo>
                <a:close/>
                <a:moveTo>
                  <a:pt x="3062528" y="535544"/>
                </a:moveTo>
                <a:cubicBezTo>
                  <a:pt x="3045028" y="535544"/>
                  <a:pt x="3027444" y="532178"/>
                  <a:pt x="3009774" y="525447"/>
                </a:cubicBezTo>
                <a:cubicBezTo>
                  <a:pt x="2992106" y="518716"/>
                  <a:pt x="2976540" y="508283"/>
                  <a:pt x="2963078" y="494148"/>
                </a:cubicBezTo>
                <a:lnTo>
                  <a:pt x="2993872" y="450733"/>
                </a:lnTo>
                <a:cubicBezTo>
                  <a:pt x="3004306" y="461839"/>
                  <a:pt x="3014908" y="469748"/>
                  <a:pt x="3025676" y="474460"/>
                </a:cubicBezTo>
                <a:cubicBezTo>
                  <a:pt x="3036446" y="479171"/>
                  <a:pt x="3046712" y="481527"/>
                  <a:pt x="3056472" y="481527"/>
                </a:cubicBezTo>
                <a:cubicBezTo>
                  <a:pt x="3068250" y="481527"/>
                  <a:pt x="3078010" y="478078"/>
                  <a:pt x="3085752" y="471178"/>
                </a:cubicBezTo>
                <a:cubicBezTo>
                  <a:pt x="3093492" y="464279"/>
                  <a:pt x="3097362" y="454435"/>
                  <a:pt x="3097362" y="441646"/>
                </a:cubicBezTo>
                <a:cubicBezTo>
                  <a:pt x="3097362" y="432559"/>
                  <a:pt x="3094248" y="423641"/>
                  <a:pt x="3088022" y="414890"/>
                </a:cubicBezTo>
                <a:cubicBezTo>
                  <a:pt x="3081796" y="406140"/>
                  <a:pt x="3073888" y="397053"/>
                  <a:pt x="3064296" y="387630"/>
                </a:cubicBezTo>
                <a:cubicBezTo>
                  <a:pt x="3054704" y="378206"/>
                  <a:pt x="3044440" y="368362"/>
                  <a:pt x="3033502" y="358097"/>
                </a:cubicBezTo>
                <a:cubicBezTo>
                  <a:pt x="3022564" y="347833"/>
                  <a:pt x="3012298" y="336727"/>
                  <a:pt x="3002708" y="324779"/>
                </a:cubicBezTo>
                <a:cubicBezTo>
                  <a:pt x="2993116" y="312831"/>
                  <a:pt x="2985206" y="299790"/>
                  <a:pt x="2978980" y="285655"/>
                </a:cubicBezTo>
                <a:cubicBezTo>
                  <a:pt x="2972754" y="271520"/>
                  <a:pt x="2969642" y="256039"/>
                  <a:pt x="2969642" y="239211"/>
                </a:cubicBezTo>
                <a:cubicBezTo>
                  <a:pt x="2969642" y="237192"/>
                  <a:pt x="2969558" y="233658"/>
                  <a:pt x="2969388" y="228610"/>
                </a:cubicBezTo>
                <a:cubicBezTo>
                  <a:pt x="2969220" y="223562"/>
                  <a:pt x="2969640" y="219355"/>
                  <a:pt x="2970650" y="215989"/>
                </a:cubicBezTo>
                <a:lnTo>
                  <a:pt x="3174600" y="215989"/>
                </a:lnTo>
                <a:lnTo>
                  <a:pt x="3174600" y="267481"/>
                </a:lnTo>
                <a:lnTo>
                  <a:pt x="3040316" y="267481"/>
                </a:lnTo>
                <a:cubicBezTo>
                  <a:pt x="3040316" y="272530"/>
                  <a:pt x="3042084" y="278083"/>
                  <a:pt x="3045618" y="284141"/>
                </a:cubicBezTo>
                <a:cubicBezTo>
                  <a:pt x="3049152" y="290198"/>
                  <a:pt x="3053442" y="296172"/>
                  <a:pt x="3058490" y="302062"/>
                </a:cubicBezTo>
                <a:cubicBezTo>
                  <a:pt x="3063538" y="307952"/>
                  <a:pt x="3068924" y="313673"/>
                  <a:pt x="3074644" y="319226"/>
                </a:cubicBezTo>
                <a:cubicBezTo>
                  <a:pt x="3080366" y="324779"/>
                  <a:pt x="3085414" y="329575"/>
                  <a:pt x="3089790" y="333613"/>
                </a:cubicBezTo>
                <a:cubicBezTo>
                  <a:pt x="3098540" y="341691"/>
                  <a:pt x="3107122" y="350104"/>
                  <a:pt x="3115536" y="358855"/>
                </a:cubicBezTo>
                <a:cubicBezTo>
                  <a:pt x="3123950" y="367605"/>
                  <a:pt x="3131522" y="376692"/>
                  <a:pt x="3138252" y="386115"/>
                </a:cubicBezTo>
                <a:cubicBezTo>
                  <a:pt x="3144984" y="395539"/>
                  <a:pt x="3150368" y="405214"/>
                  <a:pt x="3154408" y="415143"/>
                </a:cubicBezTo>
                <a:cubicBezTo>
                  <a:pt x="3158446" y="425071"/>
                  <a:pt x="3160464" y="435420"/>
                  <a:pt x="3160464" y="446189"/>
                </a:cubicBezTo>
                <a:cubicBezTo>
                  <a:pt x="3160464" y="460998"/>
                  <a:pt x="3157772" y="474039"/>
                  <a:pt x="3152388" y="485313"/>
                </a:cubicBezTo>
                <a:cubicBezTo>
                  <a:pt x="3147002" y="496588"/>
                  <a:pt x="3139766" y="505927"/>
                  <a:pt x="3130680" y="513331"/>
                </a:cubicBezTo>
                <a:cubicBezTo>
                  <a:pt x="3121594" y="520735"/>
                  <a:pt x="3111160" y="526288"/>
                  <a:pt x="3099382" y="529990"/>
                </a:cubicBezTo>
                <a:cubicBezTo>
                  <a:pt x="3087602" y="533692"/>
                  <a:pt x="3075318" y="535544"/>
                  <a:pt x="3062528" y="535544"/>
                </a:cubicBezTo>
                <a:close/>
                <a:moveTo>
                  <a:pt x="2292890" y="561290"/>
                </a:moveTo>
                <a:cubicBezTo>
                  <a:pt x="2282120" y="561290"/>
                  <a:pt x="2272949" y="557756"/>
                  <a:pt x="2265377" y="550688"/>
                </a:cubicBezTo>
                <a:cubicBezTo>
                  <a:pt x="2257805" y="543621"/>
                  <a:pt x="2254018" y="533861"/>
                  <a:pt x="2254018" y="521408"/>
                </a:cubicBezTo>
                <a:cubicBezTo>
                  <a:pt x="2254018" y="509293"/>
                  <a:pt x="2257805" y="499701"/>
                  <a:pt x="2265377" y="492633"/>
                </a:cubicBezTo>
                <a:cubicBezTo>
                  <a:pt x="2272949" y="485566"/>
                  <a:pt x="2282120" y="482032"/>
                  <a:pt x="2292890" y="482032"/>
                </a:cubicBezTo>
                <a:cubicBezTo>
                  <a:pt x="2303660" y="482032"/>
                  <a:pt x="2312914" y="485566"/>
                  <a:pt x="2320655" y="492633"/>
                </a:cubicBezTo>
                <a:cubicBezTo>
                  <a:pt x="2328396" y="499701"/>
                  <a:pt x="2332266" y="509293"/>
                  <a:pt x="2332266" y="521408"/>
                </a:cubicBezTo>
                <a:cubicBezTo>
                  <a:pt x="2332266" y="533861"/>
                  <a:pt x="2328396" y="543621"/>
                  <a:pt x="2320655" y="550688"/>
                </a:cubicBezTo>
                <a:cubicBezTo>
                  <a:pt x="2312914" y="557756"/>
                  <a:pt x="2303660" y="561290"/>
                  <a:pt x="2292890" y="561290"/>
                </a:cubicBezTo>
                <a:close/>
                <a:moveTo>
                  <a:pt x="1959420" y="563309"/>
                </a:moveTo>
                <a:lnTo>
                  <a:pt x="1959420" y="511817"/>
                </a:lnTo>
                <a:lnTo>
                  <a:pt x="2025047" y="511817"/>
                </a:lnTo>
                <a:lnTo>
                  <a:pt x="2025047" y="310392"/>
                </a:lnTo>
                <a:cubicBezTo>
                  <a:pt x="2025047" y="277746"/>
                  <a:pt x="2031610" y="252926"/>
                  <a:pt x="2044735" y="235930"/>
                </a:cubicBezTo>
                <a:cubicBezTo>
                  <a:pt x="2057860" y="218934"/>
                  <a:pt x="2078727" y="210436"/>
                  <a:pt x="2107333" y="210436"/>
                </a:cubicBezTo>
                <a:cubicBezTo>
                  <a:pt x="2117767" y="210436"/>
                  <a:pt x="2127106" y="211109"/>
                  <a:pt x="2135351" y="212455"/>
                </a:cubicBezTo>
                <a:cubicBezTo>
                  <a:pt x="2143597" y="213802"/>
                  <a:pt x="2150580" y="215400"/>
                  <a:pt x="2156302" y="217251"/>
                </a:cubicBezTo>
                <a:cubicBezTo>
                  <a:pt x="2162023" y="219102"/>
                  <a:pt x="2166650" y="220869"/>
                  <a:pt x="2170184" y="222552"/>
                </a:cubicBezTo>
                <a:cubicBezTo>
                  <a:pt x="2173718" y="224235"/>
                  <a:pt x="2175990" y="225413"/>
                  <a:pt x="2176999" y="226086"/>
                </a:cubicBezTo>
                <a:lnTo>
                  <a:pt x="2168922" y="276063"/>
                </a:lnTo>
                <a:cubicBezTo>
                  <a:pt x="2166230" y="275054"/>
                  <a:pt x="2160677" y="272866"/>
                  <a:pt x="2152263" y="269501"/>
                </a:cubicBezTo>
                <a:cubicBezTo>
                  <a:pt x="2143849" y="266135"/>
                  <a:pt x="2133416" y="264452"/>
                  <a:pt x="2120964" y="264452"/>
                </a:cubicBezTo>
                <a:cubicBezTo>
                  <a:pt x="2111204" y="264452"/>
                  <a:pt x="2103126" y="267313"/>
                  <a:pt x="2096732" y="273034"/>
                </a:cubicBezTo>
                <a:cubicBezTo>
                  <a:pt x="2090338" y="278756"/>
                  <a:pt x="2087140" y="289694"/>
                  <a:pt x="2087140" y="305848"/>
                </a:cubicBezTo>
                <a:lnTo>
                  <a:pt x="2087140" y="563309"/>
                </a:lnTo>
                <a:close/>
                <a:moveTo>
                  <a:pt x="1607052" y="565833"/>
                </a:moveTo>
                <a:cubicBezTo>
                  <a:pt x="1594263" y="565833"/>
                  <a:pt x="1581811" y="564234"/>
                  <a:pt x="1569695" y="561037"/>
                </a:cubicBezTo>
                <a:cubicBezTo>
                  <a:pt x="1557579" y="557840"/>
                  <a:pt x="1546810" y="552455"/>
                  <a:pt x="1537386" y="544883"/>
                </a:cubicBezTo>
                <a:cubicBezTo>
                  <a:pt x="1527963" y="537310"/>
                  <a:pt x="1520474" y="527214"/>
                  <a:pt x="1514921" y="514593"/>
                </a:cubicBezTo>
                <a:cubicBezTo>
                  <a:pt x="1509368" y="501973"/>
                  <a:pt x="1506592" y="486071"/>
                  <a:pt x="1506592" y="466887"/>
                </a:cubicBezTo>
                <a:lnTo>
                  <a:pt x="1506592" y="453257"/>
                </a:lnTo>
                <a:lnTo>
                  <a:pt x="1454595" y="453257"/>
                </a:lnTo>
                <a:lnTo>
                  <a:pt x="1454595" y="401765"/>
                </a:lnTo>
                <a:lnTo>
                  <a:pt x="1506592" y="401765"/>
                </a:lnTo>
                <a:lnTo>
                  <a:pt x="1506592" y="215989"/>
                </a:lnTo>
                <a:lnTo>
                  <a:pt x="1569190" y="215989"/>
                </a:lnTo>
                <a:lnTo>
                  <a:pt x="1569190" y="401765"/>
                </a:lnTo>
                <a:lnTo>
                  <a:pt x="1666621" y="401765"/>
                </a:lnTo>
                <a:lnTo>
                  <a:pt x="1666621" y="453257"/>
                </a:lnTo>
                <a:lnTo>
                  <a:pt x="1569190" y="453257"/>
                </a:lnTo>
                <a:lnTo>
                  <a:pt x="1569190" y="465878"/>
                </a:lnTo>
                <a:cubicBezTo>
                  <a:pt x="1569190" y="475974"/>
                  <a:pt x="1570368" y="484135"/>
                  <a:pt x="1572724" y="490362"/>
                </a:cubicBezTo>
                <a:cubicBezTo>
                  <a:pt x="1575080" y="496588"/>
                  <a:pt x="1578193" y="501384"/>
                  <a:pt x="1582063" y="504749"/>
                </a:cubicBezTo>
                <a:cubicBezTo>
                  <a:pt x="1585933" y="508115"/>
                  <a:pt x="1590477" y="510302"/>
                  <a:pt x="1595693" y="511312"/>
                </a:cubicBezTo>
                <a:cubicBezTo>
                  <a:pt x="1600910" y="512322"/>
                  <a:pt x="1606379" y="512826"/>
                  <a:pt x="1612100" y="512826"/>
                </a:cubicBezTo>
                <a:cubicBezTo>
                  <a:pt x="1622533" y="512826"/>
                  <a:pt x="1633555" y="511396"/>
                  <a:pt x="1645166" y="508535"/>
                </a:cubicBezTo>
                <a:cubicBezTo>
                  <a:pt x="1656777" y="505675"/>
                  <a:pt x="1666453" y="502898"/>
                  <a:pt x="1674194" y="500206"/>
                </a:cubicBezTo>
                <a:lnTo>
                  <a:pt x="1684795" y="550688"/>
                </a:lnTo>
                <a:cubicBezTo>
                  <a:pt x="1673689" y="556073"/>
                  <a:pt x="1661236" y="559943"/>
                  <a:pt x="1647438" y="562299"/>
                </a:cubicBezTo>
                <a:cubicBezTo>
                  <a:pt x="1633639" y="564655"/>
                  <a:pt x="1620178" y="565833"/>
                  <a:pt x="1607052" y="565833"/>
                </a:cubicBezTo>
                <a:close/>
                <a:moveTo>
                  <a:pt x="0" y="796029"/>
                </a:moveTo>
                <a:lnTo>
                  <a:pt x="4876802" y="796029"/>
                </a:lnTo>
                <a:lnTo>
                  <a:pt x="4824822" y="344498"/>
                </a:lnTo>
                <a:cubicBezTo>
                  <a:pt x="4801968" y="145891"/>
                  <a:pt x="4682292" y="207"/>
                  <a:pt x="4541980" y="155"/>
                </a:cubicBezTo>
                <a:lnTo>
                  <a:pt x="0" y="0"/>
                </a:lnTo>
                <a:close/>
              </a:path>
            </a:pathLst>
          </a:custGeom>
          <a:solidFill>
            <a:schemeClr val="bg1"/>
          </a:solidFill>
          <a:ln w="2834" cap="flat">
            <a:noFill/>
            <a:prstDash val="solid"/>
            <a:miter/>
          </a:ln>
        </p:spPr>
        <p:txBody>
          <a:bodyPr wrap="square" rtlCol="0" anchor="ctr">
            <a:noAutofit/>
          </a:bodyPr>
          <a:lstStyle/>
          <a:p>
            <a:endParaRPr lang="en-US" dirty="0"/>
          </a:p>
        </p:txBody>
      </p:sp>
      <p:pic>
        <p:nvPicPr>
          <p:cNvPr id="8" name="Imagen 7" descr="Un dibujo de una cara feliz&#10;&#10;Descripción generada automáticamente con confianza baja">
            <a:extLst>
              <a:ext uri="{FF2B5EF4-FFF2-40B4-BE49-F238E27FC236}">
                <a16:creationId xmlns:a16="http://schemas.microsoft.com/office/drawing/2014/main" id="{A82FAAE7-F450-2EFB-B470-9CA2B285AACF}"/>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55650" y="533400"/>
            <a:ext cx="1801936" cy="934010"/>
          </a:xfrm>
          <a:prstGeom prst="rect">
            <a:avLst/>
          </a:prstGeom>
        </p:spPr>
      </p:pic>
    </p:spTree>
    <p:extLst>
      <p:ext uri="{BB962C8B-B14F-4D97-AF65-F5344CB8AC3E}">
        <p14:creationId xmlns:p14="http://schemas.microsoft.com/office/powerpoint/2010/main" val="387430853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10" name="Rectángulo 9">
            <a:extLst>
              <a:ext uri="{FF2B5EF4-FFF2-40B4-BE49-F238E27FC236}">
                <a16:creationId xmlns:a16="http://schemas.microsoft.com/office/drawing/2014/main" id="{E7BF236D-D0D3-10D7-3261-21E349035258}"/>
              </a:ext>
            </a:extLst>
          </p:cNvPr>
          <p:cNvSpPr/>
          <p:nvPr userDrawn="1"/>
        </p:nvSpPr>
        <p:spPr>
          <a:xfrm>
            <a:off x="0" y="0"/>
            <a:ext cx="20104100" cy="113284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7" name="Imagen 6" descr="Una ola en el mar&#10;&#10;Descripción generada automáticamente con confianza media">
            <a:extLst>
              <a:ext uri="{FF2B5EF4-FFF2-40B4-BE49-F238E27FC236}">
                <a16:creationId xmlns:a16="http://schemas.microsoft.com/office/drawing/2014/main" id="{11D6965D-A3EF-7D10-846C-5AFB354A8A3C}"/>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1" y="0"/>
            <a:ext cx="10433050" cy="11328400"/>
          </a:xfrm>
          <a:prstGeom prst="rect">
            <a:avLst/>
          </a:prstGeom>
        </p:spPr>
      </p:pic>
      <p:sp>
        <p:nvSpPr>
          <p:cNvPr id="4" name="Holder 4"/>
          <p:cNvSpPr>
            <a:spLocks noGrp="1"/>
          </p:cNvSpPr>
          <p:nvPr>
            <p:ph type="ftr" sz="quarter" idx="5"/>
          </p:nvPr>
        </p:nvSpPr>
        <p:spPr>
          <a:xfrm>
            <a:off x="16647741" y="10759212"/>
            <a:ext cx="2962677" cy="200055"/>
          </a:xfrm>
          <a:prstGeom prst="rect">
            <a:avLst/>
          </a:prstGeom>
        </p:spPr>
        <p:txBody>
          <a:bodyPr lIns="0" tIns="0" rIns="0" bIns="0"/>
          <a:lstStyle>
            <a:lvl1pPr>
              <a:defRPr sz="1300" b="0" i="0">
                <a:solidFill>
                  <a:schemeClr val="bg1"/>
                </a:solidFill>
                <a:latin typeface="Ubuntu Light"/>
                <a:cs typeface="Ubuntu Light"/>
              </a:defRPr>
            </a:lvl1pPr>
          </a:lstStyle>
          <a:p>
            <a:pPr marL="26034">
              <a:spcBef>
                <a:spcPts val="30"/>
              </a:spcBef>
            </a:pPr>
            <a:r>
              <a:rPr lang="es-ES" dirty="0"/>
              <a:t>Public</a:t>
            </a:r>
            <a:r>
              <a:rPr lang="es-ES" spc="-40" dirty="0"/>
              <a:t> </a:t>
            </a:r>
            <a:r>
              <a:rPr lang="es-ES" dirty="0"/>
              <a:t>©</a:t>
            </a:r>
            <a:r>
              <a:rPr lang="es-ES" spc="-40" dirty="0"/>
              <a:t> </a:t>
            </a:r>
            <a:r>
              <a:rPr lang="es-ES" dirty="0"/>
              <a:t>2023</a:t>
            </a:r>
            <a:r>
              <a:rPr lang="es-ES" spc="-40" dirty="0"/>
              <a:t> </a:t>
            </a:r>
            <a:r>
              <a:rPr lang="es-ES" spc="-10" dirty="0"/>
              <a:t>Sogeti.</a:t>
            </a:r>
            <a:r>
              <a:rPr lang="es-ES" spc="-35" dirty="0"/>
              <a:t> </a:t>
            </a:r>
            <a:r>
              <a:rPr lang="es-ES" dirty="0" err="1"/>
              <a:t>All</a:t>
            </a:r>
            <a:r>
              <a:rPr lang="es-ES" spc="-40" dirty="0"/>
              <a:t> </a:t>
            </a:r>
            <a:r>
              <a:rPr lang="es-ES" dirty="0"/>
              <a:t>rights</a:t>
            </a:r>
            <a:r>
              <a:rPr lang="es-ES" spc="-40" dirty="0"/>
              <a:t> </a:t>
            </a:r>
            <a:r>
              <a:rPr lang="es-ES" spc="-10" dirty="0" err="1"/>
              <a:t>reserved</a:t>
            </a:r>
            <a:endParaRPr lang="es-ES" spc="-10" dirty="0"/>
          </a:p>
        </p:txBody>
      </p:sp>
      <p:sp>
        <p:nvSpPr>
          <p:cNvPr id="2" name="CuadroTexto 1">
            <a:extLst>
              <a:ext uri="{FF2B5EF4-FFF2-40B4-BE49-F238E27FC236}">
                <a16:creationId xmlns:a16="http://schemas.microsoft.com/office/drawing/2014/main" id="{72E5CF79-7DA3-E21E-3060-87CB44907F25}"/>
              </a:ext>
            </a:extLst>
          </p:cNvPr>
          <p:cNvSpPr txBox="1"/>
          <p:nvPr userDrawn="1"/>
        </p:nvSpPr>
        <p:spPr>
          <a:xfrm>
            <a:off x="755650" y="10845800"/>
            <a:ext cx="7772400" cy="292388"/>
          </a:xfrm>
          <a:prstGeom prst="rect">
            <a:avLst/>
          </a:prstGeom>
          <a:noFill/>
        </p:spPr>
        <p:txBody>
          <a:bodyPr wrap="square" rtlCol="0">
            <a:spAutoFit/>
          </a:bodyPr>
          <a:lstStyle/>
          <a:p>
            <a:r>
              <a:rPr lang="es-ES" sz="1300" b="0" i="0" dirty="0">
                <a:solidFill>
                  <a:schemeClr val="bg1"/>
                </a:solidFill>
                <a:latin typeface="Ubuntu Medium" panose="020B0504030602030204" pitchFamily="34" charset="0"/>
              </a:rPr>
              <a:t>#FlourishingDigitalBusinessWithQuality </a:t>
            </a:r>
            <a:r>
              <a:rPr lang="es-ES" sz="1300" b="1" i="0" dirty="0">
                <a:solidFill>
                  <a:schemeClr val="bg1"/>
                </a:solidFill>
                <a:latin typeface="Ubuntu" panose="020B0504030602030204" pitchFamily="34" charset="0"/>
              </a:rPr>
              <a:t> ·</a:t>
            </a:r>
            <a:r>
              <a:rPr lang="es-ES" sz="1300" b="0" i="0" dirty="0">
                <a:solidFill>
                  <a:schemeClr val="bg1"/>
                </a:solidFill>
                <a:latin typeface="Ubuntu Medium" panose="020B0504030602030204" pitchFamily="34" charset="0"/>
              </a:rPr>
              <a:t>   </a:t>
            </a:r>
            <a:r>
              <a:rPr lang="es-ES" sz="1300" b="0" i="0" dirty="0" err="1">
                <a:solidFill>
                  <a:schemeClr val="bg1"/>
                </a:solidFill>
                <a:latin typeface="Ubuntu Medium" panose="020B0504030602030204" pitchFamily="34" charset="0"/>
              </a:rPr>
              <a:t>by</a:t>
            </a:r>
            <a:r>
              <a:rPr lang="es-ES" sz="1300" b="0" i="0" dirty="0">
                <a:solidFill>
                  <a:schemeClr val="bg1"/>
                </a:solidFill>
                <a:latin typeface="Ubuntu Medium" panose="020B0504030602030204" pitchFamily="34" charset="0"/>
              </a:rPr>
              <a:t> </a:t>
            </a:r>
            <a:r>
              <a:rPr lang="es-ES" sz="1300" b="1" i="0" dirty="0">
                <a:solidFill>
                  <a:schemeClr val="bg1"/>
                </a:solidFill>
                <a:latin typeface="Ubuntu" panose="020B0504030602030204" pitchFamily="34" charset="0"/>
              </a:rPr>
              <a:t>Sogeti España</a:t>
            </a:r>
          </a:p>
        </p:txBody>
      </p:sp>
      <p:sp>
        <p:nvSpPr>
          <p:cNvPr id="5" name="Forma libre 4">
            <a:extLst>
              <a:ext uri="{FF2B5EF4-FFF2-40B4-BE49-F238E27FC236}">
                <a16:creationId xmlns:a16="http://schemas.microsoft.com/office/drawing/2014/main" id="{FBAABD7F-C513-9B40-6AE2-E43DB3944CCE}"/>
              </a:ext>
            </a:extLst>
          </p:cNvPr>
          <p:cNvSpPr/>
          <p:nvPr userDrawn="1"/>
        </p:nvSpPr>
        <p:spPr>
          <a:xfrm flipV="1">
            <a:off x="755650" y="10384024"/>
            <a:ext cx="2362200" cy="385576"/>
          </a:xfrm>
          <a:custGeom>
            <a:avLst/>
            <a:gdLst/>
            <a:ahLst/>
            <a:cxnLst/>
            <a:rect l="l" t="t" r="r" b="b"/>
            <a:pathLst>
              <a:path w="4876802" h="796029">
                <a:moveTo>
                  <a:pt x="2572782" y="405299"/>
                </a:moveTo>
                <a:cubicBezTo>
                  <a:pt x="2589609" y="405299"/>
                  <a:pt x="2601809" y="398820"/>
                  <a:pt x="2609382" y="385863"/>
                </a:cubicBezTo>
                <a:cubicBezTo>
                  <a:pt x="2616954" y="372906"/>
                  <a:pt x="2620740" y="355826"/>
                  <a:pt x="2620740" y="334623"/>
                </a:cubicBezTo>
                <a:cubicBezTo>
                  <a:pt x="2620740" y="313420"/>
                  <a:pt x="2616618" y="296256"/>
                  <a:pt x="2608372" y="283131"/>
                </a:cubicBezTo>
                <a:cubicBezTo>
                  <a:pt x="2600126" y="270006"/>
                  <a:pt x="2587927" y="263443"/>
                  <a:pt x="2571772" y="263443"/>
                </a:cubicBezTo>
                <a:cubicBezTo>
                  <a:pt x="2554945" y="263443"/>
                  <a:pt x="2542744" y="270006"/>
                  <a:pt x="2535172" y="283131"/>
                </a:cubicBezTo>
                <a:cubicBezTo>
                  <a:pt x="2527600" y="296256"/>
                  <a:pt x="2523814" y="313420"/>
                  <a:pt x="2523814" y="334623"/>
                </a:cubicBezTo>
                <a:cubicBezTo>
                  <a:pt x="2523814" y="355826"/>
                  <a:pt x="2527937" y="372906"/>
                  <a:pt x="2536182" y="385863"/>
                </a:cubicBezTo>
                <a:cubicBezTo>
                  <a:pt x="2544428" y="398820"/>
                  <a:pt x="2556628" y="405299"/>
                  <a:pt x="2572782" y="405299"/>
                </a:cubicBezTo>
                <a:close/>
                <a:moveTo>
                  <a:pt x="1810782" y="405299"/>
                </a:moveTo>
                <a:cubicBezTo>
                  <a:pt x="1827610" y="405299"/>
                  <a:pt x="1839810" y="398820"/>
                  <a:pt x="1847382" y="385863"/>
                </a:cubicBezTo>
                <a:cubicBezTo>
                  <a:pt x="1854954" y="372906"/>
                  <a:pt x="1858740" y="355826"/>
                  <a:pt x="1858740" y="334623"/>
                </a:cubicBezTo>
                <a:cubicBezTo>
                  <a:pt x="1858740" y="313420"/>
                  <a:pt x="1854618" y="296256"/>
                  <a:pt x="1846372" y="283131"/>
                </a:cubicBezTo>
                <a:cubicBezTo>
                  <a:pt x="1838127" y="270006"/>
                  <a:pt x="1825927" y="263443"/>
                  <a:pt x="1809772" y="263443"/>
                </a:cubicBezTo>
                <a:cubicBezTo>
                  <a:pt x="1792945" y="263443"/>
                  <a:pt x="1780745" y="270006"/>
                  <a:pt x="1773173" y="283131"/>
                </a:cubicBezTo>
                <a:cubicBezTo>
                  <a:pt x="1765600" y="296256"/>
                  <a:pt x="1761814" y="313420"/>
                  <a:pt x="1761814" y="334623"/>
                </a:cubicBezTo>
                <a:cubicBezTo>
                  <a:pt x="1761814" y="355826"/>
                  <a:pt x="1765937" y="372906"/>
                  <a:pt x="1774182" y="385863"/>
                </a:cubicBezTo>
                <a:cubicBezTo>
                  <a:pt x="1782428" y="398820"/>
                  <a:pt x="1794628" y="405299"/>
                  <a:pt x="1810782" y="405299"/>
                </a:cubicBezTo>
                <a:close/>
                <a:moveTo>
                  <a:pt x="810657" y="405299"/>
                </a:moveTo>
                <a:cubicBezTo>
                  <a:pt x="827485" y="405299"/>
                  <a:pt x="839684" y="398820"/>
                  <a:pt x="847257" y="385863"/>
                </a:cubicBezTo>
                <a:cubicBezTo>
                  <a:pt x="854829" y="372906"/>
                  <a:pt x="858615" y="355826"/>
                  <a:pt x="858616" y="334623"/>
                </a:cubicBezTo>
                <a:cubicBezTo>
                  <a:pt x="858615" y="313420"/>
                  <a:pt x="854493" y="296256"/>
                  <a:pt x="846247" y="283131"/>
                </a:cubicBezTo>
                <a:cubicBezTo>
                  <a:pt x="838002" y="270006"/>
                  <a:pt x="825802" y="263443"/>
                  <a:pt x="809647" y="263443"/>
                </a:cubicBezTo>
                <a:cubicBezTo>
                  <a:pt x="792820" y="263443"/>
                  <a:pt x="780620" y="270006"/>
                  <a:pt x="773048" y="283131"/>
                </a:cubicBezTo>
                <a:cubicBezTo>
                  <a:pt x="765475" y="296256"/>
                  <a:pt x="761689" y="313420"/>
                  <a:pt x="761689" y="334623"/>
                </a:cubicBezTo>
                <a:cubicBezTo>
                  <a:pt x="761689" y="355826"/>
                  <a:pt x="765812" y="372906"/>
                  <a:pt x="774057" y="385863"/>
                </a:cubicBezTo>
                <a:cubicBezTo>
                  <a:pt x="782303" y="398820"/>
                  <a:pt x="794503" y="405299"/>
                  <a:pt x="810657" y="405299"/>
                </a:cubicBezTo>
                <a:close/>
                <a:moveTo>
                  <a:pt x="3325256" y="411861"/>
                </a:moveTo>
                <a:cubicBezTo>
                  <a:pt x="3316506" y="411861"/>
                  <a:pt x="3309608" y="408496"/>
                  <a:pt x="3304560" y="401765"/>
                </a:cubicBezTo>
                <a:cubicBezTo>
                  <a:pt x="3299512" y="395034"/>
                  <a:pt x="3296988" y="387125"/>
                  <a:pt x="3296988" y="378038"/>
                </a:cubicBezTo>
                <a:cubicBezTo>
                  <a:pt x="3296988" y="368951"/>
                  <a:pt x="3299512" y="361126"/>
                  <a:pt x="3304560" y="354564"/>
                </a:cubicBezTo>
                <a:cubicBezTo>
                  <a:pt x="3309608" y="348001"/>
                  <a:pt x="3316506" y="344720"/>
                  <a:pt x="3325256" y="344720"/>
                </a:cubicBezTo>
                <a:cubicBezTo>
                  <a:pt x="3333334" y="344720"/>
                  <a:pt x="3339980" y="348001"/>
                  <a:pt x="3345198" y="354564"/>
                </a:cubicBezTo>
                <a:cubicBezTo>
                  <a:pt x="3350414" y="361126"/>
                  <a:pt x="3353022" y="368951"/>
                  <a:pt x="3353022" y="378038"/>
                </a:cubicBezTo>
                <a:cubicBezTo>
                  <a:pt x="3353022" y="387125"/>
                  <a:pt x="3350414" y="395034"/>
                  <a:pt x="3345198" y="401765"/>
                </a:cubicBezTo>
                <a:cubicBezTo>
                  <a:pt x="3339980" y="408496"/>
                  <a:pt x="3333334" y="411861"/>
                  <a:pt x="3325256" y="411861"/>
                </a:cubicBezTo>
                <a:close/>
                <a:moveTo>
                  <a:pt x="2207070" y="453257"/>
                </a:moveTo>
                <a:lnTo>
                  <a:pt x="2207070" y="401765"/>
                </a:lnTo>
                <a:lnTo>
                  <a:pt x="2272697" y="401765"/>
                </a:lnTo>
                <a:lnTo>
                  <a:pt x="2272697" y="314430"/>
                </a:lnTo>
                <a:cubicBezTo>
                  <a:pt x="2272697" y="297939"/>
                  <a:pt x="2274043" y="283299"/>
                  <a:pt x="2276735" y="270510"/>
                </a:cubicBezTo>
                <a:cubicBezTo>
                  <a:pt x="2279428" y="257721"/>
                  <a:pt x="2284055" y="246868"/>
                  <a:pt x="2290618" y="237949"/>
                </a:cubicBezTo>
                <a:cubicBezTo>
                  <a:pt x="2297181" y="229031"/>
                  <a:pt x="2305931" y="222215"/>
                  <a:pt x="2316869" y="217504"/>
                </a:cubicBezTo>
                <a:cubicBezTo>
                  <a:pt x="2327807" y="212792"/>
                  <a:pt x="2341353" y="210436"/>
                  <a:pt x="2357508" y="210436"/>
                </a:cubicBezTo>
                <a:cubicBezTo>
                  <a:pt x="2366931" y="210436"/>
                  <a:pt x="2377280" y="211530"/>
                  <a:pt x="2388554" y="213718"/>
                </a:cubicBezTo>
                <a:cubicBezTo>
                  <a:pt x="2399829" y="215905"/>
                  <a:pt x="2411860" y="220028"/>
                  <a:pt x="2424649" y="226086"/>
                </a:cubicBezTo>
                <a:lnTo>
                  <a:pt x="2416572" y="276063"/>
                </a:lnTo>
                <a:cubicBezTo>
                  <a:pt x="2406475" y="271352"/>
                  <a:pt x="2397388" y="268239"/>
                  <a:pt x="2389312" y="266724"/>
                </a:cubicBezTo>
                <a:cubicBezTo>
                  <a:pt x="2381234" y="265210"/>
                  <a:pt x="2374335" y="264452"/>
                  <a:pt x="2368614" y="264452"/>
                </a:cubicBezTo>
                <a:cubicBezTo>
                  <a:pt x="2356498" y="264452"/>
                  <a:pt x="2347832" y="267902"/>
                  <a:pt x="2342615" y="274801"/>
                </a:cubicBezTo>
                <a:cubicBezTo>
                  <a:pt x="2337398" y="281701"/>
                  <a:pt x="2334790" y="292218"/>
                  <a:pt x="2334790" y="306353"/>
                </a:cubicBezTo>
                <a:lnTo>
                  <a:pt x="2334790" y="453257"/>
                </a:lnTo>
                <a:close/>
                <a:moveTo>
                  <a:pt x="1088092" y="457800"/>
                </a:moveTo>
                <a:cubicBezTo>
                  <a:pt x="1064870" y="457800"/>
                  <a:pt x="1044593" y="455949"/>
                  <a:pt x="1027260" y="452247"/>
                </a:cubicBezTo>
                <a:cubicBezTo>
                  <a:pt x="1009928" y="448545"/>
                  <a:pt x="993016" y="443665"/>
                  <a:pt x="976526" y="437607"/>
                </a:cubicBezTo>
                <a:lnTo>
                  <a:pt x="976526" y="215989"/>
                </a:lnTo>
                <a:lnTo>
                  <a:pt x="1039124" y="215989"/>
                </a:lnTo>
                <a:lnTo>
                  <a:pt x="1039124" y="392173"/>
                </a:lnTo>
                <a:cubicBezTo>
                  <a:pt x="1047874" y="394529"/>
                  <a:pt x="1056456" y="396128"/>
                  <a:pt x="1064870" y="396969"/>
                </a:cubicBezTo>
                <a:cubicBezTo>
                  <a:pt x="1073284" y="397810"/>
                  <a:pt x="1081866" y="398231"/>
                  <a:pt x="1090616" y="398231"/>
                </a:cubicBezTo>
                <a:cubicBezTo>
                  <a:pt x="1094318" y="398231"/>
                  <a:pt x="1098861" y="398063"/>
                  <a:pt x="1104246" y="397726"/>
                </a:cubicBezTo>
                <a:cubicBezTo>
                  <a:pt x="1109631" y="397390"/>
                  <a:pt x="1115184" y="396801"/>
                  <a:pt x="1120905" y="395959"/>
                </a:cubicBezTo>
                <a:cubicBezTo>
                  <a:pt x="1126627" y="395118"/>
                  <a:pt x="1132264" y="394192"/>
                  <a:pt x="1137817" y="393183"/>
                </a:cubicBezTo>
                <a:cubicBezTo>
                  <a:pt x="1143370" y="392173"/>
                  <a:pt x="1148166" y="391164"/>
                  <a:pt x="1152205" y="390154"/>
                </a:cubicBezTo>
                <a:lnTo>
                  <a:pt x="1163311" y="447704"/>
                </a:lnTo>
                <a:cubicBezTo>
                  <a:pt x="1157589" y="449723"/>
                  <a:pt x="1151111" y="451322"/>
                  <a:pt x="1143875" y="452500"/>
                </a:cubicBezTo>
                <a:cubicBezTo>
                  <a:pt x="1136639" y="453678"/>
                  <a:pt x="1129487" y="454687"/>
                  <a:pt x="1122420" y="455529"/>
                </a:cubicBezTo>
                <a:cubicBezTo>
                  <a:pt x="1115352" y="456370"/>
                  <a:pt x="1108706" y="456959"/>
                  <a:pt x="1102479" y="457296"/>
                </a:cubicBezTo>
                <a:cubicBezTo>
                  <a:pt x="1096253" y="457632"/>
                  <a:pt x="1091457" y="457800"/>
                  <a:pt x="1088092" y="457800"/>
                </a:cubicBezTo>
                <a:close/>
                <a:moveTo>
                  <a:pt x="2572782" y="459315"/>
                </a:moveTo>
                <a:cubicBezTo>
                  <a:pt x="2556628" y="459315"/>
                  <a:pt x="2541651" y="456370"/>
                  <a:pt x="2527852" y="450480"/>
                </a:cubicBezTo>
                <a:cubicBezTo>
                  <a:pt x="2514054" y="444591"/>
                  <a:pt x="2502190" y="436177"/>
                  <a:pt x="2492262" y="425239"/>
                </a:cubicBezTo>
                <a:cubicBezTo>
                  <a:pt x="2482334" y="414301"/>
                  <a:pt x="2474594" y="401176"/>
                  <a:pt x="2469040" y="385863"/>
                </a:cubicBezTo>
                <a:cubicBezTo>
                  <a:pt x="2463487" y="370550"/>
                  <a:pt x="2460711" y="353638"/>
                  <a:pt x="2460711" y="335128"/>
                </a:cubicBezTo>
                <a:cubicBezTo>
                  <a:pt x="2460711" y="316281"/>
                  <a:pt x="2463403" y="299201"/>
                  <a:pt x="2468788" y="283888"/>
                </a:cubicBezTo>
                <a:cubicBezTo>
                  <a:pt x="2474173" y="268575"/>
                  <a:pt x="2481829" y="255366"/>
                  <a:pt x="2491758" y="244259"/>
                </a:cubicBezTo>
                <a:cubicBezTo>
                  <a:pt x="2501686" y="233153"/>
                  <a:pt x="2513465" y="224571"/>
                  <a:pt x="2527095" y="218513"/>
                </a:cubicBezTo>
                <a:cubicBezTo>
                  <a:pt x="2540726" y="212455"/>
                  <a:pt x="2555954" y="209427"/>
                  <a:pt x="2572782" y="209427"/>
                </a:cubicBezTo>
                <a:cubicBezTo>
                  <a:pt x="2589609" y="209427"/>
                  <a:pt x="2604838" y="212455"/>
                  <a:pt x="2618468" y="218513"/>
                </a:cubicBezTo>
                <a:cubicBezTo>
                  <a:pt x="2632098" y="224571"/>
                  <a:pt x="2643794" y="233153"/>
                  <a:pt x="2653554" y="244259"/>
                </a:cubicBezTo>
                <a:cubicBezTo>
                  <a:pt x="2663314" y="255366"/>
                  <a:pt x="2670886" y="268575"/>
                  <a:pt x="2676271" y="283888"/>
                </a:cubicBezTo>
                <a:cubicBezTo>
                  <a:pt x="2681656" y="299201"/>
                  <a:pt x="2684348" y="316281"/>
                  <a:pt x="2684348" y="335128"/>
                </a:cubicBezTo>
                <a:cubicBezTo>
                  <a:pt x="2684348" y="353638"/>
                  <a:pt x="2681656" y="370550"/>
                  <a:pt x="2676271" y="385863"/>
                </a:cubicBezTo>
                <a:cubicBezTo>
                  <a:pt x="2670886" y="401176"/>
                  <a:pt x="2663230" y="414301"/>
                  <a:pt x="2653302" y="425239"/>
                </a:cubicBezTo>
                <a:cubicBezTo>
                  <a:pt x="2643373" y="436177"/>
                  <a:pt x="2631594" y="444591"/>
                  <a:pt x="2617964" y="450480"/>
                </a:cubicBezTo>
                <a:cubicBezTo>
                  <a:pt x="2604334" y="456370"/>
                  <a:pt x="2589273" y="459315"/>
                  <a:pt x="2572782" y="459315"/>
                </a:cubicBezTo>
                <a:close/>
                <a:moveTo>
                  <a:pt x="1810782" y="459315"/>
                </a:moveTo>
                <a:cubicBezTo>
                  <a:pt x="1794628" y="459315"/>
                  <a:pt x="1779651" y="456370"/>
                  <a:pt x="1765853" y="450480"/>
                </a:cubicBezTo>
                <a:cubicBezTo>
                  <a:pt x="1752054" y="444591"/>
                  <a:pt x="1740191" y="436177"/>
                  <a:pt x="1730262" y="425239"/>
                </a:cubicBezTo>
                <a:cubicBezTo>
                  <a:pt x="1720334" y="414301"/>
                  <a:pt x="1712594" y="401176"/>
                  <a:pt x="1707040" y="385863"/>
                </a:cubicBezTo>
                <a:cubicBezTo>
                  <a:pt x="1701488" y="370550"/>
                  <a:pt x="1698711" y="353638"/>
                  <a:pt x="1698711" y="335128"/>
                </a:cubicBezTo>
                <a:cubicBezTo>
                  <a:pt x="1698711" y="316281"/>
                  <a:pt x="1701403" y="299201"/>
                  <a:pt x="1706788" y="283888"/>
                </a:cubicBezTo>
                <a:cubicBezTo>
                  <a:pt x="1712173" y="268575"/>
                  <a:pt x="1719829" y="255366"/>
                  <a:pt x="1729758" y="244259"/>
                </a:cubicBezTo>
                <a:cubicBezTo>
                  <a:pt x="1739686" y="233153"/>
                  <a:pt x="1751465" y="224571"/>
                  <a:pt x="1765095" y="218513"/>
                </a:cubicBezTo>
                <a:cubicBezTo>
                  <a:pt x="1778726" y="212455"/>
                  <a:pt x="1793954" y="209427"/>
                  <a:pt x="1810782" y="209427"/>
                </a:cubicBezTo>
                <a:cubicBezTo>
                  <a:pt x="1827610" y="209427"/>
                  <a:pt x="1842838" y="212455"/>
                  <a:pt x="1856469" y="218513"/>
                </a:cubicBezTo>
                <a:cubicBezTo>
                  <a:pt x="1870099" y="224571"/>
                  <a:pt x="1881794" y="233153"/>
                  <a:pt x="1891554" y="244259"/>
                </a:cubicBezTo>
                <a:cubicBezTo>
                  <a:pt x="1901314" y="255366"/>
                  <a:pt x="1908886" y="268575"/>
                  <a:pt x="1914271" y="283888"/>
                </a:cubicBezTo>
                <a:cubicBezTo>
                  <a:pt x="1919656" y="299201"/>
                  <a:pt x="1922348" y="316281"/>
                  <a:pt x="1922348" y="335128"/>
                </a:cubicBezTo>
                <a:cubicBezTo>
                  <a:pt x="1922348" y="353638"/>
                  <a:pt x="1919656" y="370550"/>
                  <a:pt x="1914271" y="385863"/>
                </a:cubicBezTo>
                <a:cubicBezTo>
                  <a:pt x="1908886" y="401176"/>
                  <a:pt x="1901230" y="414301"/>
                  <a:pt x="1891302" y="425239"/>
                </a:cubicBezTo>
                <a:cubicBezTo>
                  <a:pt x="1881374" y="436177"/>
                  <a:pt x="1869594" y="444591"/>
                  <a:pt x="1855964" y="450480"/>
                </a:cubicBezTo>
                <a:cubicBezTo>
                  <a:pt x="1842334" y="456370"/>
                  <a:pt x="1827273" y="459315"/>
                  <a:pt x="1810782" y="459315"/>
                </a:cubicBezTo>
                <a:close/>
                <a:moveTo>
                  <a:pt x="810657" y="459315"/>
                </a:moveTo>
                <a:cubicBezTo>
                  <a:pt x="794503" y="459315"/>
                  <a:pt x="779526" y="456370"/>
                  <a:pt x="765728" y="450480"/>
                </a:cubicBezTo>
                <a:cubicBezTo>
                  <a:pt x="751929" y="444591"/>
                  <a:pt x="740066" y="436177"/>
                  <a:pt x="730138" y="425239"/>
                </a:cubicBezTo>
                <a:cubicBezTo>
                  <a:pt x="720209" y="414301"/>
                  <a:pt x="712469" y="401176"/>
                  <a:pt x="706916" y="385863"/>
                </a:cubicBezTo>
                <a:cubicBezTo>
                  <a:pt x="701362" y="370550"/>
                  <a:pt x="698586" y="353638"/>
                  <a:pt x="698586" y="335128"/>
                </a:cubicBezTo>
                <a:cubicBezTo>
                  <a:pt x="698586" y="316281"/>
                  <a:pt x="701278" y="299201"/>
                  <a:pt x="706663" y="283888"/>
                </a:cubicBezTo>
                <a:cubicBezTo>
                  <a:pt x="712048" y="268575"/>
                  <a:pt x="719704" y="255366"/>
                  <a:pt x="729633" y="244259"/>
                </a:cubicBezTo>
                <a:cubicBezTo>
                  <a:pt x="739561" y="233153"/>
                  <a:pt x="751340" y="224571"/>
                  <a:pt x="764970" y="218513"/>
                </a:cubicBezTo>
                <a:cubicBezTo>
                  <a:pt x="778601" y="212455"/>
                  <a:pt x="793830" y="209427"/>
                  <a:pt x="810657" y="209427"/>
                </a:cubicBezTo>
                <a:cubicBezTo>
                  <a:pt x="827485" y="209427"/>
                  <a:pt x="842713" y="212455"/>
                  <a:pt x="856344" y="218513"/>
                </a:cubicBezTo>
                <a:cubicBezTo>
                  <a:pt x="869974" y="224571"/>
                  <a:pt x="881669" y="233153"/>
                  <a:pt x="891429" y="244259"/>
                </a:cubicBezTo>
                <a:cubicBezTo>
                  <a:pt x="901189" y="255366"/>
                  <a:pt x="908761" y="268575"/>
                  <a:pt x="914146" y="283888"/>
                </a:cubicBezTo>
                <a:cubicBezTo>
                  <a:pt x="919531" y="299201"/>
                  <a:pt x="922223" y="316281"/>
                  <a:pt x="922223" y="335128"/>
                </a:cubicBezTo>
                <a:cubicBezTo>
                  <a:pt x="922223" y="353638"/>
                  <a:pt x="919531" y="370550"/>
                  <a:pt x="914146" y="385863"/>
                </a:cubicBezTo>
                <a:cubicBezTo>
                  <a:pt x="908761" y="401176"/>
                  <a:pt x="901105" y="414301"/>
                  <a:pt x="891177" y="425239"/>
                </a:cubicBezTo>
                <a:cubicBezTo>
                  <a:pt x="881248" y="436177"/>
                  <a:pt x="869469" y="444591"/>
                  <a:pt x="855839" y="450480"/>
                </a:cubicBezTo>
                <a:cubicBezTo>
                  <a:pt x="842209" y="456370"/>
                  <a:pt x="827148" y="459315"/>
                  <a:pt x="810657" y="459315"/>
                </a:cubicBezTo>
                <a:close/>
                <a:moveTo>
                  <a:pt x="546919" y="477993"/>
                </a:moveTo>
                <a:cubicBezTo>
                  <a:pt x="563410" y="477993"/>
                  <a:pt x="576620" y="474207"/>
                  <a:pt x="586548" y="466635"/>
                </a:cubicBezTo>
                <a:cubicBezTo>
                  <a:pt x="596476" y="459062"/>
                  <a:pt x="601441" y="446189"/>
                  <a:pt x="601441" y="428016"/>
                </a:cubicBezTo>
                <a:cubicBezTo>
                  <a:pt x="601441" y="408832"/>
                  <a:pt x="596392" y="395286"/>
                  <a:pt x="586296" y="387377"/>
                </a:cubicBezTo>
                <a:cubicBezTo>
                  <a:pt x="576199" y="379468"/>
                  <a:pt x="561223" y="375514"/>
                  <a:pt x="541366" y="375514"/>
                </a:cubicBezTo>
                <a:lnTo>
                  <a:pt x="516125" y="375514"/>
                </a:lnTo>
                <a:lnTo>
                  <a:pt x="516125" y="476479"/>
                </a:lnTo>
                <a:cubicBezTo>
                  <a:pt x="519827" y="477152"/>
                  <a:pt x="524960" y="477573"/>
                  <a:pt x="531522" y="477741"/>
                </a:cubicBezTo>
                <a:cubicBezTo>
                  <a:pt x="538085" y="477909"/>
                  <a:pt x="543217" y="477993"/>
                  <a:pt x="546919" y="477993"/>
                </a:cubicBezTo>
                <a:close/>
                <a:moveTo>
                  <a:pt x="3324752" y="482537"/>
                </a:moveTo>
                <a:cubicBezTo>
                  <a:pt x="3341916" y="482537"/>
                  <a:pt x="3354958" y="473198"/>
                  <a:pt x="3363876" y="454519"/>
                </a:cubicBezTo>
                <a:cubicBezTo>
                  <a:pt x="3372794" y="435841"/>
                  <a:pt x="3377254" y="408664"/>
                  <a:pt x="3377254" y="372990"/>
                </a:cubicBezTo>
                <a:cubicBezTo>
                  <a:pt x="3377254" y="336979"/>
                  <a:pt x="3372794" y="309634"/>
                  <a:pt x="3363876" y="290956"/>
                </a:cubicBezTo>
                <a:cubicBezTo>
                  <a:pt x="3354958" y="272277"/>
                  <a:pt x="3341916" y="262938"/>
                  <a:pt x="3324752" y="262938"/>
                </a:cubicBezTo>
                <a:cubicBezTo>
                  <a:pt x="3307924" y="262938"/>
                  <a:pt x="3294968" y="272277"/>
                  <a:pt x="3285880" y="290956"/>
                </a:cubicBezTo>
                <a:cubicBezTo>
                  <a:pt x="3276794" y="309634"/>
                  <a:pt x="3272250" y="336979"/>
                  <a:pt x="3272250" y="372990"/>
                </a:cubicBezTo>
                <a:cubicBezTo>
                  <a:pt x="3272250" y="408664"/>
                  <a:pt x="3276794" y="435841"/>
                  <a:pt x="3285880" y="454519"/>
                </a:cubicBezTo>
                <a:cubicBezTo>
                  <a:pt x="3294968" y="473198"/>
                  <a:pt x="3307924" y="482537"/>
                  <a:pt x="3324752" y="482537"/>
                </a:cubicBezTo>
                <a:close/>
                <a:moveTo>
                  <a:pt x="1323054" y="522923"/>
                </a:moveTo>
                <a:lnTo>
                  <a:pt x="1260961" y="512826"/>
                </a:lnTo>
                <a:lnTo>
                  <a:pt x="1260961" y="453257"/>
                </a:lnTo>
                <a:lnTo>
                  <a:pt x="1206945" y="453257"/>
                </a:lnTo>
                <a:lnTo>
                  <a:pt x="1206945" y="401765"/>
                </a:lnTo>
                <a:lnTo>
                  <a:pt x="1260961" y="401765"/>
                </a:lnTo>
                <a:lnTo>
                  <a:pt x="1260961" y="304334"/>
                </a:lnTo>
                <a:cubicBezTo>
                  <a:pt x="1260961" y="284477"/>
                  <a:pt x="1262980" y="268407"/>
                  <a:pt x="1267019" y="256123"/>
                </a:cubicBezTo>
                <a:cubicBezTo>
                  <a:pt x="1271057" y="243839"/>
                  <a:pt x="1276947" y="234331"/>
                  <a:pt x="1284688" y="227600"/>
                </a:cubicBezTo>
                <a:cubicBezTo>
                  <a:pt x="1292428" y="220869"/>
                  <a:pt x="1301852" y="216326"/>
                  <a:pt x="1312958" y="213970"/>
                </a:cubicBezTo>
                <a:cubicBezTo>
                  <a:pt x="1324064" y="211614"/>
                  <a:pt x="1336853" y="210436"/>
                  <a:pt x="1351325" y="210436"/>
                </a:cubicBezTo>
                <a:cubicBezTo>
                  <a:pt x="1363777" y="210436"/>
                  <a:pt x="1376650" y="211446"/>
                  <a:pt x="1389944" y="213465"/>
                </a:cubicBezTo>
                <a:cubicBezTo>
                  <a:pt x="1403238" y="215484"/>
                  <a:pt x="1415606" y="218850"/>
                  <a:pt x="1427048" y="223562"/>
                </a:cubicBezTo>
                <a:lnTo>
                  <a:pt x="1418466" y="277073"/>
                </a:lnTo>
                <a:cubicBezTo>
                  <a:pt x="1412745" y="274381"/>
                  <a:pt x="1407444" y="272193"/>
                  <a:pt x="1402564" y="270510"/>
                </a:cubicBezTo>
                <a:cubicBezTo>
                  <a:pt x="1397684" y="268828"/>
                  <a:pt x="1392973" y="267566"/>
                  <a:pt x="1388429" y="266724"/>
                </a:cubicBezTo>
                <a:cubicBezTo>
                  <a:pt x="1383886" y="265883"/>
                  <a:pt x="1379174" y="265294"/>
                  <a:pt x="1374294" y="264957"/>
                </a:cubicBezTo>
                <a:cubicBezTo>
                  <a:pt x="1369414" y="264621"/>
                  <a:pt x="1364114" y="264452"/>
                  <a:pt x="1358392" y="264452"/>
                </a:cubicBezTo>
                <a:cubicBezTo>
                  <a:pt x="1353007" y="264452"/>
                  <a:pt x="1348127" y="264957"/>
                  <a:pt x="1343752" y="265967"/>
                </a:cubicBezTo>
                <a:cubicBezTo>
                  <a:pt x="1339377" y="266977"/>
                  <a:pt x="1335675" y="268996"/>
                  <a:pt x="1332646" y="272025"/>
                </a:cubicBezTo>
                <a:cubicBezTo>
                  <a:pt x="1329617" y="275054"/>
                  <a:pt x="1327261" y="279261"/>
                  <a:pt x="1325579" y="284645"/>
                </a:cubicBezTo>
                <a:cubicBezTo>
                  <a:pt x="1323896" y="290030"/>
                  <a:pt x="1323054" y="297098"/>
                  <a:pt x="1323054" y="305848"/>
                </a:cubicBezTo>
                <a:lnTo>
                  <a:pt x="1323054" y="401765"/>
                </a:lnTo>
                <a:lnTo>
                  <a:pt x="1422505" y="401765"/>
                </a:lnTo>
                <a:lnTo>
                  <a:pt x="1422505" y="453257"/>
                </a:lnTo>
                <a:lnTo>
                  <a:pt x="1323054" y="453257"/>
                </a:lnTo>
                <a:close/>
                <a:moveTo>
                  <a:pt x="539852" y="532010"/>
                </a:moveTo>
                <a:cubicBezTo>
                  <a:pt x="534131" y="532010"/>
                  <a:pt x="527568" y="531841"/>
                  <a:pt x="520164" y="531505"/>
                </a:cubicBezTo>
                <a:cubicBezTo>
                  <a:pt x="512760" y="531168"/>
                  <a:pt x="505187" y="530748"/>
                  <a:pt x="497447" y="530243"/>
                </a:cubicBezTo>
                <a:cubicBezTo>
                  <a:pt x="489706" y="529738"/>
                  <a:pt x="482049" y="528981"/>
                  <a:pt x="474477" y="527971"/>
                </a:cubicBezTo>
                <a:cubicBezTo>
                  <a:pt x="466905" y="526961"/>
                  <a:pt x="460090" y="525784"/>
                  <a:pt x="454032" y="524437"/>
                </a:cubicBezTo>
                <a:lnTo>
                  <a:pt x="454032" y="215989"/>
                </a:lnTo>
                <a:lnTo>
                  <a:pt x="516125" y="215989"/>
                </a:lnTo>
                <a:lnTo>
                  <a:pt x="516125" y="321498"/>
                </a:lnTo>
                <a:lnTo>
                  <a:pt x="538337" y="321498"/>
                </a:lnTo>
                <a:cubicBezTo>
                  <a:pt x="578723" y="321498"/>
                  <a:pt x="609938" y="329827"/>
                  <a:pt x="631982" y="346486"/>
                </a:cubicBezTo>
                <a:cubicBezTo>
                  <a:pt x="654026" y="363146"/>
                  <a:pt x="665048" y="390154"/>
                  <a:pt x="665048" y="427511"/>
                </a:cubicBezTo>
                <a:cubicBezTo>
                  <a:pt x="665048" y="464531"/>
                  <a:pt x="654111" y="491203"/>
                  <a:pt x="632235" y="507526"/>
                </a:cubicBezTo>
                <a:cubicBezTo>
                  <a:pt x="610359" y="523848"/>
                  <a:pt x="579565" y="532010"/>
                  <a:pt x="539852" y="532010"/>
                </a:cubicBezTo>
                <a:close/>
                <a:moveTo>
                  <a:pt x="3816452" y="535544"/>
                </a:moveTo>
                <a:cubicBezTo>
                  <a:pt x="3797604" y="535544"/>
                  <a:pt x="3780694" y="532430"/>
                  <a:pt x="3765716" y="526204"/>
                </a:cubicBezTo>
                <a:cubicBezTo>
                  <a:pt x="3750740" y="519978"/>
                  <a:pt x="3738708" y="513836"/>
                  <a:pt x="3729622" y="507778"/>
                </a:cubicBezTo>
                <a:lnTo>
                  <a:pt x="3751834" y="462344"/>
                </a:lnTo>
                <a:cubicBezTo>
                  <a:pt x="3760248" y="468065"/>
                  <a:pt x="3770260" y="472861"/>
                  <a:pt x="3781872" y="476731"/>
                </a:cubicBezTo>
                <a:cubicBezTo>
                  <a:pt x="3793482" y="480602"/>
                  <a:pt x="3805178" y="482537"/>
                  <a:pt x="3816956" y="482537"/>
                </a:cubicBezTo>
                <a:cubicBezTo>
                  <a:pt x="3829072" y="482537"/>
                  <a:pt x="3838580" y="479255"/>
                  <a:pt x="3845480" y="472693"/>
                </a:cubicBezTo>
                <a:cubicBezTo>
                  <a:pt x="3852378" y="466130"/>
                  <a:pt x="3855828" y="457127"/>
                  <a:pt x="3855828" y="445685"/>
                </a:cubicBezTo>
                <a:cubicBezTo>
                  <a:pt x="3855828" y="437944"/>
                  <a:pt x="3854230" y="431550"/>
                  <a:pt x="3851032" y="426501"/>
                </a:cubicBezTo>
                <a:cubicBezTo>
                  <a:pt x="3847836" y="421453"/>
                  <a:pt x="3843712" y="417414"/>
                  <a:pt x="3838664" y="414385"/>
                </a:cubicBezTo>
                <a:cubicBezTo>
                  <a:pt x="3833616" y="411357"/>
                  <a:pt x="3827894" y="409169"/>
                  <a:pt x="3821500" y="407823"/>
                </a:cubicBezTo>
                <a:cubicBezTo>
                  <a:pt x="3815106" y="406477"/>
                  <a:pt x="3808712" y="405803"/>
                  <a:pt x="3802316" y="405803"/>
                </a:cubicBezTo>
                <a:lnTo>
                  <a:pt x="3779094" y="405803"/>
                </a:lnTo>
                <a:lnTo>
                  <a:pt x="3779094" y="354311"/>
                </a:lnTo>
                <a:lnTo>
                  <a:pt x="3798278" y="354311"/>
                </a:lnTo>
                <a:cubicBezTo>
                  <a:pt x="3818470" y="354311"/>
                  <a:pt x="3835130" y="351030"/>
                  <a:pt x="3848256" y="344467"/>
                </a:cubicBezTo>
                <a:cubicBezTo>
                  <a:pt x="3861380" y="337904"/>
                  <a:pt x="3867944" y="326378"/>
                  <a:pt x="3867944" y="309887"/>
                </a:cubicBezTo>
                <a:cubicBezTo>
                  <a:pt x="3867944" y="296425"/>
                  <a:pt x="3863652" y="285150"/>
                  <a:pt x="3855072" y="276063"/>
                </a:cubicBezTo>
                <a:cubicBezTo>
                  <a:pt x="3846488" y="266977"/>
                  <a:pt x="3831596" y="262433"/>
                  <a:pt x="3810394" y="262433"/>
                </a:cubicBezTo>
                <a:cubicBezTo>
                  <a:pt x="3793230" y="262433"/>
                  <a:pt x="3778506" y="264284"/>
                  <a:pt x="3766222" y="267986"/>
                </a:cubicBezTo>
                <a:cubicBezTo>
                  <a:pt x="3753938" y="271688"/>
                  <a:pt x="3743924" y="275222"/>
                  <a:pt x="3736184" y="278588"/>
                </a:cubicBezTo>
                <a:lnTo>
                  <a:pt x="3724068" y="226591"/>
                </a:lnTo>
                <a:cubicBezTo>
                  <a:pt x="3727770" y="224908"/>
                  <a:pt x="3732988" y="223057"/>
                  <a:pt x="3739718" y="221037"/>
                </a:cubicBezTo>
                <a:cubicBezTo>
                  <a:pt x="3746450" y="219018"/>
                  <a:pt x="3753770" y="217167"/>
                  <a:pt x="3761678" y="215484"/>
                </a:cubicBezTo>
                <a:cubicBezTo>
                  <a:pt x="3769588" y="213802"/>
                  <a:pt x="3777832" y="212371"/>
                  <a:pt x="3786414" y="211193"/>
                </a:cubicBezTo>
                <a:cubicBezTo>
                  <a:pt x="3794996" y="210015"/>
                  <a:pt x="3803158" y="209427"/>
                  <a:pt x="3810898" y="209427"/>
                </a:cubicBezTo>
                <a:cubicBezTo>
                  <a:pt x="3831764" y="209427"/>
                  <a:pt x="3849770" y="211867"/>
                  <a:pt x="3864916" y="216746"/>
                </a:cubicBezTo>
                <a:cubicBezTo>
                  <a:pt x="3880060" y="221626"/>
                  <a:pt x="3892512" y="228526"/>
                  <a:pt x="3902272" y="237444"/>
                </a:cubicBezTo>
                <a:cubicBezTo>
                  <a:pt x="3912032" y="246363"/>
                  <a:pt x="3919268" y="256880"/>
                  <a:pt x="3923980" y="268996"/>
                </a:cubicBezTo>
                <a:cubicBezTo>
                  <a:pt x="3928692" y="281112"/>
                  <a:pt x="3931048" y="294405"/>
                  <a:pt x="3931048" y="308877"/>
                </a:cubicBezTo>
                <a:cubicBezTo>
                  <a:pt x="3931048" y="327051"/>
                  <a:pt x="3926588" y="342700"/>
                  <a:pt x="3917668" y="355826"/>
                </a:cubicBezTo>
                <a:cubicBezTo>
                  <a:pt x="3908750" y="368951"/>
                  <a:pt x="3896214" y="378879"/>
                  <a:pt x="3880060" y="385610"/>
                </a:cubicBezTo>
                <a:cubicBezTo>
                  <a:pt x="3891840" y="391668"/>
                  <a:pt x="3901262" y="400419"/>
                  <a:pt x="3908330" y="411861"/>
                </a:cubicBezTo>
                <a:cubicBezTo>
                  <a:pt x="3915398" y="423304"/>
                  <a:pt x="3918932" y="435252"/>
                  <a:pt x="3918932" y="447704"/>
                </a:cubicBezTo>
                <a:cubicBezTo>
                  <a:pt x="3918932" y="460156"/>
                  <a:pt x="3916912" y="471767"/>
                  <a:pt x="3912874" y="482537"/>
                </a:cubicBezTo>
                <a:cubicBezTo>
                  <a:pt x="3908834" y="493306"/>
                  <a:pt x="3902608" y="502646"/>
                  <a:pt x="3894196" y="510555"/>
                </a:cubicBezTo>
                <a:cubicBezTo>
                  <a:pt x="3885780" y="518464"/>
                  <a:pt x="3875096" y="524606"/>
                  <a:pt x="3862138" y="528981"/>
                </a:cubicBezTo>
                <a:cubicBezTo>
                  <a:pt x="3849180" y="533356"/>
                  <a:pt x="3833952" y="535544"/>
                  <a:pt x="3816452" y="535544"/>
                </a:cubicBezTo>
                <a:close/>
                <a:moveTo>
                  <a:pt x="3567354" y="535544"/>
                </a:moveTo>
                <a:cubicBezTo>
                  <a:pt x="3549854" y="535544"/>
                  <a:pt x="3532268" y="532178"/>
                  <a:pt x="3514600" y="525447"/>
                </a:cubicBezTo>
                <a:cubicBezTo>
                  <a:pt x="3496930" y="518716"/>
                  <a:pt x="3481366" y="508283"/>
                  <a:pt x="3467904" y="494148"/>
                </a:cubicBezTo>
                <a:lnTo>
                  <a:pt x="3498698" y="450733"/>
                </a:lnTo>
                <a:cubicBezTo>
                  <a:pt x="3509130" y="461839"/>
                  <a:pt x="3519732" y="469748"/>
                  <a:pt x="3530502" y="474460"/>
                </a:cubicBezTo>
                <a:cubicBezTo>
                  <a:pt x="3541272" y="479171"/>
                  <a:pt x="3551536" y="481527"/>
                  <a:pt x="3561296" y="481527"/>
                </a:cubicBezTo>
                <a:cubicBezTo>
                  <a:pt x="3573076" y="481527"/>
                  <a:pt x="3582836" y="478078"/>
                  <a:pt x="3590576" y="471178"/>
                </a:cubicBezTo>
                <a:cubicBezTo>
                  <a:pt x="3598316" y="464279"/>
                  <a:pt x="3602186" y="454435"/>
                  <a:pt x="3602188" y="441646"/>
                </a:cubicBezTo>
                <a:cubicBezTo>
                  <a:pt x="3602186" y="432559"/>
                  <a:pt x="3599074" y="423641"/>
                  <a:pt x="3592848" y="414890"/>
                </a:cubicBezTo>
                <a:cubicBezTo>
                  <a:pt x="3586622" y="406140"/>
                  <a:pt x="3578712" y="397053"/>
                  <a:pt x="3569120" y="387630"/>
                </a:cubicBezTo>
                <a:cubicBezTo>
                  <a:pt x="3559528" y="378206"/>
                  <a:pt x="3549264" y="368362"/>
                  <a:pt x="3538326" y="358097"/>
                </a:cubicBezTo>
                <a:cubicBezTo>
                  <a:pt x="3527388" y="347833"/>
                  <a:pt x="3517124" y="336727"/>
                  <a:pt x="3507532" y="324779"/>
                </a:cubicBezTo>
                <a:cubicBezTo>
                  <a:pt x="3497940" y="312831"/>
                  <a:pt x="3490032" y="299790"/>
                  <a:pt x="3483806" y="285655"/>
                </a:cubicBezTo>
                <a:cubicBezTo>
                  <a:pt x="3477580" y="271520"/>
                  <a:pt x="3474466" y="256039"/>
                  <a:pt x="3474466" y="239211"/>
                </a:cubicBezTo>
                <a:cubicBezTo>
                  <a:pt x="3474466" y="237192"/>
                  <a:pt x="3474382" y="233658"/>
                  <a:pt x="3474214" y="228610"/>
                </a:cubicBezTo>
                <a:cubicBezTo>
                  <a:pt x="3474046" y="223562"/>
                  <a:pt x="3474466" y="219355"/>
                  <a:pt x="3475476" y="215989"/>
                </a:cubicBezTo>
                <a:lnTo>
                  <a:pt x="3679426" y="215989"/>
                </a:lnTo>
                <a:lnTo>
                  <a:pt x="3679426" y="267481"/>
                </a:lnTo>
                <a:lnTo>
                  <a:pt x="3545142" y="267481"/>
                </a:lnTo>
                <a:cubicBezTo>
                  <a:pt x="3545142" y="272530"/>
                  <a:pt x="3546908" y="278083"/>
                  <a:pt x="3550442" y="284141"/>
                </a:cubicBezTo>
                <a:cubicBezTo>
                  <a:pt x="3553976" y="290198"/>
                  <a:pt x="3558268" y="296172"/>
                  <a:pt x="3563316" y="302062"/>
                </a:cubicBezTo>
                <a:cubicBezTo>
                  <a:pt x="3568364" y="307952"/>
                  <a:pt x="3573748" y="313673"/>
                  <a:pt x="3579470" y="319226"/>
                </a:cubicBezTo>
                <a:cubicBezTo>
                  <a:pt x="3585190" y="324779"/>
                  <a:pt x="3590240" y="329575"/>
                  <a:pt x="3594614" y="333613"/>
                </a:cubicBezTo>
                <a:cubicBezTo>
                  <a:pt x="3603364" y="341691"/>
                  <a:pt x="3611946" y="350104"/>
                  <a:pt x="3620360" y="358855"/>
                </a:cubicBezTo>
                <a:cubicBezTo>
                  <a:pt x="3628774" y="367605"/>
                  <a:pt x="3636346" y="376692"/>
                  <a:pt x="3643078" y="386115"/>
                </a:cubicBezTo>
                <a:cubicBezTo>
                  <a:pt x="3649808" y="395539"/>
                  <a:pt x="3655194" y="405214"/>
                  <a:pt x="3659232" y="415143"/>
                </a:cubicBezTo>
                <a:cubicBezTo>
                  <a:pt x="3663270" y="425071"/>
                  <a:pt x="3665290" y="435420"/>
                  <a:pt x="3665290" y="446189"/>
                </a:cubicBezTo>
                <a:cubicBezTo>
                  <a:pt x="3665290" y="460998"/>
                  <a:pt x="3662598" y="474039"/>
                  <a:pt x="3657212" y="485313"/>
                </a:cubicBezTo>
                <a:cubicBezTo>
                  <a:pt x="3651828" y="496588"/>
                  <a:pt x="3644592" y="505927"/>
                  <a:pt x="3635506" y="513331"/>
                </a:cubicBezTo>
                <a:cubicBezTo>
                  <a:pt x="3626418" y="520735"/>
                  <a:pt x="3615986" y="526288"/>
                  <a:pt x="3604206" y="529990"/>
                </a:cubicBezTo>
                <a:cubicBezTo>
                  <a:pt x="3592426" y="533692"/>
                  <a:pt x="3580142" y="535544"/>
                  <a:pt x="3567354" y="535544"/>
                </a:cubicBezTo>
                <a:close/>
                <a:moveTo>
                  <a:pt x="3324752" y="535544"/>
                </a:moveTo>
                <a:cubicBezTo>
                  <a:pt x="3290088" y="535544"/>
                  <a:pt x="3263332" y="522081"/>
                  <a:pt x="3244486" y="495157"/>
                </a:cubicBezTo>
                <a:cubicBezTo>
                  <a:pt x="3225638" y="468233"/>
                  <a:pt x="3216214" y="427511"/>
                  <a:pt x="3216214" y="372990"/>
                </a:cubicBezTo>
                <a:cubicBezTo>
                  <a:pt x="3216214" y="317796"/>
                  <a:pt x="3225470" y="276737"/>
                  <a:pt x="3243980" y="249813"/>
                </a:cubicBezTo>
                <a:cubicBezTo>
                  <a:pt x="3262490" y="222889"/>
                  <a:pt x="3289414" y="209427"/>
                  <a:pt x="3324752" y="209427"/>
                </a:cubicBezTo>
                <a:cubicBezTo>
                  <a:pt x="3360090" y="209427"/>
                  <a:pt x="3387014" y="222889"/>
                  <a:pt x="3405524" y="249813"/>
                </a:cubicBezTo>
                <a:cubicBezTo>
                  <a:pt x="3424034" y="276737"/>
                  <a:pt x="3433290" y="317796"/>
                  <a:pt x="3433290" y="372990"/>
                </a:cubicBezTo>
                <a:cubicBezTo>
                  <a:pt x="3433290" y="427847"/>
                  <a:pt x="3424034" y="468654"/>
                  <a:pt x="3405524" y="495410"/>
                </a:cubicBezTo>
                <a:cubicBezTo>
                  <a:pt x="3387014" y="522166"/>
                  <a:pt x="3360090" y="535544"/>
                  <a:pt x="3324752" y="535544"/>
                </a:cubicBezTo>
                <a:close/>
                <a:moveTo>
                  <a:pt x="3062528" y="535544"/>
                </a:moveTo>
                <a:cubicBezTo>
                  <a:pt x="3045028" y="535544"/>
                  <a:pt x="3027444" y="532178"/>
                  <a:pt x="3009774" y="525447"/>
                </a:cubicBezTo>
                <a:cubicBezTo>
                  <a:pt x="2992106" y="518716"/>
                  <a:pt x="2976540" y="508283"/>
                  <a:pt x="2963078" y="494148"/>
                </a:cubicBezTo>
                <a:lnTo>
                  <a:pt x="2993872" y="450733"/>
                </a:lnTo>
                <a:cubicBezTo>
                  <a:pt x="3004306" y="461839"/>
                  <a:pt x="3014908" y="469748"/>
                  <a:pt x="3025676" y="474460"/>
                </a:cubicBezTo>
                <a:cubicBezTo>
                  <a:pt x="3036446" y="479171"/>
                  <a:pt x="3046712" y="481527"/>
                  <a:pt x="3056472" y="481527"/>
                </a:cubicBezTo>
                <a:cubicBezTo>
                  <a:pt x="3068250" y="481527"/>
                  <a:pt x="3078010" y="478078"/>
                  <a:pt x="3085752" y="471178"/>
                </a:cubicBezTo>
                <a:cubicBezTo>
                  <a:pt x="3093492" y="464279"/>
                  <a:pt x="3097362" y="454435"/>
                  <a:pt x="3097362" y="441646"/>
                </a:cubicBezTo>
                <a:cubicBezTo>
                  <a:pt x="3097362" y="432559"/>
                  <a:pt x="3094248" y="423641"/>
                  <a:pt x="3088022" y="414890"/>
                </a:cubicBezTo>
                <a:cubicBezTo>
                  <a:pt x="3081796" y="406140"/>
                  <a:pt x="3073888" y="397053"/>
                  <a:pt x="3064296" y="387630"/>
                </a:cubicBezTo>
                <a:cubicBezTo>
                  <a:pt x="3054704" y="378206"/>
                  <a:pt x="3044440" y="368362"/>
                  <a:pt x="3033502" y="358097"/>
                </a:cubicBezTo>
                <a:cubicBezTo>
                  <a:pt x="3022564" y="347833"/>
                  <a:pt x="3012298" y="336727"/>
                  <a:pt x="3002708" y="324779"/>
                </a:cubicBezTo>
                <a:cubicBezTo>
                  <a:pt x="2993116" y="312831"/>
                  <a:pt x="2985206" y="299790"/>
                  <a:pt x="2978980" y="285655"/>
                </a:cubicBezTo>
                <a:cubicBezTo>
                  <a:pt x="2972754" y="271520"/>
                  <a:pt x="2969642" y="256039"/>
                  <a:pt x="2969642" y="239211"/>
                </a:cubicBezTo>
                <a:cubicBezTo>
                  <a:pt x="2969642" y="237192"/>
                  <a:pt x="2969558" y="233658"/>
                  <a:pt x="2969388" y="228610"/>
                </a:cubicBezTo>
                <a:cubicBezTo>
                  <a:pt x="2969220" y="223562"/>
                  <a:pt x="2969640" y="219355"/>
                  <a:pt x="2970650" y="215989"/>
                </a:cubicBezTo>
                <a:lnTo>
                  <a:pt x="3174600" y="215989"/>
                </a:lnTo>
                <a:lnTo>
                  <a:pt x="3174600" y="267481"/>
                </a:lnTo>
                <a:lnTo>
                  <a:pt x="3040316" y="267481"/>
                </a:lnTo>
                <a:cubicBezTo>
                  <a:pt x="3040316" y="272530"/>
                  <a:pt x="3042084" y="278083"/>
                  <a:pt x="3045618" y="284141"/>
                </a:cubicBezTo>
                <a:cubicBezTo>
                  <a:pt x="3049152" y="290198"/>
                  <a:pt x="3053442" y="296172"/>
                  <a:pt x="3058490" y="302062"/>
                </a:cubicBezTo>
                <a:cubicBezTo>
                  <a:pt x="3063538" y="307952"/>
                  <a:pt x="3068924" y="313673"/>
                  <a:pt x="3074644" y="319226"/>
                </a:cubicBezTo>
                <a:cubicBezTo>
                  <a:pt x="3080366" y="324779"/>
                  <a:pt x="3085414" y="329575"/>
                  <a:pt x="3089790" y="333613"/>
                </a:cubicBezTo>
                <a:cubicBezTo>
                  <a:pt x="3098540" y="341691"/>
                  <a:pt x="3107122" y="350104"/>
                  <a:pt x="3115536" y="358855"/>
                </a:cubicBezTo>
                <a:cubicBezTo>
                  <a:pt x="3123950" y="367605"/>
                  <a:pt x="3131522" y="376692"/>
                  <a:pt x="3138252" y="386115"/>
                </a:cubicBezTo>
                <a:cubicBezTo>
                  <a:pt x="3144984" y="395539"/>
                  <a:pt x="3150368" y="405214"/>
                  <a:pt x="3154408" y="415143"/>
                </a:cubicBezTo>
                <a:cubicBezTo>
                  <a:pt x="3158446" y="425071"/>
                  <a:pt x="3160464" y="435420"/>
                  <a:pt x="3160464" y="446189"/>
                </a:cubicBezTo>
                <a:cubicBezTo>
                  <a:pt x="3160464" y="460998"/>
                  <a:pt x="3157772" y="474039"/>
                  <a:pt x="3152388" y="485313"/>
                </a:cubicBezTo>
                <a:cubicBezTo>
                  <a:pt x="3147002" y="496588"/>
                  <a:pt x="3139766" y="505927"/>
                  <a:pt x="3130680" y="513331"/>
                </a:cubicBezTo>
                <a:cubicBezTo>
                  <a:pt x="3121594" y="520735"/>
                  <a:pt x="3111160" y="526288"/>
                  <a:pt x="3099382" y="529990"/>
                </a:cubicBezTo>
                <a:cubicBezTo>
                  <a:pt x="3087602" y="533692"/>
                  <a:pt x="3075318" y="535544"/>
                  <a:pt x="3062528" y="535544"/>
                </a:cubicBezTo>
                <a:close/>
                <a:moveTo>
                  <a:pt x="2292890" y="561290"/>
                </a:moveTo>
                <a:cubicBezTo>
                  <a:pt x="2282120" y="561290"/>
                  <a:pt x="2272949" y="557756"/>
                  <a:pt x="2265377" y="550688"/>
                </a:cubicBezTo>
                <a:cubicBezTo>
                  <a:pt x="2257805" y="543621"/>
                  <a:pt x="2254018" y="533861"/>
                  <a:pt x="2254018" y="521408"/>
                </a:cubicBezTo>
                <a:cubicBezTo>
                  <a:pt x="2254018" y="509293"/>
                  <a:pt x="2257805" y="499701"/>
                  <a:pt x="2265377" y="492633"/>
                </a:cubicBezTo>
                <a:cubicBezTo>
                  <a:pt x="2272949" y="485566"/>
                  <a:pt x="2282120" y="482032"/>
                  <a:pt x="2292890" y="482032"/>
                </a:cubicBezTo>
                <a:cubicBezTo>
                  <a:pt x="2303660" y="482032"/>
                  <a:pt x="2312914" y="485566"/>
                  <a:pt x="2320655" y="492633"/>
                </a:cubicBezTo>
                <a:cubicBezTo>
                  <a:pt x="2328396" y="499701"/>
                  <a:pt x="2332266" y="509293"/>
                  <a:pt x="2332266" y="521408"/>
                </a:cubicBezTo>
                <a:cubicBezTo>
                  <a:pt x="2332266" y="533861"/>
                  <a:pt x="2328396" y="543621"/>
                  <a:pt x="2320655" y="550688"/>
                </a:cubicBezTo>
                <a:cubicBezTo>
                  <a:pt x="2312914" y="557756"/>
                  <a:pt x="2303660" y="561290"/>
                  <a:pt x="2292890" y="561290"/>
                </a:cubicBezTo>
                <a:close/>
                <a:moveTo>
                  <a:pt x="1959420" y="563309"/>
                </a:moveTo>
                <a:lnTo>
                  <a:pt x="1959420" y="511817"/>
                </a:lnTo>
                <a:lnTo>
                  <a:pt x="2025047" y="511817"/>
                </a:lnTo>
                <a:lnTo>
                  <a:pt x="2025047" y="310392"/>
                </a:lnTo>
                <a:cubicBezTo>
                  <a:pt x="2025047" y="277746"/>
                  <a:pt x="2031610" y="252926"/>
                  <a:pt x="2044735" y="235930"/>
                </a:cubicBezTo>
                <a:cubicBezTo>
                  <a:pt x="2057860" y="218934"/>
                  <a:pt x="2078727" y="210436"/>
                  <a:pt x="2107333" y="210436"/>
                </a:cubicBezTo>
                <a:cubicBezTo>
                  <a:pt x="2117767" y="210436"/>
                  <a:pt x="2127106" y="211109"/>
                  <a:pt x="2135351" y="212455"/>
                </a:cubicBezTo>
                <a:cubicBezTo>
                  <a:pt x="2143597" y="213802"/>
                  <a:pt x="2150580" y="215400"/>
                  <a:pt x="2156302" y="217251"/>
                </a:cubicBezTo>
                <a:cubicBezTo>
                  <a:pt x="2162023" y="219102"/>
                  <a:pt x="2166650" y="220869"/>
                  <a:pt x="2170184" y="222552"/>
                </a:cubicBezTo>
                <a:cubicBezTo>
                  <a:pt x="2173718" y="224235"/>
                  <a:pt x="2175990" y="225413"/>
                  <a:pt x="2176999" y="226086"/>
                </a:cubicBezTo>
                <a:lnTo>
                  <a:pt x="2168922" y="276063"/>
                </a:lnTo>
                <a:cubicBezTo>
                  <a:pt x="2166230" y="275054"/>
                  <a:pt x="2160677" y="272866"/>
                  <a:pt x="2152263" y="269501"/>
                </a:cubicBezTo>
                <a:cubicBezTo>
                  <a:pt x="2143849" y="266135"/>
                  <a:pt x="2133416" y="264452"/>
                  <a:pt x="2120964" y="264452"/>
                </a:cubicBezTo>
                <a:cubicBezTo>
                  <a:pt x="2111204" y="264452"/>
                  <a:pt x="2103126" y="267313"/>
                  <a:pt x="2096732" y="273034"/>
                </a:cubicBezTo>
                <a:cubicBezTo>
                  <a:pt x="2090338" y="278756"/>
                  <a:pt x="2087140" y="289694"/>
                  <a:pt x="2087140" y="305848"/>
                </a:cubicBezTo>
                <a:lnTo>
                  <a:pt x="2087140" y="563309"/>
                </a:lnTo>
                <a:close/>
                <a:moveTo>
                  <a:pt x="1607052" y="565833"/>
                </a:moveTo>
                <a:cubicBezTo>
                  <a:pt x="1594263" y="565833"/>
                  <a:pt x="1581811" y="564234"/>
                  <a:pt x="1569695" y="561037"/>
                </a:cubicBezTo>
                <a:cubicBezTo>
                  <a:pt x="1557579" y="557840"/>
                  <a:pt x="1546810" y="552455"/>
                  <a:pt x="1537386" y="544883"/>
                </a:cubicBezTo>
                <a:cubicBezTo>
                  <a:pt x="1527963" y="537310"/>
                  <a:pt x="1520474" y="527214"/>
                  <a:pt x="1514921" y="514593"/>
                </a:cubicBezTo>
                <a:cubicBezTo>
                  <a:pt x="1509368" y="501973"/>
                  <a:pt x="1506592" y="486071"/>
                  <a:pt x="1506592" y="466887"/>
                </a:cubicBezTo>
                <a:lnTo>
                  <a:pt x="1506592" y="453257"/>
                </a:lnTo>
                <a:lnTo>
                  <a:pt x="1454595" y="453257"/>
                </a:lnTo>
                <a:lnTo>
                  <a:pt x="1454595" y="401765"/>
                </a:lnTo>
                <a:lnTo>
                  <a:pt x="1506592" y="401765"/>
                </a:lnTo>
                <a:lnTo>
                  <a:pt x="1506592" y="215989"/>
                </a:lnTo>
                <a:lnTo>
                  <a:pt x="1569190" y="215989"/>
                </a:lnTo>
                <a:lnTo>
                  <a:pt x="1569190" y="401765"/>
                </a:lnTo>
                <a:lnTo>
                  <a:pt x="1666621" y="401765"/>
                </a:lnTo>
                <a:lnTo>
                  <a:pt x="1666621" y="453257"/>
                </a:lnTo>
                <a:lnTo>
                  <a:pt x="1569190" y="453257"/>
                </a:lnTo>
                <a:lnTo>
                  <a:pt x="1569190" y="465878"/>
                </a:lnTo>
                <a:cubicBezTo>
                  <a:pt x="1569190" y="475974"/>
                  <a:pt x="1570368" y="484135"/>
                  <a:pt x="1572724" y="490362"/>
                </a:cubicBezTo>
                <a:cubicBezTo>
                  <a:pt x="1575080" y="496588"/>
                  <a:pt x="1578193" y="501384"/>
                  <a:pt x="1582063" y="504749"/>
                </a:cubicBezTo>
                <a:cubicBezTo>
                  <a:pt x="1585933" y="508115"/>
                  <a:pt x="1590477" y="510302"/>
                  <a:pt x="1595693" y="511312"/>
                </a:cubicBezTo>
                <a:cubicBezTo>
                  <a:pt x="1600910" y="512322"/>
                  <a:pt x="1606379" y="512826"/>
                  <a:pt x="1612100" y="512826"/>
                </a:cubicBezTo>
                <a:cubicBezTo>
                  <a:pt x="1622533" y="512826"/>
                  <a:pt x="1633555" y="511396"/>
                  <a:pt x="1645166" y="508535"/>
                </a:cubicBezTo>
                <a:cubicBezTo>
                  <a:pt x="1656777" y="505675"/>
                  <a:pt x="1666453" y="502898"/>
                  <a:pt x="1674194" y="500206"/>
                </a:cubicBezTo>
                <a:lnTo>
                  <a:pt x="1684795" y="550688"/>
                </a:lnTo>
                <a:cubicBezTo>
                  <a:pt x="1673689" y="556073"/>
                  <a:pt x="1661236" y="559943"/>
                  <a:pt x="1647438" y="562299"/>
                </a:cubicBezTo>
                <a:cubicBezTo>
                  <a:pt x="1633639" y="564655"/>
                  <a:pt x="1620178" y="565833"/>
                  <a:pt x="1607052" y="565833"/>
                </a:cubicBezTo>
                <a:close/>
                <a:moveTo>
                  <a:pt x="0" y="796029"/>
                </a:moveTo>
                <a:lnTo>
                  <a:pt x="4876802" y="796029"/>
                </a:lnTo>
                <a:lnTo>
                  <a:pt x="4824822" y="344498"/>
                </a:lnTo>
                <a:cubicBezTo>
                  <a:pt x="4801968" y="145891"/>
                  <a:pt x="4682292" y="207"/>
                  <a:pt x="4541980" y="155"/>
                </a:cubicBezTo>
                <a:lnTo>
                  <a:pt x="0" y="0"/>
                </a:lnTo>
                <a:close/>
              </a:path>
            </a:pathLst>
          </a:custGeom>
          <a:solidFill>
            <a:schemeClr val="bg1"/>
          </a:solidFill>
          <a:ln w="2834" cap="flat">
            <a:noFill/>
            <a:prstDash val="solid"/>
            <a:miter/>
          </a:ln>
        </p:spPr>
        <p:txBody>
          <a:bodyPr wrap="square" rtlCol="0" anchor="ctr">
            <a:noAutofit/>
          </a:bodyPr>
          <a:lstStyle/>
          <a:p>
            <a:endParaRPr lang="en-US" dirty="0"/>
          </a:p>
        </p:txBody>
      </p:sp>
      <p:pic>
        <p:nvPicPr>
          <p:cNvPr id="11" name="Imagen 10" descr="Un dibujo de una cara feliz&#10;&#10;Descripción generada automáticamente con confianza baja">
            <a:extLst>
              <a:ext uri="{FF2B5EF4-FFF2-40B4-BE49-F238E27FC236}">
                <a16:creationId xmlns:a16="http://schemas.microsoft.com/office/drawing/2014/main" id="{AAE5E7C8-61FF-4E9E-B7AA-24C524932BC4}"/>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7824450" y="406400"/>
            <a:ext cx="1801936" cy="934010"/>
          </a:xfrm>
          <a:prstGeom prst="rect">
            <a:avLst/>
          </a:prstGeom>
        </p:spPr>
      </p:pic>
    </p:spTree>
    <p:extLst>
      <p:ext uri="{BB962C8B-B14F-4D97-AF65-F5344CB8AC3E}">
        <p14:creationId xmlns:p14="http://schemas.microsoft.com/office/powerpoint/2010/main" val="175378143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5_Title and Content">
    <p:spTree>
      <p:nvGrpSpPr>
        <p:cNvPr id="1" name=""/>
        <p:cNvGrpSpPr/>
        <p:nvPr/>
      </p:nvGrpSpPr>
      <p:grpSpPr>
        <a:xfrm>
          <a:off x="0" y="0"/>
          <a:ext cx="0" cy="0"/>
          <a:chOff x="0" y="0"/>
          <a:chExt cx="0" cy="0"/>
        </a:xfrm>
      </p:grpSpPr>
      <p:sp>
        <p:nvSpPr>
          <p:cNvPr id="10" name="Rectángulo 9">
            <a:extLst>
              <a:ext uri="{FF2B5EF4-FFF2-40B4-BE49-F238E27FC236}">
                <a16:creationId xmlns:a16="http://schemas.microsoft.com/office/drawing/2014/main" id="{E7BF236D-D0D3-10D7-3261-21E349035258}"/>
              </a:ext>
            </a:extLst>
          </p:cNvPr>
          <p:cNvSpPr/>
          <p:nvPr userDrawn="1"/>
        </p:nvSpPr>
        <p:spPr>
          <a:xfrm>
            <a:off x="-43421" y="0"/>
            <a:ext cx="20147521" cy="11328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6" name="Imagen 5" descr="Imagen que contiene edificio, caminando, aeropuerto, tabla&#10;&#10;Descripción generada automáticamente">
            <a:extLst>
              <a:ext uri="{FF2B5EF4-FFF2-40B4-BE49-F238E27FC236}">
                <a16:creationId xmlns:a16="http://schemas.microsoft.com/office/drawing/2014/main" id="{7E7A7441-8F2D-F718-AD73-08797565F899}"/>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43421" y="0"/>
            <a:ext cx="10476470" cy="11328400"/>
          </a:xfrm>
          <a:prstGeom prst="rect">
            <a:avLst/>
          </a:prstGeom>
        </p:spPr>
      </p:pic>
      <p:sp>
        <p:nvSpPr>
          <p:cNvPr id="4" name="Holder 4"/>
          <p:cNvSpPr>
            <a:spLocks noGrp="1"/>
          </p:cNvSpPr>
          <p:nvPr>
            <p:ph type="ftr" sz="quarter" idx="5"/>
          </p:nvPr>
        </p:nvSpPr>
        <p:spPr>
          <a:xfrm>
            <a:off x="16647741" y="10759212"/>
            <a:ext cx="2962677" cy="200055"/>
          </a:xfrm>
          <a:prstGeom prst="rect">
            <a:avLst/>
          </a:prstGeom>
        </p:spPr>
        <p:txBody>
          <a:bodyPr lIns="0" tIns="0" rIns="0" bIns="0"/>
          <a:lstStyle>
            <a:lvl1pPr>
              <a:defRPr sz="1300" b="0" i="0">
                <a:solidFill>
                  <a:schemeClr val="bg1"/>
                </a:solidFill>
                <a:latin typeface="Ubuntu Light"/>
                <a:cs typeface="Ubuntu Light"/>
              </a:defRPr>
            </a:lvl1pPr>
          </a:lstStyle>
          <a:p>
            <a:pPr marL="26034">
              <a:spcBef>
                <a:spcPts val="30"/>
              </a:spcBef>
            </a:pPr>
            <a:r>
              <a:rPr lang="es-ES" dirty="0"/>
              <a:t>Public</a:t>
            </a:r>
            <a:r>
              <a:rPr lang="es-ES" spc="-40" dirty="0"/>
              <a:t> </a:t>
            </a:r>
            <a:r>
              <a:rPr lang="es-ES" dirty="0"/>
              <a:t>©</a:t>
            </a:r>
            <a:r>
              <a:rPr lang="es-ES" spc="-40" dirty="0"/>
              <a:t> </a:t>
            </a:r>
            <a:r>
              <a:rPr lang="es-ES" dirty="0"/>
              <a:t>2023</a:t>
            </a:r>
            <a:r>
              <a:rPr lang="es-ES" spc="-40" dirty="0"/>
              <a:t> </a:t>
            </a:r>
            <a:r>
              <a:rPr lang="es-ES" spc="-10" dirty="0"/>
              <a:t>Sogeti.</a:t>
            </a:r>
            <a:r>
              <a:rPr lang="es-ES" spc="-35" dirty="0"/>
              <a:t> </a:t>
            </a:r>
            <a:r>
              <a:rPr lang="es-ES" dirty="0" err="1"/>
              <a:t>All</a:t>
            </a:r>
            <a:r>
              <a:rPr lang="es-ES" spc="-40" dirty="0"/>
              <a:t> </a:t>
            </a:r>
            <a:r>
              <a:rPr lang="es-ES" dirty="0"/>
              <a:t>rights</a:t>
            </a:r>
            <a:r>
              <a:rPr lang="es-ES" spc="-40" dirty="0"/>
              <a:t> </a:t>
            </a:r>
            <a:r>
              <a:rPr lang="es-ES" spc="-10" dirty="0" err="1"/>
              <a:t>reserved</a:t>
            </a:r>
            <a:endParaRPr lang="es-ES" spc="-10" dirty="0"/>
          </a:p>
        </p:txBody>
      </p:sp>
      <p:sp>
        <p:nvSpPr>
          <p:cNvPr id="2" name="CuadroTexto 1">
            <a:extLst>
              <a:ext uri="{FF2B5EF4-FFF2-40B4-BE49-F238E27FC236}">
                <a16:creationId xmlns:a16="http://schemas.microsoft.com/office/drawing/2014/main" id="{72E5CF79-7DA3-E21E-3060-87CB44907F25}"/>
              </a:ext>
            </a:extLst>
          </p:cNvPr>
          <p:cNvSpPr txBox="1"/>
          <p:nvPr userDrawn="1"/>
        </p:nvSpPr>
        <p:spPr>
          <a:xfrm>
            <a:off x="755650" y="10845800"/>
            <a:ext cx="7772400" cy="292388"/>
          </a:xfrm>
          <a:prstGeom prst="rect">
            <a:avLst/>
          </a:prstGeom>
          <a:noFill/>
        </p:spPr>
        <p:txBody>
          <a:bodyPr wrap="square" rtlCol="0">
            <a:spAutoFit/>
          </a:bodyPr>
          <a:lstStyle/>
          <a:p>
            <a:r>
              <a:rPr lang="es-ES" sz="1300" b="0" i="0" dirty="0">
                <a:solidFill>
                  <a:schemeClr val="bg1"/>
                </a:solidFill>
                <a:latin typeface="Ubuntu Medium" panose="020B0504030602030204" pitchFamily="34" charset="0"/>
              </a:rPr>
              <a:t>#FlourishingDigitalBusinessWithQuality </a:t>
            </a:r>
            <a:r>
              <a:rPr lang="es-ES" sz="1300" b="1" i="0" dirty="0">
                <a:solidFill>
                  <a:schemeClr val="bg1"/>
                </a:solidFill>
                <a:latin typeface="Ubuntu" panose="020B0504030602030204" pitchFamily="34" charset="0"/>
              </a:rPr>
              <a:t> ·</a:t>
            </a:r>
            <a:r>
              <a:rPr lang="es-ES" sz="1300" b="0" i="0" dirty="0">
                <a:solidFill>
                  <a:schemeClr val="bg1"/>
                </a:solidFill>
                <a:latin typeface="Ubuntu Medium" panose="020B0504030602030204" pitchFamily="34" charset="0"/>
              </a:rPr>
              <a:t>   </a:t>
            </a:r>
            <a:r>
              <a:rPr lang="es-ES" sz="1300" b="0" i="0" dirty="0" err="1">
                <a:solidFill>
                  <a:schemeClr val="bg1"/>
                </a:solidFill>
                <a:latin typeface="Ubuntu Medium" panose="020B0504030602030204" pitchFamily="34" charset="0"/>
              </a:rPr>
              <a:t>by</a:t>
            </a:r>
            <a:r>
              <a:rPr lang="es-ES" sz="1300" b="0" i="0" dirty="0">
                <a:solidFill>
                  <a:schemeClr val="bg1"/>
                </a:solidFill>
                <a:latin typeface="Ubuntu Medium" panose="020B0504030602030204" pitchFamily="34" charset="0"/>
              </a:rPr>
              <a:t> </a:t>
            </a:r>
            <a:r>
              <a:rPr lang="es-ES" sz="1300" b="1" i="0" dirty="0">
                <a:solidFill>
                  <a:schemeClr val="bg1"/>
                </a:solidFill>
                <a:latin typeface="Ubuntu" panose="020B0504030602030204" pitchFamily="34" charset="0"/>
              </a:rPr>
              <a:t>Sogeti España</a:t>
            </a:r>
          </a:p>
        </p:txBody>
      </p:sp>
      <p:sp>
        <p:nvSpPr>
          <p:cNvPr id="5" name="Forma libre 4">
            <a:extLst>
              <a:ext uri="{FF2B5EF4-FFF2-40B4-BE49-F238E27FC236}">
                <a16:creationId xmlns:a16="http://schemas.microsoft.com/office/drawing/2014/main" id="{FBAABD7F-C513-9B40-6AE2-E43DB3944CCE}"/>
              </a:ext>
            </a:extLst>
          </p:cNvPr>
          <p:cNvSpPr/>
          <p:nvPr userDrawn="1"/>
        </p:nvSpPr>
        <p:spPr>
          <a:xfrm flipV="1">
            <a:off x="755650" y="10384024"/>
            <a:ext cx="2362200" cy="385576"/>
          </a:xfrm>
          <a:custGeom>
            <a:avLst/>
            <a:gdLst/>
            <a:ahLst/>
            <a:cxnLst/>
            <a:rect l="l" t="t" r="r" b="b"/>
            <a:pathLst>
              <a:path w="4876802" h="796029">
                <a:moveTo>
                  <a:pt x="2572782" y="405299"/>
                </a:moveTo>
                <a:cubicBezTo>
                  <a:pt x="2589609" y="405299"/>
                  <a:pt x="2601809" y="398820"/>
                  <a:pt x="2609382" y="385863"/>
                </a:cubicBezTo>
                <a:cubicBezTo>
                  <a:pt x="2616954" y="372906"/>
                  <a:pt x="2620740" y="355826"/>
                  <a:pt x="2620740" y="334623"/>
                </a:cubicBezTo>
                <a:cubicBezTo>
                  <a:pt x="2620740" y="313420"/>
                  <a:pt x="2616618" y="296256"/>
                  <a:pt x="2608372" y="283131"/>
                </a:cubicBezTo>
                <a:cubicBezTo>
                  <a:pt x="2600126" y="270006"/>
                  <a:pt x="2587927" y="263443"/>
                  <a:pt x="2571772" y="263443"/>
                </a:cubicBezTo>
                <a:cubicBezTo>
                  <a:pt x="2554945" y="263443"/>
                  <a:pt x="2542744" y="270006"/>
                  <a:pt x="2535172" y="283131"/>
                </a:cubicBezTo>
                <a:cubicBezTo>
                  <a:pt x="2527600" y="296256"/>
                  <a:pt x="2523814" y="313420"/>
                  <a:pt x="2523814" y="334623"/>
                </a:cubicBezTo>
                <a:cubicBezTo>
                  <a:pt x="2523814" y="355826"/>
                  <a:pt x="2527937" y="372906"/>
                  <a:pt x="2536182" y="385863"/>
                </a:cubicBezTo>
                <a:cubicBezTo>
                  <a:pt x="2544428" y="398820"/>
                  <a:pt x="2556628" y="405299"/>
                  <a:pt x="2572782" y="405299"/>
                </a:cubicBezTo>
                <a:close/>
                <a:moveTo>
                  <a:pt x="1810782" y="405299"/>
                </a:moveTo>
                <a:cubicBezTo>
                  <a:pt x="1827610" y="405299"/>
                  <a:pt x="1839810" y="398820"/>
                  <a:pt x="1847382" y="385863"/>
                </a:cubicBezTo>
                <a:cubicBezTo>
                  <a:pt x="1854954" y="372906"/>
                  <a:pt x="1858740" y="355826"/>
                  <a:pt x="1858740" y="334623"/>
                </a:cubicBezTo>
                <a:cubicBezTo>
                  <a:pt x="1858740" y="313420"/>
                  <a:pt x="1854618" y="296256"/>
                  <a:pt x="1846372" y="283131"/>
                </a:cubicBezTo>
                <a:cubicBezTo>
                  <a:pt x="1838127" y="270006"/>
                  <a:pt x="1825927" y="263443"/>
                  <a:pt x="1809772" y="263443"/>
                </a:cubicBezTo>
                <a:cubicBezTo>
                  <a:pt x="1792945" y="263443"/>
                  <a:pt x="1780745" y="270006"/>
                  <a:pt x="1773173" y="283131"/>
                </a:cubicBezTo>
                <a:cubicBezTo>
                  <a:pt x="1765600" y="296256"/>
                  <a:pt x="1761814" y="313420"/>
                  <a:pt x="1761814" y="334623"/>
                </a:cubicBezTo>
                <a:cubicBezTo>
                  <a:pt x="1761814" y="355826"/>
                  <a:pt x="1765937" y="372906"/>
                  <a:pt x="1774182" y="385863"/>
                </a:cubicBezTo>
                <a:cubicBezTo>
                  <a:pt x="1782428" y="398820"/>
                  <a:pt x="1794628" y="405299"/>
                  <a:pt x="1810782" y="405299"/>
                </a:cubicBezTo>
                <a:close/>
                <a:moveTo>
                  <a:pt x="810657" y="405299"/>
                </a:moveTo>
                <a:cubicBezTo>
                  <a:pt x="827485" y="405299"/>
                  <a:pt x="839684" y="398820"/>
                  <a:pt x="847257" y="385863"/>
                </a:cubicBezTo>
                <a:cubicBezTo>
                  <a:pt x="854829" y="372906"/>
                  <a:pt x="858615" y="355826"/>
                  <a:pt x="858616" y="334623"/>
                </a:cubicBezTo>
                <a:cubicBezTo>
                  <a:pt x="858615" y="313420"/>
                  <a:pt x="854493" y="296256"/>
                  <a:pt x="846247" y="283131"/>
                </a:cubicBezTo>
                <a:cubicBezTo>
                  <a:pt x="838002" y="270006"/>
                  <a:pt x="825802" y="263443"/>
                  <a:pt x="809647" y="263443"/>
                </a:cubicBezTo>
                <a:cubicBezTo>
                  <a:pt x="792820" y="263443"/>
                  <a:pt x="780620" y="270006"/>
                  <a:pt x="773048" y="283131"/>
                </a:cubicBezTo>
                <a:cubicBezTo>
                  <a:pt x="765475" y="296256"/>
                  <a:pt x="761689" y="313420"/>
                  <a:pt x="761689" y="334623"/>
                </a:cubicBezTo>
                <a:cubicBezTo>
                  <a:pt x="761689" y="355826"/>
                  <a:pt x="765812" y="372906"/>
                  <a:pt x="774057" y="385863"/>
                </a:cubicBezTo>
                <a:cubicBezTo>
                  <a:pt x="782303" y="398820"/>
                  <a:pt x="794503" y="405299"/>
                  <a:pt x="810657" y="405299"/>
                </a:cubicBezTo>
                <a:close/>
                <a:moveTo>
                  <a:pt x="3325256" y="411861"/>
                </a:moveTo>
                <a:cubicBezTo>
                  <a:pt x="3316506" y="411861"/>
                  <a:pt x="3309608" y="408496"/>
                  <a:pt x="3304560" y="401765"/>
                </a:cubicBezTo>
                <a:cubicBezTo>
                  <a:pt x="3299512" y="395034"/>
                  <a:pt x="3296988" y="387125"/>
                  <a:pt x="3296988" y="378038"/>
                </a:cubicBezTo>
                <a:cubicBezTo>
                  <a:pt x="3296988" y="368951"/>
                  <a:pt x="3299512" y="361126"/>
                  <a:pt x="3304560" y="354564"/>
                </a:cubicBezTo>
                <a:cubicBezTo>
                  <a:pt x="3309608" y="348001"/>
                  <a:pt x="3316506" y="344720"/>
                  <a:pt x="3325256" y="344720"/>
                </a:cubicBezTo>
                <a:cubicBezTo>
                  <a:pt x="3333334" y="344720"/>
                  <a:pt x="3339980" y="348001"/>
                  <a:pt x="3345198" y="354564"/>
                </a:cubicBezTo>
                <a:cubicBezTo>
                  <a:pt x="3350414" y="361126"/>
                  <a:pt x="3353022" y="368951"/>
                  <a:pt x="3353022" y="378038"/>
                </a:cubicBezTo>
                <a:cubicBezTo>
                  <a:pt x="3353022" y="387125"/>
                  <a:pt x="3350414" y="395034"/>
                  <a:pt x="3345198" y="401765"/>
                </a:cubicBezTo>
                <a:cubicBezTo>
                  <a:pt x="3339980" y="408496"/>
                  <a:pt x="3333334" y="411861"/>
                  <a:pt x="3325256" y="411861"/>
                </a:cubicBezTo>
                <a:close/>
                <a:moveTo>
                  <a:pt x="2207070" y="453257"/>
                </a:moveTo>
                <a:lnTo>
                  <a:pt x="2207070" y="401765"/>
                </a:lnTo>
                <a:lnTo>
                  <a:pt x="2272697" y="401765"/>
                </a:lnTo>
                <a:lnTo>
                  <a:pt x="2272697" y="314430"/>
                </a:lnTo>
                <a:cubicBezTo>
                  <a:pt x="2272697" y="297939"/>
                  <a:pt x="2274043" y="283299"/>
                  <a:pt x="2276735" y="270510"/>
                </a:cubicBezTo>
                <a:cubicBezTo>
                  <a:pt x="2279428" y="257721"/>
                  <a:pt x="2284055" y="246868"/>
                  <a:pt x="2290618" y="237949"/>
                </a:cubicBezTo>
                <a:cubicBezTo>
                  <a:pt x="2297181" y="229031"/>
                  <a:pt x="2305931" y="222215"/>
                  <a:pt x="2316869" y="217504"/>
                </a:cubicBezTo>
                <a:cubicBezTo>
                  <a:pt x="2327807" y="212792"/>
                  <a:pt x="2341353" y="210436"/>
                  <a:pt x="2357508" y="210436"/>
                </a:cubicBezTo>
                <a:cubicBezTo>
                  <a:pt x="2366931" y="210436"/>
                  <a:pt x="2377280" y="211530"/>
                  <a:pt x="2388554" y="213718"/>
                </a:cubicBezTo>
                <a:cubicBezTo>
                  <a:pt x="2399829" y="215905"/>
                  <a:pt x="2411860" y="220028"/>
                  <a:pt x="2424649" y="226086"/>
                </a:cubicBezTo>
                <a:lnTo>
                  <a:pt x="2416572" y="276063"/>
                </a:lnTo>
                <a:cubicBezTo>
                  <a:pt x="2406475" y="271352"/>
                  <a:pt x="2397388" y="268239"/>
                  <a:pt x="2389312" y="266724"/>
                </a:cubicBezTo>
                <a:cubicBezTo>
                  <a:pt x="2381234" y="265210"/>
                  <a:pt x="2374335" y="264452"/>
                  <a:pt x="2368614" y="264452"/>
                </a:cubicBezTo>
                <a:cubicBezTo>
                  <a:pt x="2356498" y="264452"/>
                  <a:pt x="2347832" y="267902"/>
                  <a:pt x="2342615" y="274801"/>
                </a:cubicBezTo>
                <a:cubicBezTo>
                  <a:pt x="2337398" y="281701"/>
                  <a:pt x="2334790" y="292218"/>
                  <a:pt x="2334790" y="306353"/>
                </a:cubicBezTo>
                <a:lnTo>
                  <a:pt x="2334790" y="453257"/>
                </a:lnTo>
                <a:close/>
                <a:moveTo>
                  <a:pt x="1088092" y="457800"/>
                </a:moveTo>
                <a:cubicBezTo>
                  <a:pt x="1064870" y="457800"/>
                  <a:pt x="1044593" y="455949"/>
                  <a:pt x="1027260" y="452247"/>
                </a:cubicBezTo>
                <a:cubicBezTo>
                  <a:pt x="1009928" y="448545"/>
                  <a:pt x="993016" y="443665"/>
                  <a:pt x="976526" y="437607"/>
                </a:cubicBezTo>
                <a:lnTo>
                  <a:pt x="976526" y="215989"/>
                </a:lnTo>
                <a:lnTo>
                  <a:pt x="1039124" y="215989"/>
                </a:lnTo>
                <a:lnTo>
                  <a:pt x="1039124" y="392173"/>
                </a:lnTo>
                <a:cubicBezTo>
                  <a:pt x="1047874" y="394529"/>
                  <a:pt x="1056456" y="396128"/>
                  <a:pt x="1064870" y="396969"/>
                </a:cubicBezTo>
                <a:cubicBezTo>
                  <a:pt x="1073284" y="397810"/>
                  <a:pt x="1081866" y="398231"/>
                  <a:pt x="1090616" y="398231"/>
                </a:cubicBezTo>
                <a:cubicBezTo>
                  <a:pt x="1094318" y="398231"/>
                  <a:pt x="1098861" y="398063"/>
                  <a:pt x="1104246" y="397726"/>
                </a:cubicBezTo>
                <a:cubicBezTo>
                  <a:pt x="1109631" y="397390"/>
                  <a:pt x="1115184" y="396801"/>
                  <a:pt x="1120905" y="395959"/>
                </a:cubicBezTo>
                <a:cubicBezTo>
                  <a:pt x="1126627" y="395118"/>
                  <a:pt x="1132264" y="394192"/>
                  <a:pt x="1137817" y="393183"/>
                </a:cubicBezTo>
                <a:cubicBezTo>
                  <a:pt x="1143370" y="392173"/>
                  <a:pt x="1148166" y="391164"/>
                  <a:pt x="1152205" y="390154"/>
                </a:cubicBezTo>
                <a:lnTo>
                  <a:pt x="1163311" y="447704"/>
                </a:lnTo>
                <a:cubicBezTo>
                  <a:pt x="1157589" y="449723"/>
                  <a:pt x="1151111" y="451322"/>
                  <a:pt x="1143875" y="452500"/>
                </a:cubicBezTo>
                <a:cubicBezTo>
                  <a:pt x="1136639" y="453678"/>
                  <a:pt x="1129487" y="454687"/>
                  <a:pt x="1122420" y="455529"/>
                </a:cubicBezTo>
                <a:cubicBezTo>
                  <a:pt x="1115352" y="456370"/>
                  <a:pt x="1108706" y="456959"/>
                  <a:pt x="1102479" y="457296"/>
                </a:cubicBezTo>
                <a:cubicBezTo>
                  <a:pt x="1096253" y="457632"/>
                  <a:pt x="1091457" y="457800"/>
                  <a:pt x="1088092" y="457800"/>
                </a:cubicBezTo>
                <a:close/>
                <a:moveTo>
                  <a:pt x="2572782" y="459315"/>
                </a:moveTo>
                <a:cubicBezTo>
                  <a:pt x="2556628" y="459315"/>
                  <a:pt x="2541651" y="456370"/>
                  <a:pt x="2527852" y="450480"/>
                </a:cubicBezTo>
                <a:cubicBezTo>
                  <a:pt x="2514054" y="444591"/>
                  <a:pt x="2502190" y="436177"/>
                  <a:pt x="2492262" y="425239"/>
                </a:cubicBezTo>
                <a:cubicBezTo>
                  <a:pt x="2482334" y="414301"/>
                  <a:pt x="2474594" y="401176"/>
                  <a:pt x="2469040" y="385863"/>
                </a:cubicBezTo>
                <a:cubicBezTo>
                  <a:pt x="2463487" y="370550"/>
                  <a:pt x="2460711" y="353638"/>
                  <a:pt x="2460711" y="335128"/>
                </a:cubicBezTo>
                <a:cubicBezTo>
                  <a:pt x="2460711" y="316281"/>
                  <a:pt x="2463403" y="299201"/>
                  <a:pt x="2468788" y="283888"/>
                </a:cubicBezTo>
                <a:cubicBezTo>
                  <a:pt x="2474173" y="268575"/>
                  <a:pt x="2481829" y="255366"/>
                  <a:pt x="2491758" y="244259"/>
                </a:cubicBezTo>
                <a:cubicBezTo>
                  <a:pt x="2501686" y="233153"/>
                  <a:pt x="2513465" y="224571"/>
                  <a:pt x="2527095" y="218513"/>
                </a:cubicBezTo>
                <a:cubicBezTo>
                  <a:pt x="2540726" y="212455"/>
                  <a:pt x="2555954" y="209427"/>
                  <a:pt x="2572782" y="209427"/>
                </a:cubicBezTo>
                <a:cubicBezTo>
                  <a:pt x="2589609" y="209427"/>
                  <a:pt x="2604838" y="212455"/>
                  <a:pt x="2618468" y="218513"/>
                </a:cubicBezTo>
                <a:cubicBezTo>
                  <a:pt x="2632098" y="224571"/>
                  <a:pt x="2643794" y="233153"/>
                  <a:pt x="2653554" y="244259"/>
                </a:cubicBezTo>
                <a:cubicBezTo>
                  <a:pt x="2663314" y="255366"/>
                  <a:pt x="2670886" y="268575"/>
                  <a:pt x="2676271" y="283888"/>
                </a:cubicBezTo>
                <a:cubicBezTo>
                  <a:pt x="2681656" y="299201"/>
                  <a:pt x="2684348" y="316281"/>
                  <a:pt x="2684348" y="335128"/>
                </a:cubicBezTo>
                <a:cubicBezTo>
                  <a:pt x="2684348" y="353638"/>
                  <a:pt x="2681656" y="370550"/>
                  <a:pt x="2676271" y="385863"/>
                </a:cubicBezTo>
                <a:cubicBezTo>
                  <a:pt x="2670886" y="401176"/>
                  <a:pt x="2663230" y="414301"/>
                  <a:pt x="2653302" y="425239"/>
                </a:cubicBezTo>
                <a:cubicBezTo>
                  <a:pt x="2643373" y="436177"/>
                  <a:pt x="2631594" y="444591"/>
                  <a:pt x="2617964" y="450480"/>
                </a:cubicBezTo>
                <a:cubicBezTo>
                  <a:pt x="2604334" y="456370"/>
                  <a:pt x="2589273" y="459315"/>
                  <a:pt x="2572782" y="459315"/>
                </a:cubicBezTo>
                <a:close/>
                <a:moveTo>
                  <a:pt x="1810782" y="459315"/>
                </a:moveTo>
                <a:cubicBezTo>
                  <a:pt x="1794628" y="459315"/>
                  <a:pt x="1779651" y="456370"/>
                  <a:pt x="1765853" y="450480"/>
                </a:cubicBezTo>
                <a:cubicBezTo>
                  <a:pt x="1752054" y="444591"/>
                  <a:pt x="1740191" y="436177"/>
                  <a:pt x="1730262" y="425239"/>
                </a:cubicBezTo>
                <a:cubicBezTo>
                  <a:pt x="1720334" y="414301"/>
                  <a:pt x="1712594" y="401176"/>
                  <a:pt x="1707040" y="385863"/>
                </a:cubicBezTo>
                <a:cubicBezTo>
                  <a:pt x="1701488" y="370550"/>
                  <a:pt x="1698711" y="353638"/>
                  <a:pt x="1698711" y="335128"/>
                </a:cubicBezTo>
                <a:cubicBezTo>
                  <a:pt x="1698711" y="316281"/>
                  <a:pt x="1701403" y="299201"/>
                  <a:pt x="1706788" y="283888"/>
                </a:cubicBezTo>
                <a:cubicBezTo>
                  <a:pt x="1712173" y="268575"/>
                  <a:pt x="1719829" y="255366"/>
                  <a:pt x="1729758" y="244259"/>
                </a:cubicBezTo>
                <a:cubicBezTo>
                  <a:pt x="1739686" y="233153"/>
                  <a:pt x="1751465" y="224571"/>
                  <a:pt x="1765095" y="218513"/>
                </a:cubicBezTo>
                <a:cubicBezTo>
                  <a:pt x="1778726" y="212455"/>
                  <a:pt x="1793954" y="209427"/>
                  <a:pt x="1810782" y="209427"/>
                </a:cubicBezTo>
                <a:cubicBezTo>
                  <a:pt x="1827610" y="209427"/>
                  <a:pt x="1842838" y="212455"/>
                  <a:pt x="1856469" y="218513"/>
                </a:cubicBezTo>
                <a:cubicBezTo>
                  <a:pt x="1870099" y="224571"/>
                  <a:pt x="1881794" y="233153"/>
                  <a:pt x="1891554" y="244259"/>
                </a:cubicBezTo>
                <a:cubicBezTo>
                  <a:pt x="1901314" y="255366"/>
                  <a:pt x="1908886" y="268575"/>
                  <a:pt x="1914271" y="283888"/>
                </a:cubicBezTo>
                <a:cubicBezTo>
                  <a:pt x="1919656" y="299201"/>
                  <a:pt x="1922348" y="316281"/>
                  <a:pt x="1922348" y="335128"/>
                </a:cubicBezTo>
                <a:cubicBezTo>
                  <a:pt x="1922348" y="353638"/>
                  <a:pt x="1919656" y="370550"/>
                  <a:pt x="1914271" y="385863"/>
                </a:cubicBezTo>
                <a:cubicBezTo>
                  <a:pt x="1908886" y="401176"/>
                  <a:pt x="1901230" y="414301"/>
                  <a:pt x="1891302" y="425239"/>
                </a:cubicBezTo>
                <a:cubicBezTo>
                  <a:pt x="1881374" y="436177"/>
                  <a:pt x="1869594" y="444591"/>
                  <a:pt x="1855964" y="450480"/>
                </a:cubicBezTo>
                <a:cubicBezTo>
                  <a:pt x="1842334" y="456370"/>
                  <a:pt x="1827273" y="459315"/>
                  <a:pt x="1810782" y="459315"/>
                </a:cubicBezTo>
                <a:close/>
                <a:moveTo>
                  <a:pt x="810657" y="459315"/>
                </a:moveTo>
                <a:cubicBezTo>
                  <a:pt x="794503" y="459315"/>
                  <a:pt x="779526" y="456370"/>
                  <a:pt x="765728" y="450480"/>
                </a:cubicBezTo>
                <a:cubicBezTo>
                  <a:pt x="751929" y="444591"/>
                  <a:pt x="740066" y="436177"/>
                  <a:pt x="730138" y="425239"/>
                </a:cubicBezTo>
                <a:cubicBezTo>
                  <a:pt x="720209" y="414301"/>
                  <a:pt x="712469" y="401176"/>
                  <a:pt x="706916" y="385863"/>
                </a:cubicBezTo>
                <a:cubicBezTo>
                  <a:pt x="701362" y="370550"/>
                  <a:pt x="698586" y="353638"/>
                  <a:pt x="698586" y="335128"/>
                </a:cubicBezTo>
                <a:cubicBezTo>
                  <a:pt x="698586" y="316281"/>
                  <a:pt x="701278" y="299201"/>
                  <a:pt x="706663" y="283888"/>
                </a:cubicBezTo>
                <a:cubicBezTo>
                  <a:pt x="712048" y="268575"/>
                  <a:pt x="719704" y="255366"/>
                  <a:pt x="729633" y="244259"/>
                </a:cubicBezTo>
                <a:cubicBezTo>
                  <a:pt x="739561" y="233153"/>
                  <a:pt x="751340" y="224571"/>
                  <a:pt x="764970" y="218513"/>
                </a:cubicBezTo>
                <a:cubicBezTo>
                  <a:pt x="778601" y="212455"/>
                  <a:pt x="793830" y="209427"/>
                  <a:pt x="810657" y="209427"/>
                </a:cubicBezTo>
                <a:cubicBezTo>
                  <a:pt x="827485" y="209427"/>
                  <a:pt x="842713" y="212455"/>
                  <a:pt x="856344" y="218513"/>
                </a:cubicBezTo>
                <a:cubicBezTo>
                  <a:pt x="869974" y="224571"/>
                  <a:pt x="881669" y="233153"/>
                  <a:pt x="891429" y="244259"/>
                </a:cubicBezTo>
                <a:cubicBezTo>
                  <a:pt x="901189" y="255366"/>
                  <a:pt x="908761" y="268575"/>
                  <a:pt x="914146" y="283888"/>
                </a:cubicBezTo>
                <a:cubicBezTo>
                  <a:pt x="919531" y="299201"/>
                  <a:pt x="922223" y="316281"/>
                  <a:pt x="922223" y="335128"/>
                </a:cubicBezTo>
                <a:cubicBezTo>
                  <a:pt x="922223" y="353638"/>
                  <a:pt x="919531" y="370550"/>
                  <a:pt x="914146" y="385863"/>
                </a:cubicBezTo>
                <a:cubicBezTo>
                  <a:pt x="908761" y="401176"/>
                  <a:pt x="901105" y="414301"/>
                  <a:pt x="891177" y="425239"/>
                </a:cubicBezTo>
                <a:cubicBezTo>
                  <a:pt x="881248" y="436177"/>
                  <a:pt x="869469" y="444591"/>
                  <a:pt x="855839" y="450480"/>
                </a:cubicBezTo>
                <a:cubicBezTo>
                  <a:pt x="842209" y="456370"/>
                  <a:pt x="827148" y="459315"/>
                  <a:pt x="810657" y="459315"/>
                </a:cubicBezTo>
                <a:close/>
                <a:moveTo>
                  <a:pt x="546919" y="477993"/>
                </a:moveTo>
                <a:cubicBezTo>
                  <a:pt x="563410" y="477993"/>
                  <a:pt x="576620" y="474207"/>
                  <a:pt x="586548" y="466635"/>
                </a:cubicBezTo>
                <a:cubicBezTo>
                  <a:pt x="596476" y="459062"/>
                  <a:pt x="601441" y="446189"/>
                  <a:pt x="601441" y="428016"/>
                </a:cubicBezTo>
                <a:cubicBezTo>
                  <a:pt x="601441" y="408832"/>
                  <a:pt x="596392" y="395286"/>
                  <a:pt x="586296" y="387377"/>
                </a:cubicBezTo>
                <a:cubicBezTo>
                  <a:pt x="576199" y="379468"/>
                  <a:pt x="561223" y="375514"/>
                  <a:pt x="541366" y="375514"/>
                </a:cubicBezTo>
                <a:lnTo>
                  <a:pt x="516125" y="375514"/>
                </a:lnTo>
                <a:lnTo>
                  <a:pt x="516125" y="476479"/>
                </a:lnTo>
                <a:cubicBezTo>
                  <a:pt x="519827" y="477152"/>
                  <a:pt x="524960" y="477573"/>
                  <a:pt x="531522" y="477741"/>
                </a:cubicBezTo>
                <a:cubicBezTo>
                  <a:pt x="538085" y="477909"/>
                  <a:pt x="543217" y="477993"/>
                  <a:pt x="546919" y="477993"/>
                </a:cubicBezTo>
                <a:close/>
                <a:moveTo>
                  <a:pt x="3324752" y="482537"/>
                </a:moveTo>
                <a:cubicBezTo>
                  <a:pt x="3341916" y="482537"/>
                  <a:pt x="3354958" y="473198"/>
                  <a:pt x="3363876" y="454519"/>
                </a:cubicBezTo>
                <a:cubicBezTo>
                  <a:pt x="3372794" y="435841"/>
                  <a:pt x="3377254" y="408664"/>
                  <a:pt x="3377254" y="372990"/>
                </a:cubicBezTo>
                <a:cubicBezTo>
                  <a:pt x="3377254" y="336979"/>
                  <a:pt x="3372794" y="309634"/>
                  <a:pt x="3363876" y="290956"/>
                </a:cubicBezTo>
                <a:cubicBezTo>
                  <a:pt x="3354958" y="272277"/>
                  <a:pt x="3341916" y="262938"/>
                  <a:pt x="3324752" y="262938"/>
                </a:cubicBezTo>
                <a:cubicBezTo>
                  <a:pt x="3307924" y="262938"/>
                  <a:pt x="3294968" y="272277"/>
                  <a:pt x="3285880" y="290956"/>
                </a:cubicBezTo>
                <a:cubicBezTo>
                  <a:pt x="3276794" y="309634"/>
                  <a:pt x="3272250" y="336979"/>
                  <a:pt x="3272250" y="372990"/>
                </a:cubicBezTo>
                <a:cubicBezTo>
                  <a:pt x="3272250" y="408664"/>
                  <a:pt x="3276794" y="435841"/>
                  <a:pt x="3285880" y="454519"/>
                </a:cubicBezTo>
                <a:cubicBezTo>
                  <a:pt x="3294968" y="473198"/>
                  <a:pt x="3307924" y="482537"/>
                  <a:pt x="3324752" y="482537"/>
                </a:cubicBezTo>
                <a:close/>
                <a:moveTo>
                  <a:pt x="1323054" y="522923"/>
                </a:moveTo>
                <a:lnTo>
                  <a:pt x="1260961" y="512826"/>
                </a:lnTo>
                <a:lnTo>
                  <a:pt x="1260961" y="453257"/>
                </a:lnTo>
                <a:lnTo>
                  <a:pt x="1206945" y="453257"/>
                </a:lnTo>
                <a:lnTo>
                  <a:pt x="1206945" y="401765"/>
                </a:lnTo>
                <a:lnTo>
                  <a:pt x="1260961" y="401765"/>
                </a:lnTo>
                <a:lnTo>
                  <a:pt x="1260961" y="304334"/>
                </a:lnTo>
                <a:cubicBezTo>
                  <a:pt x="1260961" y="284477"/>
                  <a:pt x="1262980" y="268407"/>
                  <a:pt x="1267019" y="256123"/>
                </a:cubicBezTo>
                <a:cubicBezTo>
                  <a:pt x="1271057" y="243839"/>
                  <a:pt x="1276947" y="234331"/>
                  <a:pt x="1284688" y="227600"/>
                </a:cubicBezTo>
                <a:cubicBezTo>
                  <a:pt x="1292428" y="220869"/>
                  <a:pt x="1301852" y="216326"/>
                  <a:pt x="1312958" y="213970"/>
                </a:cubicBezTo>
                <a:cubicBezTo>
                  <a:pt x="1324064" y="211614"/>
                  <a:pt x="1336853" y="210436"/>
                  <a:pt x="1351325" y="210436"/>
                </a:cubicBezTo>
                <a:cubicBezTo>
                  <a:pt x="1363777" y="210436"/>
                  <a:pt x="1376650" y="211446"/>
                  <a:pt x="1389944" y="213465"/>
                </a:cubicBezTo>
                <a:cubicBezTo>
                  <a:pt x="1403238" y="215484"/>
                  <a:pt x="1415606" y="218850"/>
                  <a:pt x="1427048" y="223562"/>
                </a:cubicBezTo>
                <a:lnTo>
                  <a:pt x="1418466" y="277073"/>
                </a:lnTo>
                <a:cubicBezTo>
                  <a:pt x="1412745" y="274381"/>
                  <a:pt x="1407444" y="272193"/>
                  <a:pt x="1402564" y="270510"/>
                </a:cubicBezTo>
                <a:cubicBezTo>
                  <a:pt x="1397684" y="268828"/>
                  <a:pt x="1392973" y="267566"/>
                  <a:pt x="1388429" y="266724"/>
                </a:cubicBezTo>
                <a:cubicBezTo>
                  <a:pt x="1383886" y="265883"/>
                  <a:pt x="1379174" y="265294"/>
                  <a:pt x="1374294" y="264957"/>
                </a:cubicBezTo>
                <a:cubicBezTo>
                  <a:pt x="1369414" y="264621"/>
                  <a:pt x="1364114" y="264452"/>
                  <a:pt x="1358392" y="264452"/>
                </a:cubicBezTo>
                <a:cubicBezTo>
                  <a:pt x="1353007" y="264452"/>
                  <a:pt x="1348127" y="264957"/>
                  <a:pt x="1343752" y="265967"/>
                </a:cubicBezTo>
                <a:cubicBezTo>
                  <a:pt x="1339377" y="266977"/>
                  <a:pt x="1335675" y="268996"/>
                  <a:pt x="1332646" y="272025"/>
                </a:cubicBezTo>
                <a:cubicBezTo>
                  <a:pt x="1329617" y="275054"/>
                  <a:pt x="1327261" y="279261"/>
                  <a:pt x="1325579" y="284645"/>
                </a:cubicBezTo>
                <a:cubicBezTo>
                  <a:pt x="1323896" y="290030"/>
                  <a:pt x="1323054" y="297098"/>
                  <a:pt x="1323054" y="305848"/>
                </a:cubicBezTo>
                <a:lnTo>
                  <a:pt x="1323054" y="401765"/>
                </a:lnTo>
                <a:lnTo>
                  <a:pt x="1422505" y="401765"/>
                </a:lnTo>
                <a:lnTo>
                  <a:pt x="1422505" y="453257"/>
                </a:lnTo>
                <a:lnTo>
                  <a:pt x="1323054" y="453257"/>
                </a:lnTo>
                <a:close/>
                <a:moveTo>
                  <a:pt x="539852" y="532010"/>
                </a:moveTo>
                <a:cubicBezTo>
                  <a:pt x="534131" y="532010"/>
                  <a:pt x="527568" y="531841"/>
                  <a:pt x="520164" y="531505"/>
                </a:cubicBezTo>
                <a:cubicBezTo>
                  <a:pt x="512760" y="531168"/>
                  <a:pt x="505187" y="530748"/>
                  <a:pt x="497447" y="530243"/>
                </a:cubicBezTo>
                <a:cubicBezTo>
                  <a:pt x="489706" y="529738"/>
                  <a:pt x="482049" y="528981"/>
                  <a:pt x="474477" y="527971"/>
                </a:cubicBezTo>
                <a:cubicBezTo>
                  <a:pt x="466905" y="526961"/>
                  <a:pt x="460090" y="525784"/>
                  <a:pt x="454032" y="524437"/>
                </a:cubicBezTo>
                <a:lnTo>
                  <a:pt x="454032" y="215989"/>
                </a:lnTo>
                <a:lnTo>
                  <a:pt x="516125" y="215989"/>
                </a:lnTo>
                <a:lnTo>
                  <a:pt x="516125" y="321498"/>
                </a:lnTo>
                <a:lnTo>
                  <a:pt x="538337" y="321498"/>
                </a:lnTo>
                <a:cubicBezTo>
                  <a:pt x="578723" y="321498"/>
                  <a:pt x="609938" y="329827"/>
                  <a:pt x="631982" y="346486"/>
                </a:cubicBezTo>
                <a:cubicBezTo>
                  <a:pt x="654026" y="363146"/>
                  <a:pt x="665048" y="390154"/>
                  <a:pt x="665048" y="427511"/>
                </a:cubicBezTo>
                <a:cubicBezTo>
                  <a:pt x="665048" y="464531"/>
                  <a:pt x="654111" y="491203"/>
                  <a:pt x="632235" y="507526"/>
                </a:cubicBezTo>
                <a:cubicBezTo>
                  <a:pt x="610359" y="523848"/>
                  <a:pt x="579565" y="532010"/>
                  <a:pt x="539852" y="532010"/>
                </a:cubicBezTo>
                <a:close/>
                <a:moveTo>
                  <a:pt x="3816452" y="535544"/>
                </a:moveTo>
                <a:cubicBezTo>
                  <a:pt x="3797604" y="535544"/>
                  <a:pt x="3780694" y="532430"/>
                  <a:pt x="3765716" y="526204"/>
                </a:cubicBezTo>
                <a:cubicBezTo>
                  <a:pt x="3750740" y="519978"/>
                  <a:pt x="3738708" y="513836"/>
                  <a:pt x="3729622" y="507778"/>
                </a:cubicBezTo>
                <a:lnTo>
                  <a:pt x="3751834" y="462344"/>
                </a:lnTo>
                <a:cubicBezTo>
                  <a:pt x="3760248" y="468065"/>
                  <a:pt x="3770260" y="472861"/>
                  <a:pt x="3781872" y="476731"/>
                </a:cubicBezTo>
                <a:cubicBezTo>
                  <a:pt x="3793482" y="480602"/>
                  <a:pt x="3805178" y="482537"/>
                  <a:pt x="3816956" y="482537"/>
                </a:cubicBezTo>
                <a:cubicBezTo>
                  <a:pt x="3829072" y="482537"/>
                  <a:pt x="3838580" y="479255"/>
                  <a:pt x="3845480" y="472693"/>
                </a:cubicBezTo>
                <a:cubicBezTo>
                  <a:pt x="3852378" y="466130"/>
                  <a:pt x="3855828" y="457127"/>
                  <a:pt x="3855828" y="445685"/>
                </a:cubicBezTo>
                <a:cubicBezTo>
                  <a:pt x="3855828" y="437944"/>
                  <a:pt x="3854230" y="431550"/>
                  <a:pt x="3851032" y="426501"/>
                </a:cubicBezTo>
                <a:cubicBezTo>
                  <a:pt x="3847836" y="421453"/>
                  <a:pt x="3843712" y="417414"/>
                  <a:pt x="3838664" y="414385"/>
                </a:cubicBezTo>
                <a:cubicBezTo>
                  <a:pt x="3833616" y="411357"/>
                  <a:pt x="3827894" y="409169"/>
                  <a:pt x="3821500" y="407823"/>
                </a:cubicBezTo>
                <a:cubicBezTo>
                  <a:pt x="3815106" y="406477"/>
                  <a:pt x="3808712" y="405803"/>
                  <a:pt x="3802316" y="405803"/>
                </a:cubicBezTo>
                <a:lnTo>
                  <a:pt x="3779094" y="405803"/>
                </a:lnTo>
                <a:lnTo>
                  <a:pt x="3779094" y="354311"/>
                </a:lnTo>
                <a:lnTo>
                  <a:pt x="3798278" y="354311"/>
                </a:lnTo>
                <a:cubicBezTo>
                  <a:pt x="3818470" y="354311"/>
                  <a:pt x="3835130" y="351030"/>
                  <a:pt x="3848256" y="344467"/>
                </a:cubicBezTo>
                <a:cubicBezTo>
                  <a:pt x="3861380" y="337904"/>
                  <a:pt x="3867944" y="326378"/>
                  <a:pt x="3867944" y="309887"/>
                </a:cubicBezTo>
                <a:cubicBezTo>
                  <a:pt x="3867944" y="296425"/>
                  <a:pt x="3863652" y="285150"/>
                  <a:pt x="3855072" y="276063"/>
                </a:cubicBezTo>
                <a:cubicBezTo>
                  <a:pt x="3846488" y="266977"/>
                  <a:pt x="3831596" y="262433"/>
                  <a:pt x="3810394" y="262433"/>
                </a:cubicBezTo>
                <a:cubicBezTo>
                  <a:pt x="3793230" y="262433"/>
                  <a:pt x="3778506" y="264284"/>
                  <a:pt x="3766222" y="267986"/>
                </a:cubicBezTo>
                <a:cubicBezTo>
                  <a:pt x="3753938" y="271688"/>
                  <a:pt x="3743924" y="275222"/>
                  <a:pt x="3736184" y="278588"/>
                </a:cubicBezTo>
                <a:lnTo>
                  <a:pt x="3724068" y="226591"/>
                </a:lnTo>
                <a:cubicBezTo>
                  <a:pt x="3727770" y="224908"/>
                  <a:pt x="3732988" y="223057"/>
                  <a:pt x="3739718" y="221037"/>
                </a:cubicBezTo>
                <a:cubicBezTo>
                  <a:pt x="3746450" y="219018"/>
                  <a:pt x="3753770" y="217167"/>
                  <a:pt x="3761678" y="215484"/>
                </a:cubicBezTo>
                <a:cubicBezTo>
                  <a:pt x="3769588" y="213802"/>
                  <a:pt x="3777832" y="212371"/>
                  <a:pt x="3786414" y="211193"/>
                </a:cubicBezTo>
                <a:cubicBezTo>
                  <a:pt x="3794996" y="210015"/>
                  <a:pt x="3803158" y="209427"/>
                  <a:pt x="3810898" y="209427"/>
                </a:cubicBezTo>
                <a:cubicBezTo>
                  <a:pt x="3831764" y="209427"/>
                  <a:pt x="3849770" y="211867"/>
                  <a:pt x="3864916" y="216746"/>
                </a:cubicBezTo>
                <a:cubicBezTo>
                  <a:pt x="3880060" y="221626"/>
                  <a:pt x="3892512" y="228526"/>
                  <a:pt x="3902272" y="237444"/>
                </a:cubicBezTo>
                <a:cubicBezTo>
                  <a:pt x="3912032" y="246363"/>
                  <a:pt x="3919268" y="256880"/>
                  <a:pt x="3923980" y="268996"/>
                </a:cubicBezTo>
                <a:cubicBezTo>
                  <a:pt x="3928692" y="281112"/>
                  <a:pt x="3931048" y="294405"/>
                  <a:pt x="3931048" y="308877"/>
                </a:cubicBezTo>
                <a:cubicBezTo>
                  <a:pt x="3931048" y="327051"/>
                  <a:pt x="3926588" y="342700"/>
                  <a:pt x="3917668" y="355826"/>
                </a:cubicBezTo>
                <a:cubicBezTo>
                  <a:pt x="3908750" y="368951"/>
                  <a:pt x="3896214" y="378879"/>
                  <a:pt x="3880060" y="385610"/>
                </a:cubicBezTo>
                <a:cubicBezTo>
                  <a:pt x="3891840" y="391668"/>
                  <a:pt x="3901262" y="400419"/>
                  <a:pt x="3908330" y="411861"/>
                </a:cubicBezTo>
                <a:cubicBezTo>
                  <a:pt x="3915398" y="423304"/>
                  <a:pt x="3918932" y="435252"/>
                  <a:pt x="3918932" y="447704"/>
                </a:cubicBezTo>
                <a:cubicBezTo>
                  <a:pt x="3918932" y="460156"/>
                  <a:pt x="3916912" y="471767"/>
                  <a:pt x="3912874" y="482537"/>
                </a:cubicBezTo>
                <a:cubicBezTo>
                  <a:pt x="3908834" y="493306"/>
                  <a:pt x="3902608" y="502646"/>
                  <a:pt x="3894196" y="510555"/>
                </a:cubicBezTo>
                <a:cubicBezTo>
                  <a:pt x="3885780" y="518464"/>
                  <a:pt x="3875096" y="524606"/>
                  <a:pt x="3862138" y="528981"/>
                </a:cubicBezTo>
                <a:cubicBezTo>
                  <a:pt x="3849180" y="533356"/>
                  <a:pt x="3833952" y="535544"/>
                  <a:pt x="3816452" y="535544"/>
                </a:cubicBezTo>
                <a:close/>
                <a:moveTo>
                  <a:pt x="3567354" y="535544"/>
                </a:moveTo>
                <a:cubicBezTo>
                  <a:pt x="3549854" y="535544"/>
                  <a:pt x="3532268" y="532178"/>
                  <a:pt x="3514600" y="525447"/>
                </a:cubicBezTo>
                <a:cubicBezTo>
                  <a:pt x="3496930" y="518716"/>
                  <a:pt x="3481366" y="508283"/>
                  <a:pt x="3467904" y="494148"/>
                </a:cubicBezTo>
                <a:lnTo>
                  <a:pt x="3498698" y="450733"/>
                </a:lnTo>
                <a:cubicBezTo>
                  <a:pt x="3509130" y="461839"/>
                  <a:pt x="3519732" y="469748"/>
                  <a:pt x="3530502" y="474460"/>
                </a:cubicBezTo>
                <a:cubicBezTo>
                  <a:pt x="3541272" y="479171"/>
                  <a:pt x="3551536" y="481527"/>
                  <a:pt x="3561296" y="481527"/>
                </a:cubicBezTo>
                <a:cubicBezTo>
                  <a:pt x="3573076" y="481527"/>
                  <a:pt x="3582836" y="478078"/>
                  <a:pt x="3590576" y="471178"/>
                </a:cubicBezTo>
                <a:cubicBezTo>
                  <a:pt x="3598316" y="464279"/>
                  <a:pt x="3602186" y="454435"/>
                  <a:pt x="3602188" y="441646"/>
                </a:cubicBezTo>
                <a:cubicBezTo>
                  <a:pt x="3602186" y="432559"/>
                  <a:pt x="3599074" y="423641"/>
                  <a:pt x="3592848" y="414890"/>
                </a:cubicBezTo>
                <a:cubicBezTo>
                  <a:pt x="3586622" y="406140"/>
                  <a:pt x="3578712" y="397053"/>
                  <a:pt x="3569120" y="387630"/>
                </a:cubicBezTo>
                <a:cubicBezTo>
                  <a:pt x="3559528" y="378206"/>
                  <a:pt x="3549264" y="368362"/>
                  <a:pt x="3538326" y="358097"/>
                </a:cubicBezTo>
                <a:cubicBezTo>
                  <a:pt x="3527388" y="347833"/>
                  <a:pt x="3517124" y="336727"/>
                  <a:pt x="3507532" y="324779"/>
                </a:cubicBezTo>
                <a:cubicBezTo>
                  <a:pt x="3497940" y="312831"/>
                  <a:pt x="3490032" y="299790"/>
                  <a:pt x="3483806" y="285655"/>
                </a:cubicBezTo>
                <a:cubicBezTo>
                  <a:pt x="3477580" y="271520"/>
                  <a:pt x="3474466" y="256039"/>
                  <a:pt x="3474466" y="239211"/>
                </a:cubicBezTo>
                <a:cubicBezTo>
                  <a:pt x="3474466" y="237192"/>
                  <a:pt x="3474382" y="233658"/>
                  <a:pt x="3474214" y="228610"/>
                </a:cubicBezTo>
                <a:cubicBezTo>
                  <a:pt x="3474046" y="223562"/>
                  <a:pt x="3474466" y="219355"/>
                  <a:pt x="3475476" y="215989"/>
                </a:cubicBezTo>
                <a:lnTo>
                  <a:pt x="3679426" y="215989"/>
                </a:lnTo>
                <a:lnTo>
                  <a:pt x="3679426" y="267481"/>
                </a:lnTo>
                <a:lnTo>
                  <a:pt x="3545142" y="267481"/>
                </a:lnTo>
                <a:cubicBezTo>
                  <a:pt x="3545142" y="272530"/>
                  <a:pt x="3546908" y="278083"/>
                  <a:pt x="3550442" y="284141"/>
                </a:cubicBezTo>
                <a:cubicBezTo>
                  <a:pt x="3553976" y="290198"/>
                  <a:pt x="3558268" y="296172"/>
                  <a:pt x="3563316" y="302062"/>
                </a:cubicBezTo>
                <a:cubicBezTo>
                  <a:pt x="3568364" y="307952"/>
                  <a:pt x="3573748" y="313673"/>
                  <a:pt x="3579470" y="319226"/>
                </a:cubicBezTo>
                <a:cubicBezTo>
                  <a:pt x="3585190" y="324779"/>
                  <a:pt x="3590240" y="329575"/>
                  <a:pt x="3594614" y="333613"/>
                </a:cubicBezTo>
                <a:cubicBezTo>
                  <a:pt x="3603364" y="341691"/>
                  <a:pt x="3611946" y="350104"/>
                  <a:pt x="3620360" y="358855"/>
                </a:cubicBezTo>
                <a:cubicBezTo>
                  <a:pt x="3628774" y="367605"/>
                  <a:pt x="3636346" y="376692"/>
                  <a:pt x="3643078" y="386115"/>
                </a:cubicBezTo>
                <a:cubicBezTo>
                  <a:pt x="3649808" y="395539"/>
                  <a:pt x="3655194" y="405214"/>
                  <a:pt x="3659232" y="415143"/>
                </a:cubicBezTo>
                <a:cubicBezTo>
                  <a:pt x="3663270" y="425071"/>
                  <a:pt x="3665290" y="435420"/>
                  <a:pt x="3665290" y="446189"/>
                </a:cubicBezTo>
                <a:cubicBezTo>
                  <a:pt x="3665290" y="460998"/>
                  <a:pt x="3662598" y="474039"/>
                  <a:pt x="3657212" y="485313"/>
                </a:cubicBezTo>
                <a:cubicBezTo>
                  <a:pt x="3651828" y="496588"/>
                  <a:pt x="3644592" y="505927"/>
                  <a:pt x="3635506" y="513331"/>
                </a:cubicBezTo>
                <a:cubicBezTo>
                  <a:pt x="3626418" y="520735"/>
                  <a:pt x="3615986" y="526288"/>
                  <a:pt x="3604206" y="529990"/>
                </a:cubicBezTo>
                <a:cubicBezTo>
                  <a:pt x="3592426" y="533692"/>
                  <a:pt x="3580142" y="535544"/>
                  <a:pt x="3567354" y="535544"/>
                </a:cubicBezTo>
                <a:close/>
                <a:moveTo>
                  <a:pt x="3324752" y="535544"/>
                </a:moveTo>
                <a:cubicBezTo>
                  <a:pt x="3290088" y="535544"/>
                  <a:pt x="3263332" y="522081"/>
                  <a:pt x="3244486" y="495157"/>
                </a:cubicBezTo>
                <a:cubicBezTo>
                  <a:pt x="3225638" y="468233"/>
                  <a:pt x="3216214" y="427511"/>
                  <a:pt x="3216214" y="372990"/>
                </a:cubicBezTo>
                <a:cubicBezTo>
                  <a:pt x="3216214" y="317796"/>
                  <a:pt x="3225470" y="276737"/>
                  <a:pt x="3243980" y="249813"/>
                </a:cubicBezTo>
                <a:cubicBezTo>
                  <a:pt x="3262490" y="222889"/>
                  <a:pt x="3289414" y="209427"/>
                  <a:pt x="3324752" y="209427"/>
                </a:cubicBezTo>
                <a:cubicBezTo>
                  <a:pt x="3360090" y="209427"/>
                  <a:pt x="3387014" y="222889"/>
                  <a:pt x="3405524" y="249813"/>
                </a:cubicBezTo>
                <a:cubicBezTo>
                  <a:pt x="3424034" y="276737"/>
                  <a:pt x="3433290" y="317796"/>
                  <a:pt x="3433290" y="372990"/>
                </a:cubicBezTo>
                <a:cubicBezTo>
                  <a:pt x="3433290" y="427847"/>
                  <a:pt x="3424034" y="468654"/>
                  <a:pt x="3405524" y="495410"/>
                </a:cubicBezTo>
                <a:cubicBezTo>
                  <a:pt x="3387014" y="522166"/>
                  <a:pt x="3360090" y="535544"/>
                  <a:pt x="3324752" y="535544"/>
                </a:cubicBezTo>
                <a:close/>
                <a:moveTo>
                  <a:pt x="3062528" y="535544"/>
                </a:moveTo>
                <a:cubicBezTo>
                  <a:pt x="3045028" y="535544"/>
                  <a:pt x="3027444" y="532178"/>
                  <a:pt x="3009774" y="525447"/>
                </a:cubicBezTo>
                <a:cubicBezTo>
                  <a:pt x="2992106" y="518716"/>
                  <a:pt x="2976540" y="508283"/>
                  <a:pt x="2963078" y="494148"/>
                </a:cubicBezTo>
                <a:lnTo>
                  <a:pt x="2993872" y="450733"/>
                </a:lnTo>
                <a:cubicBezTo>
                  <a:pt x="3004306" y="461839"/>
                  <a:pt x="3014908" y="469748"/>
                  <a:pt x="3025676" y="474460"/>
                </a:cubicBezTo>
                <a:cubicBezTo>
                  <a:pt x="3036446" y="479171"/>
                  <a:pt x="3046712" y="481527"/>
                  <a:pt x="3056472" y="481527"/>
                </a:cubicBezTo>
                <a:cubicBezTo>
                  <a:pt x="3068250" y="481527"/>
                  <a:pt x="3078010" y="478078"/>
                  <a:pt x="3085752" y="471178"/>
                </a:cubicBezTo>
                <a:cubicBezTo>
                  <a:pt x="3093492" y="464279"/>
                  <a:pt x="3097362" y="454435"/>
                  <a:pt x="3097362" y="441646"/>
                </a:cubicBezTo>
                <a:cubicBezTo>
                  <a:pt x="3097362" y="432559"/>
                  <a:pt x="3094248" y="423641"/>
                  <a:pt x="3088022" y="414890"/>
                </a:cubicBezTo>
                <a:cubicBezTo>
                  <a:pt x="3081796" y="406140"/>
                  <a:pt x="3073888" y="397053"/>
                  <a:pt x="3064296" y="387630"/>
                </a:cubicBezTo>
                <a:cubicBezTo>
                  <a:pt x="3054704" y="378206"/>
                  <a:pt x="3044440" y="368362"/>
                  <a:pt x="3033502" y="358097"/>
                </a:cubicBezTo>
                <a:cubicBezTo>
                  <a:pt x="3022564" y="347833"/>
                  <a:pt x="3012298" y="336727"/>
                  <a:pt x="3002708" y="324779"/>
                </a:cubicBezTo>
                <a:cubicBezTo>
                  <a:pt x="2993116" y="312831"/>
                  <a:pt x="2985206" y="299790"/>
                  <a:pt x="2978980" y="285655"/>
                </a:cubicBezTo>
                <a:cubicBezTo>
                  <a:pt x="2972754" y="271520"/>
                  <a:pt x="2969642" y="256039"/>
                  <a:pt x="2969642" y="239211"/>
                </a:cubicBezTo>
                <a:cubicBezTo>
                  <a:pt x="2969642" y="237192"/>
                  <a:pt x="2969558" y="233658"/>
                  <a:pt x="2969388" y="228610"/>
                </a:cubicBezTo>
                <a:cubicBezTo>
                  <a:pt x="2969220" y="223562"/>
                  <a:pt x="2969640" y="219355"/>
                  <a:pt x="2970650" y="215989"/>
                </a:cubicBezTo>
                <a:lnTo>
                  <a:pt x="3174600" y="215989"/>
                </a:lnTo>
                <a:lnTo>
                  <a:pt x="3174600" y="267481"/>
                </a:lnTo>
                <a:lnTo>
                  <a:pt x="3040316" y="267481"/>
                </a:lnTo>
                <a:cubicBezTo>
                  <a:pt x="3040316" y="272530"/>
                  <a:pt x="3042084" y="278083"/>
                  <a:pt x="3045618" y="284141"/>
                </a:cubicBezTo>
                <a:cubicBezTo>
                  <a:pt x="3049152" y="290198"/>
                  <a:pt x="3053442" y="296172"/>
                  <a:pt x="3058490" y="302062"/>
                </a:cubicBezTo>
                <a:cubicBezTo>
                  <a:pt x="3063538" y="307952"/>
                  <a:pt x="3068924" y="313673"/>
                  <a:pt x="3074644" y="319226"/>
                </a:cubicBezTo>
                <a:cubicBezTo>
                  <a:pt x="3080366" y="324779"/>
                  <a:pt x="3085414" y="329575"/>
                  <a:pt x="3089790" y="333613"/>
                </a:cubicBezTo>
                <a:cubicBezTo>
                  <a:pt x="3098540" y="341691"/>
                  <a:pt x="3107122" y="350104"/>
                  <a:pt x="3115536" y="358855"/>
                </a:cubicBezTo>
                <a:cubicBezTo>
                  <a:pt x="3123950" y="367605"/>
                  <a:pt x="3131522" y="376692"/>
                  <a:pt x="3138252" y="386115"/>
                </a:cubicBezTo>
                <a:cubicBezTo>
                  <a:pt x="3144984" y="395539"/>
                  <a:pt x="3150368" y="405214"/>
                  <a:pt x="3154408" y="415143"/>
                </a:cubicBezTo>
                <a:cubicBezTo>
                  <a:pt x="3158446" y="425071"/>
                  <a:pt x="3160464" y="435420"/>
                  <a:pt x="3160464" y="446189"/>
                </a:cubicBezTo>
                <a:cubicBezTo>
                  <a:pt x="3160464" y="460998"/>
                  <a:pt x="3157772" y="474039"/>
                  <a:pt x="3152388" y="485313"/>
                </a:cubicBezTo>
                <a:cubicBezTo>
                  <a:pt x="3147002" y="496588"/>
                  <a:pt x="3139766" y="505927"/>
                  <a:pt x="3130680" y="513331"/>
                </a:cubicBezTo>
                <a:cubicBezTo>
                  <a:pt x="3121594" y="520735"/>
                  <a:pt x="3111160" y="526288"/>
                  <a:pt x="3099382" y="529990"/>
                </a:cubicBezTo>
                <a:cubicBezTo>
                  <a:pt x="3087602" y="533692"/>
                  <a:pt x="3075318" y="535544"/>
                  <a:pt x="3062528" y="535544"/>
                </a:cubicBezTo>
                <a:close/>
                <a:moveTo>
                  <a:pt x="2292890" y="561290"/>
                </a:moveTo>
                <a:cubicBezTo>
                  <a:pt x="2282120" y="561290"/>
                  <a:pt x="2272949" y="557756"/>
                  <a:pt x="2265377" y="550688"/>
                </a:cubicBezTo>
                <a:cubicBezTo>
                  <a:pt x="2257805" y="543621"/>
                  <a:pt x="2254018" y="533861"/>
                  <a:pt x="2254018" y="521408"/>
                </a:cubicBezTo>
                <a:cubicBezTo>
                  <a:pt x="2254018" y="509293"/>
                  <a:pt x="2257805" y="499701"/>
                  <a:pt x="2265377" y="492633"/>
                </a:cubicBezTo>
                <a:cubicBezTo>
                  <a:pt x="2272949" y="485566"/>
                  <a:pt x="2282120" y="482032"/>
                  <a:pt x="2292890" y="482032"/>
                </a:cubicBezTo>
                <a:cubicBezTo>
                  <a:pt x="2303660" y="482032"/>
                  <a:pt x="2312914" y="485566"/>
                  <a:pt x="2320655" y="492633"/>
                </a:cubicBezTo>
                <a:cubicBezTo>
                  <a:pt x="2328396" y="499701"/>
                  <a:pt x="2332266" y="509293"/>
                  <a:pt x="2332266" y="521408"/>
                </a:cubicBezTo>
                <a:cubicBezTo>
                  <a:pt x="2332266" y="533861"/>
                  <a:pt x="2328396" y="543621"/>
                  <a:pt x="2320655" y="550688"/>
                </a:cubicBezTo>
                <a:cubicBezTo>
                  <a:pt x="2312914" y="557756"/>
                  <a:pt x="2303660" y="561290"/>
                  <a:pt x="2292890" y="561290"/>
                </a:cubicBezTo>
                <a:close/>
                <a:moveTo>
                  <a:pt x="1959420" y="563309"/>
                </a:moveTo>
                <a:lnTo>
                  <a:pt x="1959420" y="511817"/>
                </a:lnTo>
                <a:lnTo>
                  <a:pt x="2025047" y="511817"/>
                </a:lnTo>
                <a:lnTo>
                  <a:pt x="2025047" y="310392"/>
                </a:lnTo>
                <a:cubicBezTo>
                  <a:pt x="2025047" y="277746"/>
                  <a:pt x="2031610" y="252926"/>
                  <a:pt x="2044735" y="235930"/>
                </a:cubicBezTo>
                <a:cubicBezTo>
                  <a:pt x="2057860" y="218934"/>
                  <a:pt x="2078727" y="210436"/>
                  <a:pt x="2107333" y="210436"/>
                </a:cubicBezTo>
                <a:cubicBezTo>
                  <a:pt x="2117767" y="210436"/>
                  <a:pt x="2127106" y="211109"/>
                  <a:pt x="2135351" y="212455"/>
                </a:cubicBezTo>
                <a:cubicBezTo>
                  <a:pt x="2143597" y="213802"/>
                  <a:pt x="2150580" y="215400"/>
                  <a:pt x="2156302" y="217251"/>
                </a:cubicBezTo>
                <a:cubicBezTo>
                  <a:pt x="2162023" y="219102"/>
                  <a:pt x="2166650" y="220869"/>
                  <a:pt x="2170184" y="222552"/>
                </a:cubicBezTo>
                <a:cubicBezTo>
                  <a:pt x="2173718" y="224235"/>
                  <a:pt x="2175990" y="225413"/>
                  <a:pt x="2176999" y="226086"/>
                </a:cubicBezTo>
                <a:lnTo>
                  <a:pt x="2168922" y="276063"/>
                </a:lnTo>
                <a:cubicBezTo>
                  <a:pt x="2166230" y="275054"/>
                  <a:pt x="2160677" y="272866"/>
                  <a:pt x="2152263" y="269501"/>
                </a:cubicBezTo>
                <a:cubicBezTo>
                  <a:pt x="2143849" y="266135"/>
                  <a:pt x="2133416" y="264452"/>
                  <a:pt x="2120964" y="264452"/>
                </a:cubicBezTo>
                <a:cubicBezTo>
                  <a:pt x="2111204" y="264452"/>
                  <a:pt x="2103126" y="267313"/>
                  <a:pt x="2096732" y="273034"/>
                </a:cubicBezTo>
                <a:cubicBezTo>
                  <a:pt x="2090338" y="278756"/>
                  <a:pt x="2087140" y="289694"/>
                  <a:pt x="2087140" y="305848"/>
                </a:cubicBezTo>
                <a:lnTo>
                  <a:pt x="2087140" y="563309"/>
                </a:lnTo>
                <a:close/>
                <a:moveTo>
                  <a:pt x="1607052" y="565833"/>
                </a:moveTo>
                <a:cubicBezTo>
                  <a:pt x="1594263" y="565833"/>
                  <a:pt x="1581811" y="564234"/>
                  <a:pt x="1569695" y="561037"/>
                </a:cubicBezTo>
                <a:cubicBezTo>
                  <a:pt x="1557579" y="557840"/>
                  <a:pt x="1546810" y="552455"/>
                  <a:pt x="1537386" y="544883"/>
                </a:cubicBezTo>
                <a:cubicBezTo>
                  <a:pt x="1527963" y="537310"/>
                  <a:pt x="1520474" y="527214"/>
                  <a:pt x="1514921" y="514593"/>
                </a:cubicBezTo>
                <a:cubicBezTo>
                  <a:pt x="1509368" y="501973"/>
                  <a:pt x="1506592" y="486071"/>
                  <a:pt x="1506592" y="466887"/>
                </a:cubicBezTo>
                <a:lnTo>
                  <a:pt x="1506592" y="453257"/>
                </a:lnTo>
                <a:lnTo>
                  <a:pt x="1454595" y="453257"/>
                </a:lnTo>
                <a:lnTo>
                  <a:pt x="1454595" y="401765"/>
                </a:lnTo>
                <a:lnTo>
                  <a:pt x="1506592" y="401765"/>
                </a:lnTo>
                <a:lnTo>
                  <a:pt x="1506592" y="215989"/>
                </a:lnTo>
                <a:lnTo>
                  <a:pt x="1569190" y="215989"/>
                </a:lnTo>
                <a:lnTo>
                  <a:pt x="1569190" y="401765"/>
                </a:lnTo>
                <a:lnTo>
                  <a:pt x="1666621" y="401765"/>
                </a:lnTo>
                <a:lnTo>
                  <a:pt x="1666621" y="453257"/>
                </a:lnTo>
                <a:lnTo>
                  <a:pt x="1569190" y="453257"/>
                </a:lnTo>
                <a:lnTo>
                  <a:pt x="1569190" y="465878"/>
                </a:lnTo>
                <a:cubicBezTo>
                  <a:pt x="1569190" y="475974"/>
                  <a:pt x="1570368" y="484135"/>
                  <a:pt x="1572724" y="490362"/>
                </a:cubicBezTo>
                <a:cubicBezTo>
                  <a:pt x="1575080" y="496588"/>
                  <a:pt x="1578193" y="501384"/>
                  <a:pt x="1582063" y="504749"/>
                </a:cubicBezTo>
                <a:cubicBezTo>
                  <a:pt x="1585933" y="508115"/>
                  <a:pt x="1590477" y="510302"/>
                  <a:pt x="1595693" y="511312"/>
                </a:cubicBezTo>
                <a:cubicBezTo>
                  <a:pt x="1600910" y="512322"/>
                  <a:pt x="1606379" y="512826"/>
                  <a:pt x="1612100" y="512826"/>
                </a:cubicBezTo>
                <a:cubicBezTo>
                  <a:pt x="1622533" y="512826"/>
                  <a:pt x="1633555" y="511396"/>
                  <a:pt x="1645166" y="508535"/>
                </a:cubicBezTo>
                <a:cubicBezTo>
                  <a:pt x="1656777" y="505675"/>
                  <a:pt x="1666453" y="502898"/>
                  <a:pt x="1674194" y="500206"/>
                </a:cubicBezTo>
                <a:lnTo>
                  <a:pt x="1684795" y="550688"/>
                </a:lnTo>
                <a:cubicBezTo>
                  <a:pt x="1673689" y="556073"/>
                  <a:pt x="1661236" y="559943"/>
                  <a:pt x="1647438" y="562299"/>
                </a:cubicBezTo>
                <a:cubicBezTo>
                  <a:pt x="1633639" y="564655"/>
                  <a:pt x="1620178" y="565833"/>
                  <a:pt x="1607052" y="565833"/>
                </a:cubicBezTo>
                <a:close/>
                <a:moveTo>
                  <a:pt x="0" y="796029"/>
                </a:moveTo>
                <a:lnTo>
                  <a:pt x="4876802" y="796029"/>
                </a:lnTo>
                <a:lnTo>
                  <a:pt x="4824822" y="344498"/>
                </a:lnTo>
                <a:cubicBezTo>
                  <a:pt x="4801968" y="145891"/>
                  <a:pt x="4682292" y="207"/>
                  <a:pt x="4541980" y="155"/>
                </a:cubicBezTo>
                <a:lnTo>
                  <a:pt x="0" y="0"/>
                </a:lnTo>
                <a:close/>
              </a:path>
            </a:pathLst>
          </a:custGeom>
          <a:solidFill>
            <a:schemeClr val="bg1"/>
          </a:solidFill>
          <a:ln w="2834" cap="flat">
            <a:noFill/>
            <a:prstDash val="solid"/>
            <a:miter/>
          </a:ln>
        </p:spPr>
        <p:txBody>
          <a:bodyPr wrap="square" rtlCol="0" anchor="ctr">
            <a:noAutofit/>
          </a:bodyPr>
          <a:lstStyle/>
          <a:p>
            <a:endParaRPr lang="en-US" dirty="0"/>
          </a:p>
        </p:txBody>
      </p:sp>
      <p:pic>
        <p:nvPicPr>
          <p:cNvPr id="11" name="Imagen 10" descr="Un dibujo de una cara feliz&#10;&#10;Descripción generada automáticamente con confianza baja">
            <a:extLst>
              <a:ext uri="{FF2B5EF4-FFF2-40B4-BE49-F238E27FC236}">
                <a16:creationId xmlns:a16="http://schemas.microsoft.com/office/drawing/2014/main" id="{AAE5E7C8-61FF-4E9E-B7AA-24C524932BC4}"/>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7824450" y="406400"/>
            <a:ext cx="1801936" cy="934010"/>
          </a:xfrm>
          <a:prstGeom prst="rect">
            <a:avLst/>
          </a:prstGeom>
        </p:spPr>
      </p:pic>
    </p:spTree>
    <p:extLst>
      <p:ext uri="{BB962C8B-B14F-4D97-AF65-F5344CB8AC3E}">
        <p14:creationId xmlns:p14="http://schemas.microsoft.com/office/powerpoint/2010/main" val="34930589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4_Title and Content">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5EAB4EC7-7929-BC2F-7729-EAA2B637E938}"/>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2006600"/>
            <a:ext cx="20104100" cy="7924800"/>
          </a:xfrm>
          <a:prstGeom prst="rect">
            <a:avLst/>
          </a:prstGeom>
        </p:spPr>
      </p:pic>
      <p:sp>
        <p:nvSpPr>
          <p:cNvPr id="4" name="Holder 4"/>
          <p:cNvSpPr>
            <a:spLocks noGrp="1"/>
          </p:cNvSpPr>
          <p:nvPr>
            <p:ph type="ftr" sz="quarter" idx="5"/>
          </p:nvPr>
        </p:nvSpPr>
        <p:spPr>
          <a:xfrm>
            <a:off x="16647741" y="10759212"/>
            <a:ext cx="2962677" cy="200055"/>
          </a:xfrm>
          <a:prstGeom prst="rect">
            <a:avLst/>
          </a:prstGeom>
        </p:spPr>
        <p:txBody>
          <a:bodyPr lIns="0" tIns="0" rIns="0" bIns="0"/>
          <a:lstStyle>
            <a:lvl1pPr>
              <a:defRPr sz="1300" b="0" i="0">
                <a:solidFill>
                  <a:srgbClr val="808080"/>
                </a:solidFill>
                <a:latin typeface="Ubuntu Light"/>
                <a:cs typeface="Ubuntu Light"/>
              </a:defRPr>
            </a:lvl1pPr>
          </a:lstStyle>
          <a:p>
            <a:pPr marL="26034">
              <a:lnSpc>
                <a:spcPct val="100000"/>
              </a:lnSpc>
              <a:spcBef>
                <a:spcPts val="30"/>
              </a:spcBef>
            </a:pPr>
            <a:r>
              <a:rPr>
                <a:solidFill>
                  <a:srgbClr val="666666"/>
                </a:solidFill>
              </a:rPr>
              <a:t>Public</a:t>
            </a:r>
            <a:r>
              <a:rPr spc="-40">
                <a:solidFill>
                  <a:srgbClr val="666666"/>
                </a:solidFill>
              </a:rPr>
              <a:t> </a:t>
            </a:r>
            <a:r>
              <a:rPr>
                <a:solidFill>
                  <a:srgbClr val="666666"/>
                </a:solidFill>
              </a:rPr>
              <a:t>©</a:t>
            </a:r>
            <a:r>
              <a:rPr spc="-40">
                <a:solidFill>
                  <a:srgbClr val="666666"/>
                </a:solidFill>
              </a:rPr>
              <a:t> </a:t>
            </a:r>
            <a:r>
              <a:rPr>
                <a:solidFill>
                  <a:srgbClr val="666666"/>
                </a:solidFill>
              </a:rPr>
              <a:t>202</a:t>
            </a:r>
            <a:r>
              <a:rPr lang="es-ES">
                <a:solidFill>
                  <a:srgbClr val="666666"/>
                </a:solidFill>
              </a:rPr>
              <a:t>3</a:t>
            </a:r>
            <a:r>
              <a:rPr spc="-40">
                <a:solidFill>
                  <a:srgbClr val="666666"/>
                </a:solidFill>
              </a:rPr>
              <a:t> </a:t>
            </a:r>
            <a:r>
              <a:rPr spc="-10">
                <a:solidFill>
                  <a:srgbClr val="666666"/>
                </a:solidFill>
              </a:rPr>
              <a:t>Sogeti.</a:t>
            </a:r>
            <a:r>
              <a:rPr spc="-35">
                <a:solidFill>
                  <a:srgbClr val="666666"/>
                </a:solidFill>
              </a:rPr>
              <a:t> </a:t>
            </a:r>
            <a:r>
              <a:rPr>
                <a:solidFill>
                  <a:srgbClr val="666666"/>
                </a:solidFill>
              </a:rPr>
              <a:t>All</a:t>
            </a:r>
            <a:r>
              <a:rPr spc="-40">
                <a:solidFill>
                  <a:srgbClr val="666666"/>
                </a:solidFill>
              </a:rPr>
              <a:t> </a:t>
            </a:r>
            <a:r>
              <a:rPr>
                <a:solidFill>
                  <a:srgbClr val="666666"/>
                </a:solidFill>
              </a:rPr>
              <a:t>rights</a:t>
            </a:r>
            <a:r>
              <a:rPr spc="-40">
                <a:solidFill>
                  <a:srgbClr val="666666"/>
                </a:solidFill>
              </a:rPr>
              <a:t> </a:t>
            </a:r>
            <a:r>
              <a:rPr spc="-10">
                <a:solidFill>
                  <a:srgbClr val="666666"/>
                </a:solidFill>
              </a:rPr>
              <a:t>reserved</a:t>
            </a:r>
          </a:p>
        </p:txBody>
      </p:sp>
    </p:spTree>
    <p:extLst>
      <p:ext uri="{BB962C8B-B14F-4D97-AF65-F5344CB8AC3E}">
        <p14:creationId xmlns:p14="http://schemas.microsoft.com/office/powerpoint/2010/main" val="173207714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6_Title and Content">
    <p:spTree>
      <p:nvGrpSpPr>
        <p:cNvPr id="1" name=""/>
        <p:cNvGrpSpPr/>
        <p:nvPr/>
      </p:nvGrpSpPr>
      <p:grpSpPr>
        <a:xfrm>
          <a:off x="0" y="0"/>
          <a:ext cx="0" cy="0"/>
          <a:chOff x="0" y="0"/>
          <a:chExt cx="0" cy="0"/>
        </a:xfrm>
      </p:grpSpPr>
      <p:sp>
        <p:nvSpPr>
          <p:cNvPr id="10" name="Rectángulo 9">
            <a:extLst>
              <a:ext uri="{FF2B5EF4-FFF2-40B4-BE49-F238E27FC236}">
                <a16:creationId xmlns:a16="http://schemas.microsoft.com/office/drawing/2014/main" id="{E7BF236D-D0D3-10D7-3261-21E349035258}"/>
              </a:ext>
            </a:extLst>
          </p:cNvPr>
          <p:cNvSpPr/>
          <p:nvPr userDrawn="1"/>
        </p:nvSpPr>
        <p:spPr>
          <a:xfrm>
            <a:off x="-43421" y="0"/>
            <a:ext cx="20147521" cy="11328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pic>
        <p:nvPicPr>
          <p:cNvPr id="9" name="Imagen 8" descr="Imagen que contiene animal, pez&#10;&#10;Descripción generada automáticamente">
            <a:extLst>
              <a:ext uri="{FF2B5EF4-FFF2-40B4-BE49-F238E27FC236}">
                <a16:creationId xmlns:a16="http://schemas.microsoft.com/office/drawing/2014/main" id="{6E1DC18B-A168-D704-A3D2-1A8DFB51E094}"/>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43421" y="0"/>
            <a:ext cx="10476470" cy="11337324"/>
          </a:xfrm>
          <a:prstGeom prst="rect">
            <a:avLst/>
          </a:prstGeom>
        </p:spPr>
      </p:pic>
      <p:sp>
        <p:nvSpPr>
          <p:cNvPr id="4" name="Holder 4"/>
          <p:cNvSpPr>
            <a:spLocks noGrp="1"/>
          </p:cNvSpPr>
          <p:nvPr>
            <p:ph type="ftr" sz="quarter" idx="5"/>
          </p:nvPr>
        </p:nvSpPr>
        <p:spPr>
          <a:xfrm>
            <a:off x="16647741" y="10759212"/>
            <a:ext cx="2962677" cy="200055"/>
          </a:xfrm>
          <a:prstGeom prst="rect">
            <a:avLst/>
          </a:prstGeom>
        </p:spPr>
        <p:txBody>
          <a:bodyPr lIns="0" tIns="0" rIns="0" bIns="0"/>
          <a:lstStyle>
            <a:lvl1pPr>
              <a:defRPr sz="1300" b="0" i="0">
                <a:solidFill>
                  <a:schemeClr val="bg1"/>
                </a:solidFill>
                <a:latin typeface="Ubuntu Light"/>
                <a:cs typeface="Ubuntu Light"/>
              </a:defRPr>
            </a:lvl1pPr>
          </a:lstStyle>
          <a:p>
            <a:pPr marL="26034">
              <a:spcBef>
                <a:spcPts val="30"/>
              </a:spcBef>
            </a:pPr>
            <a:r>
              <a:rPr lang="es-ES" dirty="0"/>
              <a:t>Public</a:t>
            </a:r>
            <a:r>
              <a:rPr lang="es-ES" spc="-40" dirty="0"/>
              <a:t> </a:t>
            </a:r>
            <a:r>
              <a:rPr lang="es-ES" dirty="0"/>
              <a:t>©</a:t>
            </a:r>
            <a:r>
              <a:rPr lang="es-ES" spc="-40" dirty="0"/>
              <a:t> </a:t>
            </a:r>
            <a:r>
              <a:rPr lang="es-ES" dirty="0"/>
              <a:t>2023</a:t>
            </a:r>
            <a:r>
              <a:rPr lang="es-ES" spc="-40" dirty="0"/>
              <a:t> </a:t>
            </a:r>
            <a:r>
              <a:rPr lang="es-ES" spc="-10" dirty="0"/>
              <a:t>Sogeti.</a:t>
            </a:r>
            <a:r>
              <a:rPr lang="es-ES" spc="-35" dirty="0"/>
              <a:t> </a:t>
            </a:r>
            <a:r>
              <a:rPr lang="es-ES" dirty="0" err="1"/>
              <a:t>All</a:t>
            </a:r>
            <a:r>
              <a:rPr lang="es-ES" spc="-40" dirty="0"/>
              <a:t> </a:t>
            </a:r>
            <a:r>
              <a:rPr lang="es-ES" dirty="0"/>
              <a:t>rights</a:t>
            </a:r>
            <a:r>
              <a:rPr lang="es-ES" spc="-40" dirty="0"/>
              <a:t> </a:t>
            </a:r>
            <a:r>
              <a:rPr lang="es-ES" spc="-10" dirty="0" err="1"/>
              <a:t>reserved</a:t>
            </a:r>
            <a:endParaRPr lang="es-ES" spc="-10" dirty="0"/>
          </a:p>
        </p:txBody>
      </p:sp>
      <p:sp>
        <p:nvSpPr>
          <p:cNvPr id="2" name="CuadroTexto 1">
            <a:extLst>
              <a:ext uri="{FF2B5EF4-FFF2-40B4-BE49-F238E27FC236}">
                <a16:creationId xmlns:a16="http://schemas.microsoft.com/office/drawing/2014/main" id="{72E5CF79-7DA3-E21E-3060-87CB44907F25}"/>
              </a:ext>
            </a:extLst>
          </p:cNvPr>
          <p:cNvSpPr txBox="1"/>
          <p:nvPr userDrawn="1"/>
        </p:nvSpPr>
        <p:spPr>
          <a:xfrm>
            <a:off x="755650" y="10845800"/>
            <a:ext cx="7772400" cy="292388"/>
          </a:xfrm>
          <a:prstGeom prst="rect">
            <a:avLst/>
          </a:prstGeom>
          <a:noFill/>
        </p:spPr>
        <p:txBody>
          <a:bodyPr wrap="square" rtlCol="0">
            <a:spAutoFit/>
          </a:bodyPr>
          <a:lstStyle/>
          <a:p>
            <a:r>
              <a:rPr lang="es-ES" sz="1300" b="0" i="0" dirty="0">
                <a:solidFill>
                  <a:schemeClr val="bg1"/>
                </a:solidFill>
                <a:latin typeface="Ubuntu Medium" panose="020B0504030602030204" pitchFamily="34" charset="0"/>
              </a:rPr>
              <a:t>#FlourishingDigitalBusinessWithQuality </a:t>
            </a:r>
            <a:r>
              <a:rPr lang="es-ES" sz="1300" b="1" i="0" dirty="0">
                <a:solidFill>
                  <a:schemeClr val="bg1"/>
                </a:solidFill>
                <a:latin typeface="Ubuntu" panose="020B0504030602030204" pitchFamily="34" charset="0"/>
              </a:rPr>
              <a:t> ·</a:t>
            </a:r>
            <a:r>
              <a:rPr lang="es-ES" sz="1300" b="0" i="0" dirty="0">
                <a:solidFill>
                  <a:schemeClr val="bg1"/>
                </a:solidFill>
                <a:latin typeface="Ubuntu Medium" panose="020B0504030602030204" pitchFamily="34" charset="0"/>
              </a:rPr>
              <a:t>   </a:t>
            </a:r>
            <a:r>
              <a:rPr lang="es-ES" sz="1300" b="0" i="0" dirty="0" err="1">
                <a:solidFill>
                  <a:schemeClr val="bg1"/>
                </a:solidFill>
                <a:latin typeface="Ubuntu Medium" panose="020B0504030602030204" pitchFamily="34" charset="0"/>
              </a:rPr>
              <a:t>by</a:t>
            </a:r>
            <a:r>
              <a:rPr lang="es-ES" sz="1300" b="0" i="0" dirty="0">
                <a:solidFill>
                  <a:schemeClr val="bg1"/>
                </a:solidFill>
                <a:latin typeface="Ubuntu Medium" panose="020B0504030602030204" pitchFamily="34" charset="0"/>
              </a:rPr>
              <a:t> </a:t>
            </a:r>
            <a:r>
              <a:rPr lang="es-ES" sz="1300" b="1" i="0" dirty="0">
                <a:solidFill>
                  <a:schemeClr val="bg1"/>
                </a:solidFill>
                <a:latin typeface="Ubuntu" panose="020B0504030602030204" pitchFamily="34" charset="0"/>
              </a:rPr>
              <a:t>Sogeti España</a:t>
            </a:r>
          </a:p>
        </p:txBody>
      </p:sp>
      <p:sp>
        <p:nvSpPr>
          <p:cNvPr id="5" name="Forma libre 4">
            <a:extLst>
              <a:ext uri="{FF2B5EF4-FFF2-40B4-BE49-F238E27FC236}">
                <a16:creationId xmlns:a16="http://schemas.microsoft.com/office/drawing/2014/main" id="{FBAABD7F-C513-9B40-6AE2-E43DB3944CCE}"/>
              </a:ext>
            </a:extLst>
          </p:cNvPr>
          <p:cNvSpPr/>
          <p:nvPr userDrawn="1"/>
        </p:nvSpPr>
        <p:spPr>
          <a:xfrm flipV="1">
            <a:off x="755650" y="10384024"/>
            <a:ext cx="2362200" cy="385576"/>
          </a:xfrm>
          <a:custGeom>
            <a:avLst/>
            <a:gdLst/>
            <a:ahLst/>
            <a:cxnLst/>
            <a:rect l="l" t="t" r="r" b="b"/>
            <a:pathLst>
              <a:path w="4876802" h="796029">
                <a:moveTo>
                  <a:pt x="2572782" y="405299"/>
                </a:moveTo>
                <a:cubicBezTo>
                  <a:pt x="2589609" y="405299"/>
                  <a:pt x="2601809" y="398820"/>
                  <a:pt x="2609382" y="385863"/>
                </a:cubicBezTo>
                <a:cubicBezTo>
                  <a:pt x="2616954" y="372906"/>
                  <a:pt x="2620740" y="355826"/>
                  <a:pt x="2620740" y="334623"/>
                </a:cubicBezTo>
                <a:cubicBezTo>
                  <a:pt x="2620740" y="313420"/>
                  <a:pt x="2616618" y="296256"/>
                  <a:pt x="2608372" y="283131"/>
                </a:cubicBezTo>
                <a:cubicBezTo>
                  <a:pt x="2600126" y="270006"/>
                  <a:pt x="2587927" y="263443"/>
                  <a:pt x="2571772" y="263443"/>
                </a:cubicBezTo>
                <a:cubicBezTo>
                  <a:pt x="2554945" y="263443"/>
                  <a:pt x="2542744" y="270006"/>
                  <a:pt x="2535172" y="283131"/>
                </a:cubicBezTo>
                <a:cubicBezTo>
                  <a:pt x="2527600" y="296256"/>
                  <a:pt x="2523814" y="313420"/>
                  <a:pt x="2523814" y="334623"/>
                </a:cubicBezTo>
                <a:cubicBezTo>
                  <a:pt x="2523814" y="355826"/>
                  <a:pt x="2527937" y="372906"/>
                  <a:pt x="2536182" y="385863"/>
                </a:cubicBezTo>
                <a:cubicBezTo>
                  <a:pt x="2544428" y="398820"/>
                  <a:pt x="2556628" y="405299"/>
                  <a:pt x="2572782" y="405299"/>
                </a:cubicBezTo>
                <a:close/>
                <a:moveTo>
                  <a:pt x="1810782" y="405299"/>
                </a:moveTo>
                <a:cubicBezTo>
                  <a:pt x="1827610" y="405299"/>
                  <a:pt x="1839810" y="398820"/>
                  <a:pt x="1847382" y="385863"/>
                </a:cubicBezTo>
                <a:cubicBezTo>
                  <a:pt x="1854954" y="372906"/>
                  <a:pt x="1858740" y="355826"/>
                  <a:pt x="1858740" y="334623"/>
                </a:cubicBezTo>
                <a:cubicBezTo>
                  <a:pt x="1858740" y="313420"/>
                  <a:pt x="1854618" y="296256"/>
                  <a:pt x="1846372" y="283131"/>
                </a:cubicBezTo>
                <a:cubicBezTo>
                  <a:pt x="1838127" y="270006"/>
                  <a:pt x="1825927" y="263443"/>
                  <a:pt x="1809772" y="263443"/>
                </a:cubicBezTo>
                <a:cubicBezTo>
                  <a:pt x="1792945" y="263443"/>
                  <a:pt x="1780745" y="270006"/>
                  <a:pt x="1773173" y="283131"/>
                </a:cubicBezTo>
                <a:cubicBezTo>
                  <a:pt x="1765600" y="296256"/>
                  <a:pt x="1761814" y="313420"/>
                  <a:pt x="1761814" y="334623"/>
                </a:cubicBezTo>
                <a:cubicBezTo>
                  <a:pt x="1761814" y="355826"/>
                  <a:pt x="1765937" y="372906"/>
                  <a:pt x="1774182" y="385863"/>
                </a:cubicBezTo>
                <a:cubicBezTo>
                  <a:pt x="1782428" y="398820"/>
                  <a:pt x="1794628" y="405299"/>
                  <a:pt x="1810782" y="405299"/>
                </a:cubicBezTo>
                <a:close/>
                <a:moveTo>
                  <a:pt x="810657" y="405299"/>
                </a:moveTo>
                <a:cubicBezTo>
                  <a:pt x="827485" y="405299"/>
                  <a:pt x="839684" y="398820"/>
                  <a:pt x="847257" y="385863"/>
                </a:cubicBezTo>
                <a:cubicBezTo>
                  <a:pt x="854829" y="372906"/>
                  <a:pt x="858615" y="355826"/>
                  <a:pt x="858616" y="334623"/>
                </a:cubicBezTo>
                <a:cubicBezTo>
                  <a:pt x="858615" y="313420"/>
                  <a:pt x="854493" y="296256"/>
                  <a:pt x="846247" y="283131"/>
                </a:cubicBezTo>
                <a:cubicBezTo>
                  <a:pt x="838002" y="270006"/>
                  <a:pt x="825802" y="263443"/>
                  <a:pt x="809647" y="263443"/>
                </a:cubicBezTo>
                <a:cubicBezTo>
                  <a:pt x="792820" y="263443"/>
                  <a:pt x="780620" y="270006"/>
                  <a:pt x="773048" y="283131"/>
                </a:cubicBezTo>
                <a:cubicBezTo>
                  <a:pt x="765475" y="296256"/>
                  <a:pt x="761689" y="313420"/>
                  <a:pt x="761689" y="334623"/>
                </a:cubicBezTo>
                <a:cubicBezTo>
                  <a:pt x="761689" y="355826"/>
                  <a:pt x="765812" y="372906"/>
                  <a:pt x="774057" y="385863"/>
                </a:cubicBezTo>
                <a:cubicBezTo>
                  <a:pt x="782303" y="398820"/>
                  <a:pt x="794503" y="405299"/>
                  <a:pt x="810657" y="405299"/>
                </a:cubicBezTo>
                <a:close/>
                <a:moveTo>
                  <a:pt x="3325256" y="411861"/>
                </a:moveTo>
                <a:cubicBezTo>
                  <a:pt x="3316506" y="411861"/>
                  <a:pt x="3309608" y="408496"/>
                  <a:pt x="3304560" y="401765"/>
                </a:cubicBezTo>
                <a:cubicBezTo>
                  <a:pt x="3299512" y="395034"/>
                  <a:pt x="3296988" y="387125"/>
                  <a:pt x="3296988" y="378038"/>
                </a:cubicBezTo>
                <a:cubicBezTo>
                  <a:pt x="3296988" y="368951"/>
                  <a:pt x="3299512" y="361126"/>
                  <a:pt x="3304560" y="354564"/>
                </a:cubicBezTo>
                <a:cubicBezTo>
                  <a:pt x="3309608" y="348001"/>
                  <a:pt x="3316506" y="344720"/>
                  <a:pt x="3325256" y="344720"/>
                </a:cubicBezTo>
                <a:cubicBezTo>
                  <a:pt x="3333334" y="344720"/>
                  <a:pt x="3339980" y="348001"/>
                  <a:pt x="3345198" y="354564"/>
                </a:cubicBezTo>
                <a:cubicBezTo>
                  <a:pt x="3350414" y="361126"/>
                  <a:pt x="3353022" y="368951"/>
                  <a:pt x="3353022" y="378038"/>
                </a:cubicBezTo>
                <a:cubicBezTo>
                  <a:pt x="3353022" y="387125"/>
                  <a:pt x="3350414" y="395034"/>
                  <a:pt x="3345198" y="401765"/>
                </a:cubicBezTo>
                <a:cubicBezTo>
                  <a:pt x="3339980" y="408496"/>
                  <a:pt x="3333334" y="411861"/>
                  <a:pt x="3325256" y="411861"/>
                </a:cubicBezTo>
                <a:close/>
                <a:moveTo>
                  <a:pt x="2207070" y="453257"/>
                </a:moveTo>
                <a:lnTo>
                  <a:pt x="2207070" y="401765"/>
                </a:lnTo>
                <a:lnTo>
                  <a:pt x="2272697" y="401765"/>
                </a:lnTo>
                <a:lnTo>
                  <a:pt x="2272697" y="314430"/>
                </a:lnTo>
                <a:cubicBezTo>
                  <a:pt x="2272697" y="297939"/>
                  <a:pt x="2274043" y="283299"/>
                  <a:pt x="2276735" y="270510"/>
                </a:cubicBezTo>
                <a:cubicBezTo>
                  <a:pt x="2279428" y="257721"/>
                  <a:pt x="2284055" y="246868"/>
                  <a:pt x="2290618" y="237949"/>
                </a:cubicBezTo>
                <a:cubicBezTo>
                  <a:pt x="2297181" y="229031"/>
                  <a:pt x="2305931" y="222215"/>
                  <a:pt x="2316869" y="217504"/>
                </a:cubicBezTo>
                <a:cubicBezTo>
                  <a:pt x="2327807" y="212792"/>
                  <a:pt x="2341353" y="210436"/>
                  <a:pt x="2357508" y="210436"/>
                </a:cubicBezTo>
                <a:cubicBezTo>
                  <a:pt x="2366931" y="210436"/>
                  <a:pt x="2377280" y="211530"/>
                  <a:pt x="2388554" y="213718"/>
                </a:cubicBezTo>
                <a:cubicBezTo>
                  <a:pt x="2399829" y="215905"/>
                  <a:pt x="2411860" y="220028"/>
                  <a:pt x="2424649" y="226086"/>
                </a:cubicBezTo>
                <a:lnTo>
                  <a:pt x="2416572" y="276063"/>
                </a:lnTo>
                <a:cubicBezTo>
                  <a:pt x="2406475" y="271352"/>
                  <a:pt x="2397388" y="268239"/>
                  <a:pt x="2389312" y="266724"/>
                </a:cubicBezTo>
                <a:cubicBezTo>
                  <a:pt x="2381234" y="265210"/>
                  <a:pt x="2374335" y="264452"/>
                  <a:pt x="2368614" y="264452"/>
                </a:cubicBezTo>
                <a:cubicBezTo>
                  <a:pt x="2356498" y="264452"/>
                  <a:pt x="2347832" y="267902"/>
                  <a:pt x="2342615" y="274801"/>
                </a:cubicBezTo>
                <a:cubicBezTo>
                  <a:pt x="2337398" y="281701"/>
                  <a:pt x="2334790" y="292218"/>
                  <a:pt x="2334790" y="306353"/>
                </a:cubicBezTo>
                <a:lnTo>
                  <a:pt x="2334790" y="453257"/>
                </a:lnTo>
                <a:close/>
                <a:moveTo>
                  <a:pt x="1088092" y="457800"/>
                </a:moveTo>
                <a:cubicBezTo>
                  <a:pt x="1064870" y="457800"/>
                  <a:pt x="1044593" y="455949"/>
                  <a:pt x="1027260" y="452247"/>
                </a:cubicBezTo>
                <a:cubicBezTo>
                  <a:pt x="1009928" y="448545"/>
                  <a:pt x="993016" y="443665"/>
                  <a:pt x="976526" y="437607"/>
                </a:cubicBezTo>
                <a:lnTo>
                  <a:pt x="976526" y="215989"/>
                </a:lnTo>
                <a:lnTo>
                  <a:pt x="1039124" y="215989"/>
                </a:lnTo>
                <a:lnTo>
                  <a:pt x="1039124" y="392173"/>
                </a:lnTo>
                <a:cubicBezTo>
                  <a:pt x="1047874" y="394529"/>
                  <a:pt x="1056456" y="396128"/>
                  <a:pt x="1064870" y="396969"/>
                </a:cubicBezTo>
                <a:cubicBezTo>
                  <a:pt x="1073284" y="397810"/>
                  <a:pt x="1081866" y="398231"/>
                  <a:pt x="1090616" y="398231"/>
                </a:cubicBezTo>
                <a:cubicBezTo>
                  <a:pt x="1094318" y="398231"/>
                  <a:pt x="1098861" y="398063"/>
                  <a:pt x="1104246" y="397726"/>
                </a:cubicBezTo>
                <a:cubicBezTo>
                  <a:pt x="1109631" y="397390"/>
                  <a:pt x="1115184" y="396801"/>
                  <a:pt x="1120905" y="395959"/>
                </a:cubicBezTo>
                <a:cubicBezTo>
                  <a:pt x="1126627" y="395118"/>
                  <a:pt x="1132264" y="394192"/>
                  <a:pt x="1137817" y="393183"/>
                </a:cubicBezTo>
                <a:cubicBezTo>
                  <a:pt x="1143370" y="392173"/>
                  <a:pt x="1148166" y="391164"/>
                  <a:pt x="1152205" y="390154"/>
                </a:cubicBezTo>
                <a:lnTo>
                  <a:pt x="1163311" y="447704"/>
                </a:lnTo>
                <a:cubicBezTo>
                  <a:pt x="1157589" y="449723"/>
                  <a:pt x="1151111" y="451322"/>
                  <a:pt x="1143875" y="452500"/>
                </a:cubicBezTo>
                <a:cubicBezTo>
                  <a:pt x="1136639" y="453678"/>
                  <a:pt x="1129487" y="454687"/>
                  <a:pt x="1122420" y="455529"/>
                </a:cubicBezTo>
                <a:cubicBezTo>
                  <a:pt x="1115352" y="456370"/>
                  <a:pt x="1108706" y="456959"/>
                  <a:pt x="1102479" y="457296"/>
                </a:cubicBezTo>
                <a:cubicBezTo>
                  <a:pt x="1096253" y="457632"/>
                  <a:pt x="1091457" y="457800"/>
                  <a:pt x="1088092" y="457800"/>
                </a:cubicBezTo>
                <a:close/>
                <a:moveTo>
                  <a:pt x="2572782" y="459315"/>
                </a:moveTo>
                <a:cubicBezTo>
                  <a:pt x="2556628" y="459315"/>
                  <a:pt x="2541651" y="456370"/>
                  <a:pt x="2527852" y="450480"/>
                </a:cubicBezTo>
                <a:cubicBezTo>
                  <a:pt x="2514054" y="444591"/>
                  <a:pt x="2502190" y="436177"/>
                  <a:pt x="2492262" y="425239"/>
                </a:cubicBezTo>
                <a:cubicBezTo>
                  <a:pt x="2482334" y="414301"/>
                  <a:pt x="2474594" y="401176"/>
                  <a:pt x="2469040" y="385863"/>
                </a:cubicBezTo>
                <a:cubicBezTo>
                  <a:pt x="2463487" y="370550"/>
                  <a:pt x="2460711" y="353638"/>
                  <a:pt x="2460711" y="335128"/>
                </a:cubicBezTo>
                <a:cubicBezTo>
                  <a:pt x="2460711" y="316281"/>
                  <a:pt x="2463403" y="299201"/>
                  <a:pt x="2468788" y="283888"/>
                </a:cubicBezTo>
                <a:cubicBezTo>
                  <a:pt x="2474173" y="268575"/>
                  <a:pt x="2481829" y="255366"/>
                  <a:pt x="2491758" y="244259"/>
                </a:cubicBezTo>
                <a:cubicBezTo>
                  <a:pt x="2501686" y="233153"/>
                  <a:pt x="2513465" y="224571"/>
                  <a:pt x="2527095" y="218513"/>
                </a:cubicBezTo>
                <a:cubicBezTo>
                  <a:pt x="2540726" y="212455"/>
                  <a:pt x="2555954" y="209427"/>
                  <a:pt x="2572782" y="209427"/>
                </a:cubicBezTo>
                <a:cubicBezTo>
                  <a:pt x="2589609" y="209427"/>
                  <a:pt x="2604838" y="212455"/>
                  <a:pt x="2618468" y="218513"/>
                </a:cubicBezTo>
                <a:cubicBezTo>
                  <a:pt x="2632098" y="224571"/>
                  <a:pt x="2643794" y="233153"/>
                  <a:pt x="2653554" y="244259"/>
                </a:cubicBezTo>
                <a:cubicBezTo>
                  <a:pt x="2663314" y="255366"/>
                  <a:pt x="2670886" y="268575"/>
                  <a:pt x="2676271" y="283888"/>
                </a:cubicBezTo>
                <a:cubicBezTo>
                  <a:pt x="2681656" y="299201"/>
                  <a:pt x="2684348" y="316281"/>
                  <a:pt x="2684348" y="335128"/>
                </a:cubicBezTo>
                <a:cubicBezTo>
                  <a:pt x="2684348" y="353638"/>
                  <a:pt x="2681656" y="370550"/>
                  <a:pt x="2676271" y="385863"/>
                </a:cubicBezTo>
                <a:cubicBezTo>
                  <a:pt x="2670886" y="401176"/>
                  <a:pt x="2663230" y="414301"/>
                  <a:pt x="2653302" y="425239"/>
                </a:cubicBezTo>
                <a:cubicBezTo>
                  <a:pt x="2643373" y="436177"/>
                  <a:pt x="2631594" y="444591"/>
                  <a:pt x="2617964" y="450480"/>
                </a:cubicBezTo>
                <a:cubicBezTo>
                  <a:pt x="2604334" y="456370"/>
                  <a:pt x="2589273" y="459315"/>
                  <a:pt x="2572782" y="459315"/>
                </a:cubicBezTo>
                <a:close/>
                <a:moveTo>
                  <a:pt x="1810782" y="459315"/>
                </a:moveTo>
                <a:cubicBezTo>
                  <a:pt x="1794628" y="459315"/>
                  <a:pt x="1779651" y="456370"/>
                  <a:pt x="1765853" y="450480"/>
                </a:cubicBezTo>
                <a:cubicBezTo>
                  <a:pt x="1752054" y="444591"/>
                  <a:pt x="1740191" y="436177"/>
                  <a:pt x="1730262" y="425239"/>
                </a:cubicBezTo>
                <a:cubicBezTo>
                  <a:pt x="1720334" y="414301"/>
                  <a:pt x="1712594" y="401176"/>
                  <a:pt x="1707040" y="385863"/>
                </a:cubicBezTo>
                <a:cubicBezTo>
                  <a:pt x="1701488" y="370550"/>
                  <a:pt x="1698711" y="353638"/>
                  <a:pt x="1698711" y="335128"/>
                </a:cubicBezTo>
                <a:cubicBezTo>
                  <a:pt x="1698711" y="316281"/>
                  <a:pt x="1701403" y="299201"/>
                  <a:pt x="1706788" y="283888"/>
                </a:cubicBezTo>
                <a:cubicBezTo>
                  <a:pt x="1712173" y="268575"/>
                  <a:pt x="1719829" y="255366"/>
                  <a:pt x="1729758" y="244259"/>
                </a:cubicBezTo>
                <a:cubicBezTo>
                  <a:pt x="1739686" y="233153"/>
                  <a:pt x="1751465" y="224571"/>
                  <a:pt x="1765095" y="218513"/>
                </a:cubicBezTo>
                <a:cubicBezTo>
                  <a:pt x="1778726" y="212455"/>
                  <a:pt x="1793954" y="209427"/>
                  <a:pt x="1810782" y="209427"/>
                </a:cubicBezTo>
                <a:cubicBezTo>
                  <a:pt x="1827610" y="209427"/>
                  <a:pt x="1842838" y="212455"/>
                  <a:pt x="1856469" y="218513"/>
                </a:cubicBezTo>
                <a:cubicBezTo>
                  <a:pt x="1870099" y="224571"/>
                  <a:pt x="1881794" y="233153"/>
                  <a:pt x="1891554" y="244259"/>
                </a:cubicBezTo>
                <a:cubicBezTo>
                  <a:pt x="1901314" y="255366"/>
                  <a:pt x="1908886" y="268575"/>
                  <a:pt x="1914271" y="283888"/>
                </a:cubicBezTo>
                <a:cubicBezTo>
                  <a:pt x="1919656" y="299201"/>
                  <a:pt x="1922348" y="316281"/>
                  <a:pt x="1922348" y="335128"/>
                </a:cubicBezTo>
                <a:cubicBezTo>
                  <a:pt x="1922348" y="353638"/>
                  <a:pt x="1919656" y="370550"/>
                  <a:pt x="1914271" y="385863"/>
                </a:cubicBezTo>
                <a:cubicBezTo>
                  <a:pt x="1908886" y="401176"/>
                  <a:pt x="1901230" y="414301"/>
                  <a:pt x="1891302" y="425239"/>
                </a:cubicBezTo>
                <a:cubicBezTo>
                  <a:pt x="1881374" y="436177"/>
                  <a:pt x="1869594" y="444591"/>
                  <a:pt x="1855964" y="450480"/>
                </a:cubicBezTo>
                <a:cubicBezTo>
                  <a:pt x="1842334" y="456370"/>
                  <a:pt x="1827273" y="459315"/>
                  <a:pt x="1810782" y="459315"/>
                </a:cubicBezTo>
                <a:close/>
                <a:moveTo>
                  <a:pt x="810657" y="459315"/>
                </a:moveTo>
                <a:cubicBezTo>
                  <a:pt x="794503" y="459315"/>
                  <a:pt x="779526" y="456370"/>
                  <a:pt x="765728" y="450480"/>
                </a:cubicBezTo>
                <a:cubicBezTo>
                  <a:pt x="751929" y="444591"/>
                  <a:pt x="740066" y="436177"/>
                  <a:pt x="730138" y="425239"/>
                </a:cubicBezTo>
                <a:cubicBezTo>
                  <a:pt x="720209" y="414301"/>
                  <a:pt x="712469" y="401176"/>
                  <a:pt x="706916" y="385863"/>
                </a:cubicBezTo>
                <a:cubicBezTo>
                  <a:pt x="701362" y="370550"/>
                  <a:pt x="698586" y="353638"/>
                  <a:pt x="698586" y="335128"/>
                </a:cubicBezTo>
                <a:cubicBezTo>
                  <a:pt x="698586" y="316281"/>
                  <a:pt x="701278" y="299201"/>
                  <a:pt x="706663" y="283888"/>
                </a:cubicBezTo>
                <a:cubicBezTo>
                  <a:pt x="712048" y="268575"/>
                  <a:pt x="719704" y="255366"/>
                  <a:pt x="729633" y="244259"/>
                </a:cubicBezTo>
                <a:cubicBezTo>
                  <a:pt x="739561" y="233153"/>
                  <a:pt x="751340" y="224571"/>
                  <a:pt x="764970" y="218513"/>
                </a:cubicBezTo>
                <a:cubicBezTo>
                  <a:pt x="778601" y="212455"/>
                  <a:pt x="793830" y="209427"/>
                  <a:pt x="810657" y="209427"/>
                </a:cubicBezTo>
                <a:cubicBezTo>
                  <a:pt x="827485" y="209427"/>
                  <a:pt x="842713" y="212455"/>
                  <a:pt x="856344" y="218513"/>
                </a:cubicBezTo>
                <a:cubicBezTo>
                  <a:pt x="869974" y="224571"/>
                  <a:pt x="881669" y="233153"/>
                  <a:pt x="891429" y="244259"/>
                </a:cubicBezTo>
                <a:cubicBezTo>
                  <a:pt x="901189" y="255366"/>
                  <a:pt x="908761" y="268575"/>
                  <a:pt x="914146" y="283888"/>
                </a:cubicBezTo>
                <a:cubicBezTo>
                  <a:pt x="919531" y="299201"/>
                  <a:pt x="922223" y="316281"/>
                  <a:pt x="922223" y="335128"/>
                </a:cubicBezTo>
                <a:cubicBezTo>
                  <a:pt x="922223" y="353638"/>
                  <a:pt x="919531" y="370550"/>
                  <a:pt x="914146" y="385863"/>
                </a:cubicBezTo>
                <a:cubicBezTo>
                  <a:pt x="908761" y="401176"/>
                  <a:pt x="901105" y="414301"/>
                  <a:pt x="891177" y="425239"/>
                </a:cubicBezTo>
                <a:cubicBezTo>
                  <a:pt x="881248" y="436177"/>
                  <a:pt x="869469" y="444591"/>
                  <a:pt x="855839" y="450480"/>
                </a:cubicBezTo>
                <a:cubicBezTo>
                  <a:pt x="842209" y="456370"/>
                  <a:pt x="827148" y="459315"/>
                  <a:pt x="810657" y="459315"/>
                </a:cubicBezTo>
                <a:close/>
                <a:moveTo>
                  <a:pt x="546919" y="477993"/>
                </a:moveTo>
                <a:cubicBezTo>
                  <a:pt x="563410" y="477993"/>
                  <a:pt x="576620" y="474207"/>
                  <a:pt x="586548" y="466635"/>
                </a:cubicBezTo>
                <a:cubicBezTo>
                  <a:pt x="596476" y="459062"/>
                  <a:pt x="601441" y="446189"/>
                  <a:pt x="601441" y="428016"/>
                </a:cubicBezTo>
                <a:cubicBezTo>
                  <a:pt x="601441" y="408832"/>
                  <a:pt x="596392" y="395286"/>
                  <a:pt x="586296" y="387377"/>
                </a:cubicBezTo>
                <a:cubicBezTo>
                  <a:pt x="576199" y="379468"/>
                  <a:pt x="561223" y="375514"/>
                  <a:pt x="541366" y="375514"/>
                </a:cubicBezTo>
                <a:lnTo>
                  <a:pt x="516125" y="375514"/>
                </a:lnTo>
                <a:lnTo>
                  <a:pt x="516125" y="476479"/>
                </a:lnTo>
                <a:cubicBezTo>
                  <a:pt x="519827" y="477152"/>
                  <a:pt x="524960" y="477573"/>
                  <a:pt x="531522" y="477741"/>
                </a:cubicBezTo>
                <a:cubicBezTo>
                  <a:pt x="538085" y="477909"/>
                  <a:pt x="543217" y="477993"/>
                  <a:pt x="546919" y="477993"/>
                </a:cubicBezTo>
                <a:close/>
                <a:moveTo>
                  <a:pt x="3324752" y="482537"/>
                </a:moveTo>
                <a:cubicBezTo>
                  <a:pt x="3341916" y="482537"/>
                  <a:pt x="3354958" y="473198"/>
                  <a:pt x="3363876" y="454519"/>
                </a:cubicBezTo>
                <a:cubicBezTo>
                  <a:pt x="3372794" y="435841"/>
                  <a:pt x="3377254" y="408664"/>
                  <a:pt x="3377254" y="372990"/>
                </a:cubicBezTo>
                <a:cubicBezTo>
                  <a:pt x="3377254" y="336979"/>
                  <a:pt x="3372794" y="309634"/>
                  <a:pt x="3363876" y="290956"/>
                </a:cubicBezTo>
                <a:cubicBezTo>
                  <a:pt x="3354958" y="272277"/>
                  <a:pt x="3341916" y="262938"/>
                  <a:pt x="3324752" y="262938"/>
                </a:cubicBezTo>
                <a:cubicBezTo>
                  <a:pt x="3307924" y="262938"/>
                  <a:pt x="3294968" y="272277"/>
                  <a:pt x="3285880" y="290956"/>
                </a:cubicBezTo>
                <a:cubicBezTo>
                  <a:pt x="3276794" y="309634"/>
                  <a:pt x="3272250" y="336979"/>
                  <a:pt x="3272250" y="372990"/>
                </a:cubicBezTo>
                <a:cubicBezTo>
                  <a:pt x="3272250" y="408664"/>
                  <a:pt x="3276794" y="435841"/>
                  <a:pt x="3285880" y="454519"/>
                </a:cubicBezTo>
                <a:cubicBezTo>
                  <a:pt x="3294968" y="473198"/>
                  <a:pt x="3307924" y="482537"/>
                  <a:pt x="3324752" y="482537"/>
                </a:cubicBezTo>
                <a:close/>
                <a:moveTo>
                  <a:pt x="1323054" y="522923"/>
                </a:moveTo>
                <a:lnTo>
                  <a:pt x="1260961" y="512826"/>
                </a:lnTo>
                <a:lnTo>
                  <a:pt x="1260961" y="453257"/>
                </a:lnTo>
                <a:lnTo>
                  <a:pt x="1206945" y="453257"/>
                </a:lnTo>
                <a:lnTo>
                  <a:pt x="1206945" y="401765"/>
                </a:lnTo>
                <a:lnTo>
                  <a:pt x="1260961" y="401765"/>
                </a:lnTo>
                <a:lnTo>
                  <a:pt x="1260961" y="304334"/>
                </a:lnTo>
                <a:cubicBezTo>
                  <a:pt x="1260961" y="284477"/>
                  <a:pt x="1262980" y="268407"/>
                  <a:pt x="1267019" y="256123"/>
                </a:cubicBezTo>
                <a:cubicBezTo>
                  <a:pt x="1271057" y="243839"/>
                  <a:pt x="1276947" y="234331"/>
                  <a:pt x="1284688" y="227600"/>
                </a:cubicBezTo>
                <a:cubicBezTo>
                  <a:pt x="1292428" y="220869"/>
                  <a:pt x="1301852" y="216326"/>
                  <a:pt x="1312958" y="213970"/>
                </a:cubicBezTo>
                <a:cubicBezTo>
                  <a:pt x="1324064" y="211614"/>
                  <a:pt x="1336853" y="210436"/>
                  <a:pt x="1351325" y="210436"/>
                </a:cubicBezTo>
                <a:cubicBezTo>
                  <a:pt x="1363777" y="210436"/>
                  <a:pt x="1376650" y="211446"/>
                  <a:pt x="1389944" y="213465"/>
                </a:cubicBezTo>
                <a:cubicBezTo>
                  <a:pt x="1403238" y="215484"/>
                  <a:pt x="1415606" y="218850"/>
                  <a:pt x="1427048" y="223562"/>
                </a:cubicBezTo>
                <a:lnTo>
                  <a:pt x="1418466" y="277073"/>
                </a:lnTo>
                <a:cubicBezTo>
                  <a:pt x="1412745" y="274381"/>
                  <a:pt x="1407444" y="272193"/>
                  <a:pt x="1402564" y="270510"/>
                </a:cubicBezTo>
                <a:cubicBezTo>
                  <a:pt x="1397684" y="268828"/>
                  <a:pt x="1392973" y="267566"/>
                  <a:pt x="1388429" y="266724"/>
                </a:cubicBezTo>
                <a:cubicBezTo>
                  <a:pt x="1383886" y="265883"/>
                  <a:pt x="1379174" y="265294"/>
                  <a:pt x="1374294" y="264957"/>
                </a:cubicBezTo>
                <a:cubicBezTo>
                  <a:pt x="1369414" y="264621"/>
                  <a:pt x="1364114" y="264452"/>
                  <a:pt x="1358392" y="264452"/>
                </a:cubicBezTo>
                <a:cubicBezTo>
                  <a:pt x="1353007" y="264452"/>
                  <a:pt x="1348127" y="264957"/>
                  <a:pt x="1343752" y="265967"/>
                </a:cubicBezTo>
                <a:cubicBezTo>
                  <a:pt x="1339377" y="266977"/>
                  <a:pt x="1335675" y="268996"/>
                  <a:pt x="1332646" y="272025"/>
                </a:cubicBezTo>
                <a:cubicBezTo>
                  <a:pt x="1329617" y="275054"/>
                  <a:pt x="1327261" y="279261"/>
                  <a:pt x="1325579" y="284645"/>
                </a:cubicBezTo>
                <a:cubicBezTo>
                  <a:pt x="1323896" y="290030"/>
                  <a:pt x="1323054" y="297098"/>
                  <a:pt x="1323054" y="305848"/>
                </a:cubicBezTo>
                <a:lnTo>
                  <a:pt x="1323054" y="401765"/>
                </a:lnTo>
                <a:lnTo>
                  <a:pt x="1422505" y="401765"/>
                </a:lnTo>
                <a:lnTo>
                  <a:pt x="1422505" y="453257"/>
                </a:lnTo>
                <a:lnTo>
                  <a:pt x="1323054" y="453257"/>
                </a:lnTo>
                <a:close/>
                <a:moveTo>
                  <a:pt x="539852" y="532010"/>
                </a:moveTo>
                <a:cubicBezTo>
                  <a:pt x="534131" y="532010"/>
                  <a:pt x="527568" y="531841"/>
                  <a:pt x="520164" y="531505"/>
                </a:cubicBezTo>
                <a:cubicBezTo>
                  <a:pt x="512760" y="531168"/>
                  <a:pt x="505187" y="530748"/>
                  <a:pt x="497447" y="530243"/>
                </a:cubicBezTo>
                <a:cubicBezTo>
                  <a:pt x="489706" y="529738"/>
                  <a:pt x="482049" y="528981"/>
                  <a:pt x="474477" y="527971"/>
                </a:cubicBezTo>
                <a:cubicBezTo>
                  <a:pt x="466905" y="526961"/>
                  <a:pt x="460090" y="525784"/>
                  <a:pt x="454032" y="524437"/>
                </a:cubicBezTo>
                <a:lnTo>
                  <a:pt x="454032" y="215989"/>
                </a:lnTo>
                <a:lnTo>
                  <a:pt x="516125" y="215989"/>
                </a:lnTo>
                <a:lnTo>
                  <a:pt x="516125" y="321498"/>
                </a:lnTo>
                <a:lnTo>
                  <a:pt x="538337" y="321498"/>
                </a:lnTo>
                <a:cubicBezTo>
                  <a:pt x="578723" y="321498"/>
                  <a:pt x="609938" y="329827"/>
                  <a:pt x="631982" y="346486"/>
                </a:cubicBezTo>
                <a:cubicBezTo>
                  <a:pt x="654026" y="363146"/>
                  <a:pt x="665048" y="390154"/>
                  <a:pt x="665048" y="427511"/>
                </a:cubicBezTo>
                <a:cubicBezTo>
                  <a:pt x="665048" y="464531"/>
                  <a:pt x="654111" y="491203"/>
                  <a:pt x="632235" y="507526"/>
                </a:cubicBezTo>
                <a:cubicBezTo>
                  <a:pt x="610359" y="523848"/>
                  <a:pt x="579565" y="532010"/>
                  <a:pt x="539852" y="532010"/>
                </a:cubicBezTo>
                <a:close/>
                <a:moveTo>
                  <a:pt x="3816452" y="535544"/>
                </a:moveTo>
                <a:cubicBezTo>
                  <a:pt x="3797604" y="535544"/>
                  <a:pt x="3780694" y="532430"/>
                  <a:pt x="3765716" y="526204"/>
                </a:cubicBezTo>
                <a:cubicBezTo>
                  <a:pt x="3750740" y="519978"/>
                  <a:pt x="3738708" y="513836"/>
                  <a:pt x="3729622" y="507778"/>
                </a:cubicBezTo>
                <a:lnTo>
                  <a:pt x="3751834" y="462344"/>
                </a:lnTo>
                <a:cubicBezTo>
                  <a:pt x="3760248" y="468065"/>
                  <a:pt x="3770260" y="472861"/>
                  <a:pt x="3781872" y="476731"/>
                </a:cubicBezTo>
                <a:cubicBezTo>
                  <a:pt x="3793482" y="480602"/>
                  <a:pt x="3805178" y="482537"/>
                  <a:pt x="3816956" y="482537"/>
                </a:cubicBezTo>
                <a:cubicBezTo>
                  <a:pt x="3829072" y="482537"/>
                  <a:pt x="3838580" y="479255"/>
                  <a:pt x="3845480" y="472693"/>
                </a:cubicBezTo>
                <a:cubicBezTo>
                  <a:pt x="3852378" y="466130"/>
                  <a:pt x="3855828" y="457127"/>
                  <a:pt x="3855828" y="445685"/>
                </a:cubicBezTo>
                <a:cubicBezTo>
                  <a:pt x="3855828" y="437944"/>
                  <a:pt x="3854230" y="431550"/>
                  <a:pt x="3851032" y="426501"/>
                </a:cubicBezTo>
                <a:cubicBezTo>
                  <a:pt x="3847836" y="421453"/>
                  <a:pt x="3843712" y="417414"/>
                  <a:pt x="3838664" y="414385"/>
                </a:cubicBezTo>
                <a:cubicBezTo>
                  <a:pt x="3833616" y="411357"/>
                  <a:pt x="3827894" y="409169"/>
                  <a:pt x="3821500" y="407823"/>
                </a:cubicBezTo>
                <a:cubicBezTo>
                  <a:pt x="3815106" y="406477"/>
                  <a:pt x="3808712" y="405803"/>
                  <a:pt x="3802316" y="405803"/>
                </a:cubicBezTo>
                <a:lnTo>
                  <a:pt x="3779094" y="405803"/>
                </a:lnTo>
                <a:lnTo>
                  <a:pt x="3779094" y="354311"/>
                </a:lnTo>
                <a:lnTo>
                  <a:pt x="3798278" y="354311"/>
                </a:lnTo>
                <a:cubicBezTo>
                  <a:pt x="3818470" y="354311"/>
                  <a:pt x="3835130" y="351030"/>
                  <a:pt x="3848256" y="344467"/>
                </a:cubicBezTo>
                <a:cubicBezTo>
                  <a:pt x="3861380" y="337904"/>
                  <a:pt x="3867944" y="326378"/>
                  <a:pt x="3867944" y="309887"/>
                </a:cubicBezTo>
                <a:cubicBezTo>
                  <a:pt x="3867944" y="296425"/>
                  <a:pt x="3863652" y="285150"/>
                  <a:pt x="3855072" y="276063"/>
                </a:cubicBezTo>
                <a:cubicBezTo>
                  <a:pt x="3846488" y="266977"/>
                  <a:pt x="3831596" y="262433"/>
                  <a:pt x="3810394" y="262433"/>
                </a:cubicBezTo>
                <a:cubicBezTo>
                  <a:pt x="3793230" y="262433"/>
                  <a:pt x="3778506" y="264284"/>
                  <a:pt x="3766222" y="267986"/>
                </a:cubicBezTo>
                <a:cubicBezTo>
                  <a:pt x="3753938" y="271688"/>
                  <a:pt x="3743924" y="275222"/>
                  <a:pt x="3736184" y="278588"/>
                </a:cubicBezTo>
                <a:lnTo>
                  <a:pt x="3724068" y="226591"/>
                </a:lnTo>
                <a:cubicBezTo>
                  <a:pt x="3727770" y="224908"/>
                  <a:pt x="3732988" y="223057"/>
                  <a:pt x="3739718" y="221037"/>
                </a:cubicBezTo>
                <a:cubicBezTo>
                  <a:pt x="3746450" y="219018"/>
                  <a:pt x="3753770" y="217167"/>
                  <a:pt x="3761678" y="215484"/>
                </a:cubicBezTo>
                <a:cubicBezTo>
                  <a:pt x="3769588" y="213802"/>
                  <a:pt x="3777832" y="212371"/>
                  <a:pt x="3786414" y="211193"/>
                </a:cubicBezTo>
                <a:cubicBezTo>
                  <a:pt x="3794996" y="210015"/>
                  <a:pt x="3803158" y="209427"/>
                  <a:pt x="3810898" y="209427"/>
                </a:cubicBezTo>
                <a:cubicBezTo>
                  <a:pt x="3831764" y="209427"/>
                  <a:pt x="3849770" y="211867"/>
                  <a:pt x="3864916" y="216746"/>
                </a:cubicBezTo>
                <a:cubicBezTo>
                  <a:pt x="3880060" y="221626"/>
                  <a:pt x="3892512" y="228526"/>
                  <a:pt x="3902272" y="237444"/>
                </a:cubicBezTo>
                <a:cubicBezTo>
                  <a:pt x="3912032" y="246363"/>
                  <a:pt x="3919268" y="256880"/>
                  <a:pt x="3923980" y="268996"/>
                </a:cubicBezTo>
                <a:cubicBezTo>
                  <a:pt x="3928692" y="281112"/>
                  <a:pt x="3931048" y="294405"/>
                  <a:pt x="3931048" y="308877"/>
                </a:cubicBezTo>
                <a:cubicBezTo>
                  <a:pt x="3931048" y="327051"/>
                  <a:pt x="3926588" y="342700"/>
                  <a:pt x="3917668" y="355826"/>
                </a:cubicBezTo>
                <a:cubicBezTo>
                  <a:pt x="3908750" y="368951"/>
                  <a:pt x="3896214" y="378879"/>
                  <a:pt x="3880060" y="385610"/>
                </a:cubicBezTo>
                <a:cubicBezTo>
                  <a:pt x="3891840" y="391668"/>
                  <a:pt x="3901262" y="400419"/>
                  <a:pt x="3908330" y="411861"/>
                </a:cubicBezTo>
                <a:cubicBezTo>
                  <a:pt x="3915398" y="423304"/>
                  <a:pt x="3918932" y="435252"/>
                  <a:pt x="3918932" y="447704"/>
                </a:cubicBezTo>
                <a:cubicBezTo>
                  <a:pt x="3918932" y="460156"/>
                  <a:pt x="3916912" y="471767"/>
                  <a:pt x="3912874" y="482537"/>
                </a:cubicBezTo>
                <a:cubicBezTo>
                  <a:pt x="3908834" y="493306"/>
                  <a:pt x="3902608" y="502646"/>
                  <a:pt x="3894196" y="510555"/>
                </a:cubicBezTo>
                <a:cubicBezTo>
                  <a:pt x="3885780" y="518464"/>
                  <a:pt x="3875096" y="524606"/>
                  <a:pt x="3862138" y="528981"/>
                </a:cubicBezTo>
                <a:cubicBezTo>
                  <a:pt x="3849180" y="533356"/>
                  <a:pt x="3833952" y="535544"/>
                  <a:pt x="3816452" y="535544"/>
                </a:cubicBezTo>
                <a:close/>
                <a:moveTo>
                  <a:pt x="3567354" y="535544"/>
                </a:moveTo>
                <a:cubicBezTo>
                  <a:pt x="3549854" y="535544"/>
                  <a:pt x="3532268" y="532178"/>
                  <a:pt x="3514600" y="525447"/>
                </a:cubicBezTo>
                <a:cubicBezTo>
                  <a:pt x="3496930" y="518716"/>
                  <a:pt x="3481366" y="508283"/>
                  <a:pt x="3467904" y="494148"/>
                </a:cubicBezTo>
                <a:lnTo>
                  <a:pt x="3498698" y="450733"/>
                </a:lnTo>
                <a:cubicBezTo>
                  <a:pt x="3509130" y="461839"/>
                  <a:pt x="3519732" y="469748"/>
                  <a:pt x="3530502" y="474460"/>
                </a:cubicBezTo>
                <a:cubicBezTo>
                  <a:pt x="3541272" y="479171"/>
                  <a:pt x="3551536" y="481527"/>
                  <a:pt x="3561296" y="481527"/>
                </a:cubicBezTo>
                <a:cubicBezTo>
                  <a:pt x="3573076" y="481527"/>
                  <a:pt x="3582836" y="478078"/>
                  <a:pt x="3590576" y="471178"/>
                </a:cubicBezTo>
                <a:cubicBezTo>
                  <a:pt x="3598316" y="464279"/>
                  <a:pt x="3602186" y="454435"/>
                  <a:pt x="3602188" y="441646"/>
                </a:cubicBezTo>
                <a:cubicBezTo>
                  <a:pt x="3602186" y="432559"/>
                  <a:pt x="3599074" y="423641"/>
                  <a:pt x="3592848" y="414890"/>
                </a:cubicBezTo>
                <a:cubicBezTo>
                  <a:pt x="3586622" y="406140"/>
                  <a:pt x="3578712" y="397053"/>
                  <a:pt x="3569120" y="387630"/>
                </a:cubicBezTo>
                <a:cubicBezTo>
                  <a:pt x="3559528" y="378206"/>
                  <a:pt x="3549264" y="368362"/>
                  <a:pt x="3538326" y="358097"/>
                </a:cubicBezTo>
                <a:cubicBezTo>
                  <a:pt x="3527388" y="347833"/>
                  <a:pt x="3517124" y="336727"/>
                  <a:pt x="3507532" y="324779"/>
                </a:cubicBezTo>
                <a:cubicBezTo>
                  <a:pt x="3497940" y="312831"/>
                  <a:pt x="3490032" y="299790"/>
                  <a:pt x="3483806" y="285655"/>
                </a:cubicBezTo>
                <a:cubicBezTo>
                  <a:pt x="3477580" y="271520"/>
                  <a:pt x="3474466" y="256039"/>
                  <a:pt x="3474466" y="239211"/>
                </a:cubicBezTo>
                <a:cubicBezTo>
                  <a:pt x="3474466" y="237192"/>
                  <a:pt x="3474382" y="233658"/>
                  <a:pt x="3474214" y="228610"/>
                </a:cubicBezTo>
                <a:cubicBezTo>
                  <a:pt x="3474046" y="223562"/>
                  <a:pt x="3474466" y="219355"/>
                  <a:pt x="3475476" y="215989"/>
                </a:cubicBezTo>
                <a:lnTo>
                  <a:pt x="3679426" y="215989"/>
                </a:lnTo>
                <a:lnTo>
                  <a:pt x="3679426" y="267481"/>
                </a:lnTo>
                <a:lnTo>
                  <a:pt x="3545142" y="267481"/>
                </a:lnTo>
                <a:cubicBezTo>
                  <a:pt x="3545142" y="272530"/>
                  <a:pt x="3546908" y="278083"/>
                  <a:pt x="3550442" y="284141"/>
                </a:cubicBezTo>
                <a:cubicBezTo>
                  <a:pt x="3553976" y="290198"/>
                  <a:pt x="3558268" y="296172"/>
                  <a:pt x="3563316" y="302062"/>
                </a:cubicBezTo>
                <a:cubicBezTo>
                  <a:pt x="3568364" y="307952"/>
                  <a:pt x="3573748" y="313673"/>
                  <a:pt x="3579470" y="319226"/>
                </a:cubicBezTo>
                <a:cubicBezTo>
                  <a:pt x="3585190" y="324779"/>
                  <a:pt x="3590240" y="329575"/>
                  <a:pt x="3594614" y="333613"/>
                </a:cubicBezTo>
                <a:cubicBezTo>
                  <a:pt x="3603364" y="341691"/>
                  <a:pt x="3611946" y="350104"/>
                  <a:pt x="3620360" y="358855"/>
                </a:cubicBezTo>
                <a:cubicBezTo>
                  <a:pt x="3628774" y="367605"/>
                  <a:pt x="3636346" y="376692"/>
                  <a:pt x="3643078" y="386115"/>
                </a:cubicBezTo>
                <a:cubicBezTo>
                  <a:pt x="3649808" y="395539"/>
                  <a:pt x="3655194" y="405214"/>
                  <a:pt x="3659232" y="415143"/>
                </a:cubicBezTo>
                <a:cubicBezTo>
                  <a:pt x="3663270" y="425071"/>
                  <a:pt x="3665290" y="435420"/>
                  <a:pt x="3665290" y="446189"/>
                </a:cubicBezTo>
                <a:cubicBezTo>
                  <a:pt x="3665290" y="460998"/>
                  <a:pt x="3662598" y="474039"/>
                  <a:pt x="3657212" y="485313"/>
                </a:cubicBezTo>
                <a:cubicBezTo>
                  <a:pt x="3651828" y="496588"/>
                  <a:pt x="3644592" y="505927"/>
                  <a:pt x="3635506" y="513331"/>
                </a:cubicBezTo>
                <a:cubicBezTo>
                  <a:pt x="3626418" y="520735"/>
                  <a:pt x="3615986" y="526288"/>
                  <a:pt x="3604206" y="529990"/>
                </a:cubicBezTo>
                <a:cubicBezTo>
                  <a:pt x="3592426" y="533692"/>
                  <a:pt x="3580142" y="535544"/>
                  <a:pt x="3567354" y="535544"/>
                </a:cubicBezTo>
                <a:close/>
                <a:moveTo>
                  <a:pt x="3324752" y="535544"/>
                </a:moveTo>
                <a:cubicBezTo>
                  <a:pt x="3290088" y="535544"/>
                  <a:pt x="3263332" y="522081"/>
                  <a:pt x="3244486" y="495157"/>
                </a:cubicBezTo>
                <a:cubicBezTo>
                  <a:pt x="3225638" y="468233"/>
                  <a:pt x="3216214" y="427511"/>
                  <a:pt x="3216214" y="372990"/>
                </a:cubicBezTo>
                <a:cubicBezTo>
                  <a:pt x="3216214" y="317796"/>
                  <a:pt x="3225470" y="276737"/>
                  <a:pt x="3243980" y="249813"/>
                </a:cubicBezTo>
                <a:cubicBezTo>
                  <a:pt x="3262490" y="222889"/>
                  <a:pt x="3289414" y="209427"/>
                  <a:pt x="3324752" y="209427"/>
                </a:cubicBezTo>
                <a:cubicBezTo>
                  <a:pt x="3360090" y="209427"/>
                  <a:pt x="3387014" y="222889"/>
                  <a:pt x="3405524" y="249813"/>
                </a:cubicBezTo>
                <a:cubicBezTo>
                  <a:pt x="3424034" y="276737"/>
                  <a:pt x="3433290" y="317796"/>
                  <a:pt x="3433290" y="372990"/>
                </a:cubicBezTo>
                <a:cubicBezTo>
                  <a:pt x="3433290" y="427847"/>
                  <a:pt x="3424034" y="468654"/>
                  <a:pt x="3405524" y="495410"/>
                </a:cubicBezTo>
                <a:cubicBezTo>
                  <a:pt x="3387014" y="522166"/>
                  <a:pt x="3360090" y="535544"/>
                  <a:pt x="3324752" y="535544"/>
                </a:cubicBezTo>
                <a:close/>
                <a:moveTo>
                  <a:pt x="3062528" y="535544"/>
                </a:moveTo>
                <a:cubicBezTo>
                  <a:pt x="3045028" y="535544"/>
                  <a:pt x="3027444" y="532178"/>
                  <a:pt x="3009774" y="525447"/>
                </a:cubicBezTo>
                <a:cubicBezTo>
                  <a:pt x="2992106" y="518716"/>
                  <a:pt x="2976540" y="508283"/>
                  <a:pt x="2963078" y="494148"/>
                </a:cubicBezTo>
                <a:lnTo>
                  <a:pt x="2993872" y="450733"/>
                </a:lnTo>
                <a:cubicBezTo>
                  <a:pt x="3004306" y="461839"/>
                  <a:pt x="3014908" y="469748"/>
                  <a:pt x="3025676" y="474460"/>
                </a:cubicBezTo>
                <a:cubicBezTo>
                  <a:pt x="3036446" y="479171"/>
                  <a:pt x="3046712" y="481527"/>
                  <a:pt x="3056472" y="481527"/>
                </a:cubicBezTo>
                <a:cubicBezTo>
                  <a:pt x="3068250" y="481527"/>
                  <a:pt x="3078010" y="478078"/>
                  <a:pt x="3085752" y="471178"/>
                </a:cubicBezTo>
                <a:cubicBezTo>
                  <a:pt x="3093492" y="464279"/>
                  <a:pt x="3097362" y="454435"/>
                  <a:pt x="3097362" y="441646"/>
                </a:cubicBezTo>
                <a:cubicBezTo>
                  <a:pt x="3097362" y="432559"/>
                  <a:pt x="3094248" y="423641"/>
                  <a:pt x="3088022" y="414890"/>
                </a:cubicBezTo>
                <a:cubicBezTo>
                  <a:pt x="3081796" y="406140"/>
                  <a:pt x="3073888" y="397053"/>
                  <a:pt x="3064296" y="387630"/>
                </a:cubicBezTo>
                <a:cubicBezTo>
                  <a:pt x="3054704" y="378206"/>
                  <a:pt x="3044440" y="368362"/>
                  <a:pt x="3033502" y="358097"/>
                </a:cubicBezTo>
                <a:cubicBezTo>
                  <a:pt x="3022564" y="347833"/>
                  <a:pt x="3012298" y="336727"/>
                  <a:pt x="3002708" y="324779"/>
                </a:cubicBezTo>
                <a:cubicBezTo>
                  <a:pt x="2993116" y="312831"/>
                  <a:pt x="2985206" y="299790"/>
                  <a:pt x="2978980" y="285655"/>
                </a:cubicBezTo>
                <a:cubicBezTo>
                  <a:pt x="2972754" y="271520"/>
                  <a:pt x="2969642" y="256039"/>
                  <a:pt x="2969642" y="239211"/>
                </a:cubicBezTo>
                <a:cubicBezTo>
                  <a:pt x="2969642" y="237192"/>
                  <a:pt x="2969558" y="233658"/>
                  <a:pt x="2969388" y="228610"/>
                </a:cubicBezTo>
                <a:cubicBezTo>
                  <a:pt x="2969220" y="223562"/>
                  <a:pt x="2969640" y="219355"/>
                  <a:pt x="2970650" y="215989"/>
                </a:cubicBezTo>
                <a:lnTo>
                  <a:pt x="3174600" y="215989"/>
                </a:lnTo>
                <a:lnTo>
                  <a:pt x="3174600" y="267481"/>
                </a:lnTo>
                <a:lnTo>
                  <a:pt x="3040316" y="267481"/>
                </a:lnTo>
                <a:cubicBezTo>
                  <a:pt x="3040316" y="272530"/>
                  <a:pt x="3042084" y="278083"/>
                  <a:pt x="3045618" y="284141"/>
                </a:cubicBezTo>
                <a:cubicBezTo>
                  <a:pt x="3049152" y="290198"/>
                  <a:pt x="3053442" y="296172"/>
                  <a:pt x="3058490" y="302062"/>
                </a:cubicBezTo>
                <a:cubicBezTo>
                  <a:pt x="3063538" y="307952"/>
                  <a:pt x="3068924" y="313673"/>
                  <a:pt x="3074644" y="319226"/>
                </a:cubicBezTo>
                <a:cubicBezTo>
                  <a:pt x="3080366" y="324779"/>
                  <a:pt x="3085414" y="329575"/>
                  <a:pt x="3089790" y="333613"/>
                </a:cubicBezTo>
                <a:cubicBezTo>
                  <a:pt x="3098540" y="341691"/>
                  <a:pt x="3107122" y="350104"/>
                  <a:pt x="3115536" y="358855"/>
                </a:cubicBezTo>
                <a:cubicBezTo>
                  <a:pt x="3123950" y="367605"/>
                  <a:pt x="3131522" y="376692"/>
                  <a:pt x="3138252" y="386115"/>
                </a:cubicBezTo>
                <a:cubicBezTo>
                  <a:pt x="3144984" y="395539"/>
                  <a:pt x="3150368" y="405214"/>
                  <a:pt x="3154408" y="415143"/>
                </a:cubicBezTo>
                <a:cubicBezTo>
                  <a:pt x="3158446" y="425071"/>
                  <a:pt x="3160464" y="435420"/>
                  <a:pt x="3160464" y="446189"/>
                </a:cubicBezTo>
                <a:cubicBezTo>
                  <a:pt x="3160464" y="460998"/>
                  <a:pt x="3157772" y="474039"/>
                  <a:pt x="3152388" y="485313"/>
                </a:cubicBezTo>
                <a:cubicBezTo>
                  <a:pt x="3147002" y="496588"/>
                  <a:pt x="3139766" y="505927"/>
                  <a:pt x="3130680" y="513331"/>
                </a:cubicBezTo>
                <a:cubicBezTo>
                  <a:pt x="3121594" y="520735"/>
                  <a:pt x="3111160" y="526288"/>
                  <a:pt x="3099382" y="529990"/>
                </a:cubicBezTo>
                <a:cubicBezTo>
                  <a:pt x="3087602" y="533692"/>
                  <a:pt x="3075318" y="535544"/>
                  <a:pt x="3062528" y="535544"/>
                </a:cubicBezTo>
                <a:close/>
                <a:moveTo>
                  <a:pt x="2292890" y="561290"/>
                </a:moveTo>
                <a:cubicBezTo>
                  <a:pt x="2282120" y="561290"/>
                  <a:pt x="2272949" y="557756"/>
                  <a:pt x="2265377" y="550688"/>
                </a:cubicBezTo>
                <a:cubicBezTo>
                  <a:pt x="2257805" y="543621"/>
                  <a:pt x="2254018" y="533861"/>
                  <a:pt x="2254018" y="521408"/>
                </a:cubicBezTo>
                <a:cubicBezTo>
                  <a:pt x="2254018" y="509293"/>
                  <a:pt x="2257805" y="499701"/>
                  <a:pt x="2265377" y="492633"/>
                </a:cubicBezTo>
                <a:cubicBezTo>
                  <a:pt x="2272949" y="485566"/>
                  <a:pt x="2282120" y="482032"/>
                  <a:pt x="2292890" y="482032"/>
                </a:cubicBezTo>
                <a:cubicBezTo>
                  <a:pt x="2303660" y="482032"/>
                  <a:pt x="2312914" y="485566"/>
                  <a:pt x="2320655" y="492633"/>
                </a:cubicBezTo>
                <a:cubicBezTo>
                  <a:pt x="2328396" y="499701"/>
                  <a:pt x="2332266" y="509293"/>
                  <a:pt x="2332266" y="521408"/>
                </a:cubicBezTo>
                <a:cubicBezTo>
                  <a:pt x="2332266" y="533861"/>
                  <a:pt x="2328396" y="543621"/>
                  <a:pt x="2320655" y="550688"/>
                </a:cubicBezTo>
                <a:cubicBezTo>
                  <a:pt x="2312914" y="557756"/>
                  <a:pt x="2303660" y="561290"/>
                  <a:pt x="2292890" y="561290"/>
                </a:cubicBezTo>
                <a:close/>
                <a:moveTo>
                  <a:pt x="1959420" y="563309"/>
                </a:moveTo>
                <a:lnTo>
                  <a:pt x="1959420" y="511817"/>
                </a:lnTo>
                <a:lnTo>
                  <a:pt x="2025047" y="511817"/>
                </a:lnTo>
                <a:lnTo>
                  <a:pt x="2025047" y="310392"/>
                </a:lnTo>
                <a:cubicBezTo>
                  <a:pt x="2025047" y="277746"/>
                  <a:pt x="2031610" y="252926"/>
                  <a:pt x="2044735" y="235930"/>
                </a:cubicBezTo>
                <a:cubicBezTo>
                  <a:pt x="2057860" y="218934"/>
                  <a:pt x="2078727" y="210436"/>
                  <a:pt x="2107333" y="210436"/>
                </a:cubicBezTo>
                <a:cubicBezTo>
                  <a:pt x="2117767" y="210436"/>
                  <a:pt x="2127106" y="211109"/>
                  <a:pt x="2135351" y="212455"/>
                </a:cubicBezTo>
                <a:cubicBezTo>
                  <a:pt x="2143597" y="213802"/>
                  <a:pt x="2150580" y="215400"/>
                  <a:pt x="2156302" y="217251"/>
                </a:cubicBezTo>
                <a:cubicBezTo>
                  <a:pt x="2162023" y="219102"/>
                  <a:pt x="2166650" y="220869"/>
                  <a:pt x="2170184" y="222552"/>
                </a:cubicBezTo>
                <a:cubicBezTo>
                  <a:pt x="2173718" y="224235"/>
                  <a:pt x="2175990" y="225413"/>
                  <a:pt x="2176999" y="226086"/>
                </a:cubicBezTo>
                <a:lnTo>
                  <a:pt x="2168922" y="276063"/>
                </a:lnTo>
                <a:cubicBezTo>
                  <a:pt x="2166230" y="275054"/>
                  <a:pt x="2160677" y="272866"/>
                  <a:pt x="2152263" y="269501"/>
                </a:cubicBezTo>
                <a:cubicBezTo>
                  <a:pt x="2143849" y="266135"/>
                  <a:pt x="2133416" y="264452"/>
                  <a:pt x="2120964" y="264452"/>
                </a:cubicBezTo>
                <a:cubicBezTo>
                  <a:pt x="2111204" y="264452"/>
                  <a:pt x="2103126" y="267313"/>
                  <a:pt x="2096732" y="273034"/>
                </a:cubicBezTo>
                <a:cubicBezTo>
                  <a:pt x="2090338" y="278756"/>
                  <a:pt x="2087140" y="289694"/>
                  <a:pt x="2087140" y="305848"/>
                </a:cubicBezTo>
                <a:lnTo>
                  <a:pt x="2087140" y="563309"/>
                </a:lnTo>
                <a:close/>
                <a:moveTo>
                  <a:pt x="1607052" y="565833"/>
                </a:moveTo>
                <a:cubicBezTo>
                  <a:pt x="1594263" y="565833"/>
                  <a:pt x="1581811" y="564234"/>
                  <a:pt x="1569695" y="561037"/>
                </a:cubicBezTo>
                <a:cubicBezTo>
                  <a:pt x="1557579" y="557840"/>
                  <a:pt x="1546810" y="552455"/>
                  <a:pt x="1537386" y="544883"/>
                </a:cubicBezTo>
                <a:cubicBezTo>
                  <a:pt x="1527963" y="537310"/>
                  <a:pt x="1520474" y="527214"/>
                  <a:pt x="1514921" y="514593"/>
                </a:cubicBezTo>
                <a:cubicBezTo>
                  <a:pt x="1509368" y="501973"/>
                  <a:pt x="1506592" y="486071"/>
                  <a:pt x="1506592" y="466887"/>
                </a:cubicBezTo>
                <a:lnTo>
                  <a:pt x="1506592" y="453257"/>
                </a:lnTo>
                <a:lnTo>
                  <a:pt x="1454595" y="453257"/>
                </a:lnTo>
                <a:lnTo>
                  <a:pt x="1454595" y="401765"/>
                </a:lnTo>
                <a:lnTo>
                  <a:pt x="1506592" y="401765"/>
                </a:lnTo>
                <a:lnTo>
                  <a:pt x="1506592" y="215989"/>
                </a:lnTo>
                <a:lnTo>
                  <a:pt x="1569190" y="215989"/>
                </a:lnTo>
                <a:lnTo>
                  <a:pt x="1569190" y="401765"/>
                </a:lnTo>
                <a:lnTo>
                  <a:pt x="1666621" y="401765"/>
                </a:lnTo>
                <a:lnTo>
                  <a:pt x="1666621" y="453257"/>
                </a:lnTo>
                <a:lnTo>
                  <a:pt x="1569190" y="453257"/>
                </a:lnTo>
                <a:lnTo>
                  <a:pt x="1569190" y="465878"/>
                </a:lnTo>
                <a:cubicBezTo>
                  <a:pt x="1569190" y="475974"/>
                  <a:pt x="1570368" y="484135"/>
                  <a:pt x="1572724" y="490362"/>
                </a:cubicBezTo>
                <a:cubicBezTo>
                  <a:pt x="1575080" y="496588"/>
                  <a:pt x="1578193" y="501384"/>
                  <a:pt x="1582063" y="504749"/>
                </a:cubicBezTo>
                <a:cubicBezTo>
                  <a:pt x="1585933" y="508115"/>
                  <a:pt x="1590477" y="510302"/>
                  <a:pt x="1595693" y="511312"/>
                </a:cubicBezTo>
                <a:cubicBezTo>
                  <a:pt x="1600910" y="512322"/>
                  <a:pt x="1606379" y="512826"/>
                  <a:pt x="1612100" y="512826"/>
                </a:cubicBezTo>
                <a:cubicBezTo>
                  <a:pt x="1622533" y="512826"/>
                  <a:pt x="1633555" y="511396"/>
                  <a:pt x="1645166" y="508535"/>
                </a:cubicBezTo>
                <a:cubicBezTo>
                  <a:pt x="1656777" y="505675"/>
                  <a:pt x="1666453" y="502898"/>
                  <a:pt x="1674194" y="500206"/>
                </a:cubicBezTo>
                <a:lnTo>
                  <a:pt x="1684795" y="550688"/>
                </a:lnTo>
                <a:cubicBezTo>
                  <a:pt x="1673689" y="556073"/>
                  <a:pt x="1661236" y="559943"/>
                  <a:pt x="1647438" y="562299"/>
                </a:cubicBezTo>
                <a:cubicBezTo>
                  <a:pt x="1633639" y="564655"/>
                  <a:pt x="1620178" y="565833"/>
                  <a:pt x="1607052" y="565833"/>
                </a:cubicBezTo>
                <a:close/>
                <a:moveTo>
                  <a:pt x="0" y="796029"/>
                </a:moveTo>
                <a:lnTo>
                  <a:pt x="4876802" y="796029"/>
                </a:lnTo>
                <a:lnTo>
                  <a:pt x="4824822" y="344498"/>
                </a:lnTo>
                <a:cubicBezTo>
                  <a:pt x="4801968" y="145891"/>
                  <a:pt x="4682292" y="207"/>
                  <a:pt x="4541980" y="155"/>
                </a:cubicBezTo>
                <a:lnTo>
                  <a:pt x="0" y="0"/>
                </a:lnTo>
                <a:close/>
              </a:path>
            </a:pathLst>
          </a:custGeom>
          <a:solidFill>
            <a:schemeClr val="bg1"/>
          </a:solidFill>
          <a:ln w="2834" cap="flat">
            <a:noFill/>
            <a:prstDash val="solid"/>
            <a:miter/>
          </a:ln>
        </p:spPr>
        <p:txBody>
          <a:bodyPr wrap="square" rtlCol="0" anchor="ctr">
            <a:noAutofit/>
          </a:bodyPr>
          <a:lstStyle/>
          <a:p>
            <a:endParaRPr lang="en-US" dirty="0"/>
          </a:p>
        </p:txBody>
      </p:sp>
      <p:pic>
        <p:nvPicPr>
          <p:cNvPr id="11" name="Imagen 10" descr="Un dibujo de una cara feliz&#10;&#10;Descripción generada automáticamente con confianza baja">
            <a:extLst>
              <a:ext uri="{FF2B5EF4-FFF2-40B4-BE49-F238E27FC236}">
                <a16:creationId xmlns:a16="http://schemas.microsoft.com/office/drawing/2014/main" id="{AAE5E7C8-61FF-4E9E-B7AA-24C524932BC4}"/>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7824450" y="406400"/>
            <a:ext cx="1801936" cy="934010"/>
          </a:xfrm>
          <a:prstGeom prst="rect">
            <a:avLst/>
          </a:prstGeom>
        </p:spPr>
      </p:pic>
    </p:spTree>
    <p:extLst>
      <p:ext uri="{BB962C8B-B14F-4D97-AF65-F5344CB8AC3E}">
        <p14:creationId xmlns:p14="http://schemas.microsoft.com/office/powerpoint/2010/main" val="370412957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
        <p:nvSpPr>
          <p:cNvPr id="10" name="Rectángulo 9">
            <a:extLst>
              <a:ext uri="{FF2B5EF4-FFF2-40B4-BE49-F238E27FC236}">
                <a16:creationId xmlns:a16="http://schemas.microsoft.com/office/drawing/2014/main" id="{E7BF236D-D0D3-10D7-3261-21E349035258}"/>
              </a:ext>
            </a:extLst>
          </p:cNvPr>
          <p:cNvSpPr/>
          <p:nvPr userDrawn="1"/>
        </p:nvSpPr>
        <p:spPr>
          <a:xfrm>
            <a:off x="0" y="0"/>
            <a:ext cx="20104100" cy="113284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3" name="Imagen 2">
            <a:extLst>
              <a:ext uri="{FF2B5EF4-FFF2-40B4-BE49-F238E27FC236}">
                <a16:creationId xmlns:a16="http://schemas.microsoft.com/office/drawing/2014/main" id="{94769285-F552-DA33-E50F-731CFD3C70A6}"/>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2" y="0"/>
            <a:ext cx="10433051" cy="11328400"/>
          </a:xfrm>
          <a:prstGeom prst="rect">
            <a:avLst/>
          </a:prstGeom>
        </p:spPr>
      </p:pic>
      <p:sp>
        <p:nvSpPr>
          <p:cNvPr id="4" name="Holder 4"/>
          <p:cNvSpPr>
            <a:spLocks noGrp="1"/>
          </p:cNvSpPr>
          <p:nvPr>
            <p:ph type="ftr" sz="quarter" idx="5"/>
          </p:nvPr>
        </p:nvSpPr>
        <p:spPr>
          <a:xfrm>
            <a:off x="16647741" y="10759212"/>
            <a:ext cx="2962677" cy="200055"/>
          </a:xfrm>
          <a:prstGeom prst="rect">
            <a:avLst/>
          </a:prstGeom>
        </p:spPr>
        <p:txBody>
          <a:bodyPr lIns="0" tIns="0" rIns="0" bIns="0"/>
          <a:lstStyle>
            <a:lvl1pPr>
              <a:defRPr sz="1300" b="0" i="0">
                <a:solidFill>
                  <a:schemeClr val="bg1"/>
                </a:solidFill>
                <a:latin typeface="Ubuntu Light"/>
                <a:cs typeface="Ubuntu Light"/>
              </a:defRPr>
            </a:lvl1pPr>
          </a:lstStyle>
          <a:p>
            <a:pPr marL="26034">
              <a:spcBef>
                <a:spcPts val="30"/>
              </a:spcBef>
            </a:pPr>
            <a:r>
              <a:rPr lang="es-ES" dirty="0"/>
              <a:t>Public</a:t>
            </a:r>
            <a:r>
              <a:rPr lang="es-ES" spc="-40" dirty="0"/>
              <a:t> </a:t>
            </a:r>
            <a:r>
              <a:rPr lang="es-ES" dirty="0"/>
              <a:t>©</a:t>
            </a:r>
            <a:r>
              <a:rPr lang="es-ES" spc="-40" dirty="0"/>
              <a:t> </a:t>
            </a:r>
            <a:r>
              <a:rPr lang="es-ES" dirty="0"/>
              <a:t>2023</a:t>
            </a:r>
            <a:r>
              <a:rPr lang="es-ES" spc="-40" dirty="0"/>
              <a:t> </a:t>
            </a:r>
            <a:r>
              <a:rPr lang="es-ES" spc="-10" dirty="0"/>
              <a:t>Sogeti.</a:t>
            </a:r>
            <a:r>
              <a:rPr lang="es-ES" spc="-35" dirty="0"/>
              <a:t> </a:t>
            </a:r>
            <a:r>
              <a:rPr lang="es-ES" dirty="0" err="1"/>
              <a:t>All</a:t>
            </a:r>
            <a:r>
              <a:rPr lang="es-ES" spc="-40" dirty="0"/>
              <a:t> </a:t>
            </a:r>
            <a:r>
              <a:rPr lang="es-ES" dirty="0"/>
              <a:t>rights</a:t>
            </a:r>
            <a:r>
              <a:rPr lang="es-ES" spc="-40" dirty="0"/>
              <a:t> </a:t>
            </a:r>
            <a:r>
              <a:rPr lang="es-ES" spc="-10" dirty="0" err="1"/>
              <a:t>reserved</a:t>
            </a:r>
            <a:endParaRPr lang="es-ES" spc="-10" dirty="0"/>
          </a:p>
        </p:txBody>
      </p:sp>
      <p:sp>
        <p:nvSpPr>
          <p:cNvPr id="2" name="CuadroTexto 1">
            <a:extLst>
              <a:ext uri="{FF2B5EF4-FFF2-40B4-BE49-F238E27FC236}">
                <a16:creationId xmlns:a16="http://schemas.microsoft.com/office/drawing/2014/main" id="{72E5CF79-7DA3-E21E-3060-87CB44907F25}"/>
              </a:ext>
            </a:extLst>
          </p:cNvPr>
          <p:cNvSpPr txBox="1"/>
          <p:nvPr userDrawn="1"/>
        </p:nvSpPr>
        <p:spPr>
          <a:xfrm>
            <a:off x="755650" y="10845800"/>
            <a:ext cx="7772400" cy="292388"/>
          </a:xfrm>
          <a:prstGeom prst="rect">
            <a:avLst/>
          </a:prstGeom>
          <a:noFill/>
        </p:spPr>
        <p:txBody>
          <a:bodyPr wrap="square" rtlCol="0">
            <a:spAutoFit/>
          </a:bodyPr>
          <a:lstStyle/>
          <a:p>
            <a:r>
              <a:rPr lang="es-ES" sz="1300" b="0" i="0" dirty="0">
                <a:solidFill>
                  <a:schemeClr val="bg1"/>
                </a:solidFill>
                <a:latin typeface="Ubuntu Medium" panose="020B0504030602030204" pitchFamily="34" charset="0"/>
              </a:rPr>
              <a:t>#FlourishingDigitalBusinessWithQuality </a:t>
            </a:r>
            <a:r>
              <a:rPr lang="es-ES" sz="1300" b="1" i="0" dirty="0">
                <a:solidFill>
                  <a:schemeClr val="bg1"/>
                </a:solidFill>
                <a:latin typeface="Ubuntu" panose="020B0504030602030204" pitchFamily="34" charset="0"/>
              </a:rPr>
              <a:t> ·</a:t>
            </a:r>
            <a:r>
              <a:rPr lang="es-ES" sz="1300" b="0" i="0" dirty="0">
                <a:solidFill>
                  <a:schemeClr val="bg1"/>
                </a:solidFill>
                <a:latin typeface="Ubuntu Medium" panose="020B0504030602030204" pitchFamily="34" charset="0"/>
              </a:rPr>
              <a:t>   </a:t>
            </a:r>
            <a:r>
              <a:rPr lang="es-ES" sz="1300" b="0" i="0" dirty="0" err="1">
                <a:solidFill>
                  <a:schemeClr val="bg1"/>
                </a:solidFill>
                <a:latin typeface="Ubuntu Medium" panose="020B0504030602030204" pitchFamily="34" charset="0"/>
              </a:rPr>
              <a:t>by</a:t>
            </a:r>
            <a:r>
              <a:rPr lang="es-ES" sz="1300" b="0" i="0" dirty="0">
                <a:solidFill>
                  <a:schemeClr val="bg1"/>
                </a:solidFill>
                <a:latin typeface="Ubuntu Medium" panose="020B0504030602030204" pitchFamily="34" charset="0"/>
              </a:rPr>
              <a:t> </a:t>
            </a:r>
            <a:r>
              <a:rPr lang="es-ES" sz="1300" b="1" i="0" dirty="0">
                <a:solidFill>
                  <a:schemeClr val="bg1"/>
                </a:solidFill>
                <a:latin typeface="Ubuntu" panose="020B0504030602030204" pitchFamily="34" charset="0"/>
              </a:rPr>
              <a:t>Sogeti España</a:t>
            </a:r>
          </a:p>
        </p:txBody>
      </p:sp>
      <p:sp>
        <p:nvSpPr>
          <p:cNvPr id="5" name="Forma libre 4">
            <a:extLst>
              <a:ext uri="{FF2B5EF4-FFF2-40B4-BE49-F238E27FC236}">
                <a16:creationId xmlns:a16="http://schemas.microsoft.com/office/drawing/2014/main" id="{FBAABD7F-C513-9B40-6AE2-E43DB3944CCE}"/>
              </a:ext>
            </a:extLst>
          </p:cNvPr>
          <p:cNvSpPr/>
          <p:nvPr userDrawn="1"/>
        </p:nvSpPr>
        <p:spPr>
          <a:xfrm flipV="1">
            <a:off x="755650" y="10384024"/>
            <a:ext cx="2362200" cy="385576"/>
          </a:xfrm>
          <a:custGeom>
            <a:avLst/>
            <a:gdLst/>
            <a:ahLst/>
            <a:cxnLst/>
            <a:rect l="l" t="t" r="r" b="b"/>
            <a:pathLst>
              <a:path w="4876802" h="796029">
                <a:moveTo>
                  <a:pt x="2572782" y="405299"/>
                </a:moveTo>
                <a:cubicBezTo>
                  <a:pt x="2589609" y="405299"/>
                  <a:pt x="2601809" y="398820"/>
                  <a:pt x="2609382" y="385863"/>
                </a:cubicBezTo>
                <a:cubicBezTo>
                  <a:pt x="2616954" y="372906"/>
                  <a:pt x="2620740" y="355826"/>
                  <a:pt x="2620740" y="334623"/>
                </a:cubicBezTo>
                <a:cubicBezTo>
                  <a:pt x="2620740" y="313420"/>
                  <a:pt x="2616618" y="296256"/>
                  <a:pt x="2608372" y="283131"/>
                </a:cubicBezTo>
                <a:cubicBezTo>
                  <a:pt x="2600126" y="270006"/>
                  <a:pt x="2587927" y="263443"/>
                  <a:pt x="2571772" y="263443"/>
                </a:cubicBezTo>
                <a:cubicBezTo>
                  <a:pt x="2554945" y="263443"/>
                  <a:pt x="2542744" y="270006"/>
                  <a:pt x="2535172" y="283131"/>
                </a:cubicBezTo>
                <a:cubicBezTo>
                  <a:pt x="2527600" y="296256"/>
                  <a:pt x="2523814" y="313420"/>
                  <a:pt x="2523814" y="334623"/>
                </a:cubicBezTo>
                <a:cubicBezTo>
                  <a:pt x="2523814" y="355826"/>
                  <a:pt x="2527937" y="372906"/>
                  <a:pt x="2536182" y="385863"/>
                </a:cubicBezTo>
                <a:cubicBezTo>
                  <a:pt x="2544428" y="398820"/>
                  <a:pt x="2556628" y="405299"/>
                  <a:pt x="2572782" y="405299"/>
                </a:cubicBezTo>
                <a:close/>
                <a:moveTo>
                  <a:pt x="1810782" y="405299"/>
                </a:moveTo>
                <a:cubicBezTo>
                  <a:pt x="1827610" y="405299"/>
                  <a:pt x="1839810" y="398820"/>
                  <a:pt x="1847382" y="385863"/>
                </a:cubicBezTo>
                <a:cubicBezTo>
                  <a:pt x="1854954" y="372906"/>
                  <a:pt x="1858740" y="355826"/>
                  <a:pt x="1858740" y="334623"/>
                </a:cubicBezTo>
                <a:cubicBezTo>
                  <a:pt x="1858740" y="313420"/>
                  <a:pt x="1854618" y="296256"/>
                  <a:pt x="1846372" y="283131"/>
                </a:cubicBezTo>
                <a:cubicBezTo>
                  <a:pt x="1838127" y="270006"/>
                  <a:pt x="1825927" y="263443"/>
                  <a:pt x="1809772" y="263443"/>
                </a:cubicBezTo>
                <a:cubicBezTo>
                  <a:pt x="1792945" y="263443"/>
                  <a:pt x="1780745" y="270006"/>
                  <a:pt x="1773173" y="283131"/>
                </a:cubicBezTo>
                <a:cubicBezTo>
                  <a:pt x="1765600" y="296256"/>
                  <a:pt x="1761814" y="313420"/>
                  <a:pt x="1761814" y="334623"/>
                </a:cubicBezTo>
                <a:cubicBezTo>
                  <a:pt x="1761814" y="355826"/>
                  <a:pt x="1765937" y="372906"/>
                  <a:pt x="1774182" y="385863"/>
                </a:cubicBezTo>
                <a:cubicBezTo>
                  <a:pt x="1782428" y="398820"/>
                  <a:pt x="1794628" y="405299"/>
                  <a:pt x="1810782" y="405299"/>
                </a:cubicBezTo>
                <a:close/>
                <a:moveTo>
                  <a:pt x="810657" y="405299"/>
                </a:moveTo>
                <a:cubicBezTo>
                  <a:pt x="827485" y="405299"/>
                  <a:pt x="839684" y="398820"/>
                  <a:pt x="847257" y="385863"/>
                </a:cubicBezTo>
                <a:cubicBezTo>
                  <a:pt x="854829" y="372906"/>
                  <a:pt x="858615" y="355826"/>
                  <a:pt x="858616" y="334623"/>
                </a:cubicBezTo>
                <a:cubicBezTo>
                  <a:pt x="858615" y="313420"/>
                  <a:pt x="854493" y="296256"/>
                  <a:pt x="846247" y="283131"/>
                </a:cubicBezTo>
                <a:cubicBezTo>
                  <a:pt x="838002" y="270006"/>
                  <a:pt x="825802" y="263443"/>
                  <a:pt x="809647" y="263443"/>
                </a:cubicBezTo>
                <a:cubicBezTo>
                  <a:pt x="792820" y="263443"/>
                  <a:pt x="780620" y="270006"/>
                  <a:pt x="773048" y="283131"/>
                </a:cubicBezTo>
                <a:cubicBezTo>
                  <a:pt x="765475" y="296256"/>
                  <a:pt x="761689" y="313420"/>
                  <a:pt x="761689" y="334623"/>
                </a:cubicBezTo>
                <a:cubicBezTo>
                  <a:pt x="761689" y="355826"/>
                  <a:pt x="765812" y="372906"/>
                  <a:pt x="774057" y="385863"/>
                </a:cubicBezTo>
                <a:cubicBezTo>
                  <a:pt x="782303" y="398820"/>
                  <a:pt x="794503" y="405299"/>
                  <a:pt x="810657" y="405299"/>
                </a:cubicBezTo>
                <a:close/>
                <a:moveTo>
                  <a:pt x="3325256" y="411861"/>
                </a:moveTo>
                <a:cubicBezTo>
                  <a:pt x="3316506" y="411861"/>
                  <a:pt x="3309608" y="408496"/>
                  <a:pt x="3304560" y="401765"/>
                </a:cubicBezTo>
                <a:cubicBezTo>
                  <a:pt x="3299512" y="395034"/>
                  <a:pt x="3296988" y="387125"/>
                  <a:pt x="3296988" y="378038"/>
                </a:cubicBezTo>
                <a:cubicBezTo>
                  <a:pt x="3296988" y="368951"/>
                  <a:pt x="3299512" y="361126"/>
                  <a:pt x="3304560" y="354564"/>
                </a:cubicBezTo>
                <a:cubicBezTo>
                  <a:pt x="3309608" y="348001"/>
                  <a:pt x="3316506" y="344720"/>
                  <a:pt x="3325256" y="344720"/>
                </a:cubicBezTo>
                <a:cubicBezTo>
                  <a:pt x="3333334" y="344720"/>
                  <a:pt x="3339980" y="348001"/>
                  <a:pt x="3345198" y="354564"/>
                </a:cubicBezTo>
                <a:cubicBezTo>
                  <a:pt x="3350414" y="361126"/>
                  <a:pt x="3353022" y="368951"/>
                  <a:pt x="3353022" y="378038"/>
                </a:cubicBezTo>
                <a:cubicBezTo>
                  <a:pt x="3353022" y="387125"/>
                  <a:pt x="3350414" y="395034"/>
                  <a:pt x="3345198" y="401765"/>
                </a:cubicBezTo>
                <a:cubicBezTo>
                  <a:pt x="3339980" y="408496"/>
                  <a:pt x="3333334" y="411861"/>
                  <a:pt x="3325256" y="411861"/>
                </a:cubicBezTo>
                <a:close/>
                <a:moveTo>
                  <a:pt x="2207070" y="453257"/>
                </a:moveTo>
                <a:lnTo>
                  <a:pt x="2207070" y="401765"/>
                </a:lnTo>
                <a:lnTo>
                  <a:pt x="2272697" y="401765"/>
                </a:lnTo>
                <a:lnTo>
                  <a:pt x="2272697" y="314430"/>
                </a:lnTo>
                <a:cubicBezTo>
                  <a:pt x="2272697" y="297939"/>
                  <a:pt x="2274043" y="283299"/>
                  <a:pt x="2276735" y="270510"/>
                </a:cubicBezTo>
                <a:cubicBezTo>
                  <a:pt x="2279428" y="257721"/>
                  <a:pt x="2284055" y="246868"/>
                  <a:pt x="2290618" y="237949"/>
                </a:cubicBezTo>
                <a:cubicBezTo>
                  <a:pt x="2297181" y="229031"/>
                  <a:pt x="2305931" y="222215"/>
                  <a:pt x="2316869" y="217504"/>
                </a:cubicBezTo>
                <a:cubicBezTo>
                  <a:pt x="2327807" y="212792"/>
                  <a:pt x="2341353" y="210436"/>
                  <a:pt x="2357508" y="210436"/>
                </a:cubicBezTo>
                <a:cubicBezTo>
                  <a:pt x="2366931" y="210436"/>
                  <a:pt x="2377280" y="211530"/>
                  <a:pt x="2388554" y="213718"/>
                </a:cubicBezTo>
                <a:cubicBezTo>
                  <a:pt x="2399829" y="215905"/>
                  <a:pt x="2411860" y="220028"/>
                  <a:pt x="2424649" y="226086"/>
                </a:cubicBezTo>
                <a:lnTo>
                  <a:pt x="2416572" y="276063"/>
                </a:lnTo>
                <a:cubicBezTo>
                  <a:pt x="2406475" y="271352"/>
                  <a:pt x="2397388" y="268239"/>
                  <a:pt x="2389312" y="266724"/>
                </a:cubicBezTo>
                <a:cubicBezTo>
                  <a:pt x="2381234" y="265210"/>
                  <a:pt x="2374335" y="264452"/>
                  <a:pt x="2368614" y="264452"/>
                </a:cubicBezTo>
                <a:cubicBezTo>
                  <a:pt x="2356498" y="264452"/>
                  <a:pt x="2347832" y="267902"/>
                  <a:pt x="2342615" y="274801"/>
                </a:cubicBezTo>
                <a:cubicBezTo>
                  <a:pt x="2337398" y="281701"/>
                  <a:pt x="2334790" y="292218"/>
                  <a:pt x="2334790" y="306353"/>
                </a:cubicBezTo>
                <a:lnTo>
                  <a:pt x="2334790" y="453257"/>
                </a:lnTo>
                <a:close/>
                <a:moveTo>
                  <a:pt x="1088092" y="457800"/>
                </a:moveTo>
                <a:cubicBezTo>
                  <a:pt x="1064870" y="457800"/>
                  <a:pt x="1044593" y="455949"/>
                  <a:pt x="1027260" y="452247"/>
                </a:cubicBezTo>
                <a:cubicBezTo>
                  <a:pt x="1009928" y="448545"/>
                  <a:pt x="993016" y="443665"/>
                  <a:pt x="976526" y="437607"/>
                </a:cubicBezTo>
                <a:lnTo>
                  <a:pt x="976526" y="215989"/>
                </a:lnTo>
                <a:lnTo>
                  <a:pt x="1039124" y="215989"/>
                </a:lnTo>
                <a:lnTo>
                  <a:pt x="1039124" y="392173"/>
                </a:lnTo>
                <a:cubicBezTo>
                  <a:pt x="1047874" y="394529"/>
                  <a:pt x="1056456" y="396128"/>
                  <a:pt x="1064870" y="396969"/>
                </a:cubicBezTo>
                <a:cubicBezTo>
                  <a:pt x="1073284" y="397810"/>
                  <a:pt x="1081866" y="398231"/>
                  <a:pt x="1090616" y="398231"/>
                </a:cubicBezTo>
                <a:cubicBezTo>
                  <a:pt x="1094318" y="398231"/>
                  <a:pt x="1098861" y="398063"/>
                  <a:pt x="1104246" y="397726"/>
                </a:cubicBezTo>
                <a:cubicBezTo>
                  <a:pt x="1109631" y="397390"/>
                  <a:pt x="1115184" y="396801"/>
                  <a:pt x="1120905" y="395959"/>
                </a:cubicBezTo>
                <a:cubicBezTo>
                  <a:pt x="1126627" y="395118"/>
                  <a:pt x="1132264" y="394192"/>
                  <a:pt x="1137817" y="393183"/>
                </a:cubicBezTo>
                <a:cubicBezTo>
                  <a:pt x="1143370" y="392173"/>
                  <a:pt x="1148166" y="391164"/>
                  <a:pt x="1152205" y="390154"/>
                </a:cubicBezTo>
                <a:lnTo>
                  <a:pt x="1163311" y="447704"/>
                </a:lnTo>
                <a:cubicBezTo>
                  <a:pt x="1157589" y="449723"/>
                  <a:pt x="1151111" y="451322"/>
                  <a:pt x="1143875" y="452500"/>
                </a:cubicBezTo>
                <a:cubicBezTo>
                  <a:pt x="1136639" y="453678"/>
                  <a:pt x="1129487" y="454687"/>
                  <a:pt x="1122420" y="455529"/>
                </a:cubicBezTo>
                <a:cubicBezTo>
                  <a:pt x="1115352" y="456370"/>
                  <a:pt x="1108706" y="456959"/>
                  <a:pt x="1102479" y="457296"/>
                </a:cubicBezTo>
                <a:cubicBezTo>
                  <a:pt x="1096253" y="457632"/>
                  <a:pt x="1091457" y="457800"/>
                  <a:pt x="1088092" y="457800"/>
                </a:cubicBezTo>
                <a:close/>
                <a:moveTo>
                  <a:pt x="2572782" y="459315"/>
                </a:moveTo>
                <a:cubicBezTo>
                  <a:pt x="2556628" y="459315"/>
                  <a:pt x="2541651" y="456370"/>
                  <a:pt x="2527852" y="450480"/>
                </a:cubicBezTo>
                <a:cubicBezTo>
                  <a:pt x="2514054" y="444591"/>
                  <a:pt x="2502190" y="436177"/>
                  <a:pt x="2492262" y="425239"/>
                </a:cubicBezTo>
                <a:cubicBezTo>
                  <a:pt x="2482334" y="414301"/>
                  <a:pt x="2474594" y="401176"/>
                  <a:pt x="2469040" y="385863"/>
                </a:cubicBezTo>
                <a:cubicBezTo>
                  <a:pt x="2463487" y="370550"/>
                  <a:pt x="2460711" y="353638"/>
                  <a:pt x="2460711" y="335128"/>
                </a:cubicBezTo>
                <a:cubicBezTo>
                  <a:pt x="2460711" y="316281"/>
                  <a:pt x="2463403" y="299201"/>
                  <a:pt x="2468788" y="283888"/>
                </a:cubicBezTo>
                <a:cubicBezTo>
                  <a:pt x="2474173" y="268575"/>
                  <a:pt x="2481829" y="255366"/>
                  <a:pt x="2491758" y="244259"/>
                </a:cubicBezTo>
                <a:cubicBezTo>
                  <a:pt x="2501686" y="233153"/>
                  <a:pt x="2513465" y="224571"/>
                  <a:pt x="2527095" y="218513"/>
                </a:cubicBezTo>
                <a:cubicBezTo>
                  <a:pt x="2540726" y="212455"/>
                  <a:pt x="2555954" y="209427"/>
                  <a:pt x="2572782" y="209427"/>
                </a:cubicBezTo>
                <a:cubicBezTo>
                  <a:pt x="2589609" y="209427"/>
                  <a:pt x="2604838" y="212455"/>
                  <a:pt x="2618468" y="218513"/>
                </a:cubicBezTo>
                <a:cubicBezTo>
                  <a:pt x="2632098" y="224571"/>
                  <a:pt x="2643794" y="233153"/>
                  <a:pt x="2653554" y="244259"/>
                </a:cubicBezTo>
                <a:cubicBezTo>
                  <a:pt x="2663314" y="255366"/>
                  <a:pt x="2670886" y="268575"/>
                  <a:pt x="2676271" y="283888"/>
                </a:cubicBezTo>
                <a:cubicBezTo>
                  <a:pt x="2681656" y="299201"/>
                  <a:pt x="2684348" y="316281"/>
                  <a:pt x="2684348" y="335128"/>
                </a:cubicBezTo>
                <a:cubicBezTo>
                  <a:pt x="2684348" y="353638"/>
                  <a:pt x="2681656" y="370550"/>
                  <a:pt x="2676271" y="385863"/>
                </a:cubicBezTo>
                <a:cubicBezTo>
                  <a:pt x="2670886" y="401176"/>
                  <a:pt x="2663230" y="414301"/>
                  <a:pt x="2653302" y="425239"/>
                </a:cubicBezTo>
                <a:cubicBezTo>
                  <a:pt x="2643373" y="436177"/>
                  <a:pt x="2631594" y="444591"/>
                  <a:pt x="2617964" y="450480"/>
                </a:cubicBezTo>
                <a:cubicBezTo>
                  <a:pt x="2604334" y="456370"/>
                  <a:pt x="2589273" y="459315"/>
                  <a:pt x="2572782" y="459315"/>
                </a:cubicBezTo>
                <a:close/>
                <a:moveTo>
                  <a:pt x="1810782" y="459315"/>
                </a:moveTo>
                <a:cubicBezTo>
                  <a:pt x="1794628" y="459315"/>
                  <a:pt x="1779651" y="456370"/>
                  <a:pt x="1765853" y="450480"/>
                </a:cubicBezTo>
                <a:cubicBezTo>
                  <a:pt x="1752054" y="444591"/>
                  <a:pt x="1740191" y="436177"/>
                  <a:pt x="1730262" y="425239"/>
                </a:cubicBezTo>
                <a:cubicBezTo>
                  <a:pt x="1720334" y="414301"/>
                  <a:pt x="1712594" y="401176"/>
                  <a:pt x="1707040" y="385863"/>
                </a:cubicBezTo>
                <a:cubicBezTo>
                  <a:pt x="1701488" y="370550"/>
                  <a:pt x="1698711" y="353638"/>
                  <a:pt x="1698711" y="335128"/>
                </a:cubicBezTo>
                <a:cubicBezTo>
                  <a:pt x="1698711" y="316281"/>
                  <a:pt x="1701403" y="299201"/>
                  <a:pt x="1706788" y="283888"/>
                </a:cubicBezTo>
                <a:cubicBezTo>
                  <a:pt x="1712173" y="268575"/>
                  <a:pt x="1719829" y="255366"/>
                  <a:pt x="1729758" y="244259"/>
                </a:cubicBezTo>
                <a:cubicBezTo>
                  <a:pt x="1739686" y="233153"/>
                  <a:pt x="1751465" y="224571"/>
                  <a:pt x="1765095" y="218513"/>
                </a:cubicBezTo>
                <a:cubicBezTo>
                  <a:pt x="1778726" y="212455"/>
                  <a:pt x="1793954" y="209427"/>
                  <a:pt x="1810782" y="209427"/>
                </a:cubicBezTo>
                <a:cubicBezTo>
                  <a:pt x="1827610" y="209427"/>
                  <a:pt x="1842838" y="212455"/>
                  <a:pt x="1856469" y="218513"/>
                </a:cubicBezTo>
                <a:cubicBezTo>
                  <a:pt x="1870099" y="224571"/>
                  <a:pt x="1881794" y="233153"/>
                  <a:pt x="1891554" y="244259"/>
                </a:cubicBezTo>
                <a:cubicBezTo>
                  <a:pt x="1901314" y="255366"/>
                  <a:pt x="1908886" y="268575"/>
                  <a:pt x="1914271" y="283888"/>
                </a:cubicBezTo>
                <a:cubicBezTo>
                  <a:pt x="1919656" y="299201"/>
                  <a:pt x="1922348" y="316281"/>
                  <a:pt x="1922348" y="335128"/>
                </a:cubicBezTo>
                <a:cubicBezTo>
                  <a:pt x="1922348" y="353638"/>
                  <a:pt x="1919656" y="370550"/>
                  <a:pt x="1914271" y="385863"/>
                </a:cubicBezTo>
                <a:cubicBezTo>
                  <a:pt x="1908886" y="401176"/>
                  <a:pt x="1901230" y="414301"/>
                  <a:pt x="1891302" y="425239"/>
                </a:cubicBezTo>
                <a:cubicBezTo>
                  <a:pt x="1881374" y="436177"/>
                  <a:pt x="1869594" y="444591"/>
                  <a:pt x="1855964" y="450480"/>
                </a:cubicBezTo>
                <a:cubicBezTo>
                  <a:pt x="1842334" y="456370"/>
                  <a:pt x="1827273" y="459315"/>
                  <a:pt x="1810782" y="459315"/>
                </a:cubicBezTo>
                <a:close/>
                <a:moveTo>
                  <a:pt x="810657" y="459315"/>
                </a:moveTo>
                <a:cubicBezTo>
                  <a:pt x="794503" y="459315"/>
                  <a:pt x="779526" y="456370"/>
                  <a:pt x="765728" y="450480"/>
                </a:cubicBezTo>
                <a:cubicBezTo>
                  <a:pt x="751929" y="444591"/>
                  <a:pt x="740066" y="436177"/>
                  <a:pt x="730138" y="425239"/>
                </a:cubicBezTo>
                <a:cubicBezTo>
                  <a:pt x="720209" y="414301"/>
                  <a:pt x="712469" y="401176"/>
                  <a:pt x="706916" y="385863"/>
                </a:cubicBezTo>
                <a:cubicBezTo>
                  <a:pt x="701362" y="370550"/>
                  <a:pt x="698586" y="353638"/>
                  <a:pt x="698586" y="335128"/>
                </a:cubicBezTo>
                <a:cubicBezTo>
                  <a:pt x="698586" y="316281"/>
                  <a:pt x="701278" y="299201"/>
                  <a:pt x="706663" y="283888"/>
                </a:cubicBezTo>
                <a:cubicBezTo>
                  <a:pt x="712048" y="268575"/>
                  <a:pt x="719704" y="255366"/>
                  <a:pt x="729633" y="244259"/>
                </a:cubicBezTo>
                <a:cubicBezTo>
                  <a:pt x="739561" y="233153"/>
                  <a:pt x="751340" y="224571"/>
                  <a:pt x="764970" y="218513"/>
                </a:cubicBezTo>
                <a:cubicBezTo>
                  <a:pt x="778601" y="212455"/>
                  <a:pt x="793830" y="209427"/>
                  <a:pt x="810657" y="209427"/>
                </a:cubicBezTo>
                <a:cubicBezTo>
                  <a:pt x="827485" y="209427"/>
                  <a:pt x="842713" y="212455"/>
                  <a:pt x="856344" y="218513"/>
                </a:cubicBezTo>
                <a:cubicBezTo>
                  <a:pt x="869974" y="224571"/>
                  <a:pt x="881669" y="233153"/>
                  <a:pt x="891429" y="244259"/>
                </a:cubicBezTo>
                <a:cubicBezTo>
                  <a:pt x="901189" y="255366"/>
                  <a:pt x="908761" y="268575"/>
                  <a:pt x="914146" y="283888"/>
                </a:cubicBezTo>
                <a:cubicBezTo>
                  <a:pt x="919531" y="299201"/>
                  <a:pt x="922223" y="316281"/>
                  <a:pt x="922223" y="335128"/>
                </a:cubicBezTo>
                <a:cubicBezTo>
                  <a:pt x="922223" y="353638"/>
                  <a:pt x="919531" y="370550"/>
                  <a:pt x="914146" y="385863"/>
                </a:cubicBezTo>
                <a:cubicBezTo>
                  <a:pt x="908761" y="401176"/>
                  <a:pt x="901105" y="414301"/>
                  <a:pt x="891177" y="425239"/>
                </a:cubicBezTo>
                <a:cubicBezTo>
                  <a:pt x="881248" y="436177"/>
                  <a:pt x="869469" y="444591"/>
                  <a:pt x="855839" y="450480"/>
                </a:cubicBezTo>
                <a:cubicBezTo>
                  <a:pt x="842209" y="456370"/>
                  <a:pt x="827148" y="459315"/>
                  <a:pt x="810657" y="459315"/>
                </a:cubicBezTo>
                <a:close/>
                <a:moveTo>
                  <a:pt x="546919" y="477993"/>
                </a:moveTo>
                <a:cubicBezTo>
                  <a:pt x="563410" y="477993"/>
                  <a:pt x="576620" y="474207"/>
                  <a:pt x="586548" y="466635"/>
                </a:cubicBezTo>
                <a:cubicBezTo>
                  <a:pt x="596476" y="459062"/>
                  <a:pt x="601441" y="446189"/>
                  <a:pt x="601441" y="428016"/>
                </a:cubicBezTo>
                <a:cubicBezTo>
                  <a:pt x="601441" y="408832"/>
                  <a:pt x="596392" y="395286"/>
                  <a:pt x="586296" y="387377"/>
                </a:cubicBezTo>
                <a:cubicBezTo>
                  <a:pt x="576199" y="379468"/>
                  <a:pt x="561223" y="375514"/>
                  <a:pt x="541366" y="375514"/>
                </a:cubicBezTo>
                <a:lnTo>
                  <a:pt x="516125" y="375514"/>
                </a:lnTo>
                <a:lnTo>
                  <a:pt x="516125" y="476479"/>
                </a:lnTo>
                <a:cubicBezTo>
                  <a:pt x="519827" y="477152"/>
                  <a:pt x="524960" y="477573"/>
                  <a:pt x="531522" y="477741"/>
                </a:cubicBezTo>
                <a:cubicBezTo>
                  <a:pt x="538085" y="477909"/>
                  <a:pt x="543217" y="477993"/>
                  <a:pt x="546919" y="477993"/>
                </a:cubicBezTo>
                <a:close/>
                <a:moveTo>
                  <a:pt x="3324752" y="482537"/>
                </a:moveTo>
                <a:cubicBezTo>
                  <a:pt x="3341916" y="482537"/>
                  <a:pt x="3354958" y="473198"/>
                  <a:pt x="3363876" y="454519"/>
                </a:cubicBezTo>
                <a:cubicBezTo>
                  <a:pt x="3372794" y="435841"/>
                  <a:pt x="3377254" y="408664"/>
                  <a:pt x="3377254" y="372990"/>
                </a:cubicBezTo>
                <a:cubicBezTo>
                  <a:pt x="3377254" y="336979"/>
                  <a:pt x="3372794" y="309634"/>
                  <a:pt x="3363876" y="290956"/>
                </a:cubicBezTo>
                <a:cubicBezTo>
                  <a:pt x="3354958" y="272277"/>
                  <a:pt x="3341916" y="262938"/>
                  <a:pt x="3324752" y="262938"/>
                </a:cubicBezTo>
                <a:cubicBezTo>
                  <a:pt x="3307924" y="262938"/>
                  <a:pt x="3294968" y="272277"/>
                  <a:pt x="3285880" y="290956"/>
                </a:cubicBezTo>
                <a:cubicBezTo>
                  <a:pt x="3276794" y="309634"/>
                  <a:pt x="3272250" y="336979"/>
                  <a:pt x="3272250" y="372990"/>
                </a:cubicBezTo>
                <a:cubicBezTo>
                  <a:pt x="3272250" y="408664"/>
                  <a:pt x="3276794" y="435841"/>
                  <a:pt x="3285880" y="454519"/>
                </a:cubicBezTo>
                <a:cubicBezTo>
                  <a:pt x="3294968" y="473198"/>
                  <a:pt x="3307924" y="482537"/>
                  <a:pt x="3324752" y="482537"/>
                </a:cubicBezTo>
                <a:close/>
                <a:moveTo>
                  <a:pt x="1323054" y="522923"/>
                </a:moveTo>
                <a:lnTo>
                  <a:pt x="1260961" y="512826"/>
                </a:lnTo>
                <a:lnTo>
                  <a:pt x="1260961" y="453257"/>
                </a:lnTo>
                <a:lnTo>
                  <a:pt x="1206945" y="453257"/>
                </a:lnTo>
                <a:lnTo>
                  <a:pt x="1206945" y="401765"/>
                </a:lnTo>
                <a:lnTo>
                  <a:pt x="1260961" y="401765"/>
                </a:lnTo>
                <a:lnTo>
                  <a:pt x="1260961" y="304334"/>
                </a:lnTo>
                <a:cubicBezTo>
                  <a:pt x="1260961" y="284477"/>
                  <a:pt x="1262980" y="268407"/>
                  <a:pt x="1267019" y="256123"/>
                </a:cubicBezTo>
                <a:cubicBezTo>
                  <a:pt x="1271057" y="243839"/>
                  <a:pt x="1276947" y="234331"/>
                  <a:pt x="1284688" y="227600"/>
                </a:cubicBezTo>
                <a:cubicBezTo>
                  <a:pt x="1292428" y="220869"/>
                  <a:pt x="1301852" y="216326"/>
                  <a:pt x="1312958" y="213970"/>
                </a:cubicBezTo>
                <a:cubicBezTo>
                  <a:pt x="1324064" y="211614"/>
                  <a:pt x="1336853" y="210436"/>
                  <a:pt x="1351325" y="210436"/>
                </a:cubicBezTo>
                <a:cubicBezTo>
                  <a:pt x="1363777" y="210436"/>
                  <a:pt x="1376650" y="211446"/>
                  <a:pt x="1389944" y="213465"/>
                </a:cubicBezTo>
                <a:cubicBezTo>
                  <a:pt x="1403238" y="215484"/>
                  <a:pt x="1415606" y="218850"/>
                  <a:pt x="1427048" y="223562"/>
                </a:cubicBezTo>
                <a:lnTo>
                  <a:pt x="1418466" y="277073"/>
                </a:lnTo>
                <a:cubicBezTo>
                  <a:pt x="1412745" y="274381"/>
                  <a:pt x="1407444" y="272193"/>
                  <a:pt x="1402564" y="270510"/>
                </a:cubicBezTo>
                <a:cubicBezTo>
                  <a:pt x="1397684" y="268828"/>
                  <a:pt x="1392973" y="267566"/>
                  <a:pt x="1388429" y="266724"/>
                </a:cubicBezTo>
                <a:cubicBezTo>
                  <a:pt x="1383886" y="265883"/>
                  <a:pt x="1379174" y="265294"/>
                  <a:pt x="1374294" y="264957"/>
                </a:cubicBezTo>
                <a:cubicBezTo>
                  <a:pt x="1369414" y="264621"/>
                  <a:pt x="1364114" y="264452"/>
                  <a:pt x="1358392" y="264452"/>
                </a:cubicBezTo>
                <a:cubicBezTo>
                  <a:pt x="1353007" y="264452"/>
                  <a:pt x="1348127" y="264957"/>
                  <a:pt x="1343752" y="265967"/>
                </a:cubicBezTo>
                <a:cubicBezTo>
                  <a:pt x="1339377" y="266977"/>
                  <a:pt x="1335675" y="268996"/>
                  <a:pt x="1332646" y="272025"/>
                </a:cubicBezTo>
                <a:cubicBezTo>
                  <a:pt x="1329617" y="275054"/>
                  <a:pt x="1327261" y="279261"/>
                  <a:pt x="1325579" y="284645"/>
                </a:cubicBezTo>
                <a:cubicBezTo>
                  <a:pt x="1323896" y="290030"/>
                  <a:pt x="1323054" y="297098"/>
                  <a:pt x="1323054" y="305848"/>
                </a:cubicBezTo>
                <a:lnTo>
                  <a:pt x="1323054" y="401765"/>
                </a:lnTo>
                <a:lnTo>
                  <a:pt x="1422505" y="401765"/>
                </a:lnTo>
                <a:lnTo>
                  <a:pt x="1422505" y="453257"/>
                </a:lnTo>
                <a:lnTo>
                  <a:pt x="1323054" y="453257"/>
                </a:lnTo>
                <a:close/>
                <a:moveTo>
                  <a:pt x="539852" y="532010"/>
                </a:moveTo>
                <a:cubicBezTo>
                  <a:pt x="534131" y="532010"/>
                  <a:pt x="527568" y="531841"/>
                  <a:pt x="520164" y="531505"/>
                </a:cubicBezTo>
                <a:cubicBezTo>
                  <a:pt x="512760" y="531168"/>
                  <a:pt x="505187" y="530748"/>
                  <a:pt x="497447" y="530243"/>
                </a:cubicBezTo>
                <a:cubicBezTo>
                  <a:pt x="489706" y="529738"/>
                  <a:pt x="482049" y="528981"/>
                  <a:pt x="474477" y="527971"/>
                </a:cubicBezTo>
                <a:cubicBezTo>
                  <a:pt x="466905" y="526961"/>
                  <a:pt x="460090" y="525784"/>
                  <a:pt x="454032" y="524437"/>
                </a:cubicBezTo>
                <a:lnTo>
                  <a:pt x="454032" y="215989"/>
                </a:lnTo>
                <a:lnTo>
                  <a:pt x="516125" y="215989"/>
                </a:lnTo>
                <a:lnTo>
                  <a:pt x="516125" y="321498"/>
                </a:lnTo>
                <a:lnTo>
                  <a:pt x="538337" y="321498"/>
                </a:lnTo>
                <a:cubicBezTo>
                  <a:pt x="578723" y="321498"/>
                  <a:pt x="609938" y="329827"/>
                  <a:pt x="631982" y="346486"/>
                </a:cubicBezTo>
                <a:cubicBezTo>
                  <a:pt x="654026" y="363146"/>
                  <a:pt x="665048" y="390154"/>
                  <a:pt x="665048" y="427511"/>
                </a:cubicBezTo>
                <a:cubicBezTo>
                  <a:pt x="665048" y="464531"/>
                  <a:pt x="654111" y="491203"/>
                  <a:pt x="632235" y="507526"/>
                </a:cubicBezTo>
                <a:cubicBezTo>
                  <a:pt x="610359" y="523848"/>
                  <a:pt x="579565" y="532010"/>
                  <a:pt x="539852" y="532010"/>
                </a:cubicBezTo>
                <a:close/>
                <a:moveTo>
                  <a:pt x="3816452" y="535544"/>
                </a:moveTo>
                <a:cubicBezTo>
                  <a:pt x="3797604" y="535544"/>
                  <a:pt x="3780694" y="532430"/>
                  <a:pt x="3765716" y="526204"/>
                </a:cubicBezTo>
                <a:cubicBezTo>
                  <a:pt x="3750740" y="519978"/>
                  <a:pt x="3738708" y="513836"/>
                  <a:pt x="3729622" y="507778"/>
                </a:cubicBezTo>
                <a:lnTo>
                  <a:pt x="3751834" y="462344"/>
                </a:lnTo>
                <a:cubicBezTo>
                  <a:pt x="3760248" y="468065"/>
                  <a:pt x="3770260" y="472861"/>
                  <a:pt x="3781872" y="476731"/>
                </a:cubicBezTo>
                <a:cubicBezTo>
                  <a:pt x="3793482" y="480602"/>
                  <a:pt x="3805178" y="482537"/>
                  <a:pt x="3816956" y="482537"/>
                </a:cubicBezTo>
                <a:cubicBezTo>
                  <a:pt x="3829072" y="482537"/>
                  <a:pt x="3838580" y="479255"/>
                  <a:pt x="3845480" y="472693"/>
                </a:cubicBezTo>
                <a:cubicBezTo>
                  <a:pt x="3852378" y="466130"/>
                  <a:pt x="3855828" y="457127"/>
                  <a:pt x="3855828" y="445685"/>
                </a:cubicBezTo>
                <a:cubicBezTo>
                  <a:pt x="3855828" y="437944"/>
                  <a:pt x="3854230" y="431550"/>
                  <a:pt x="3851032" y="426501"/>
                </a:cubicBezTo>
                <a:cubicBezTo>
                  <a:pt x="3847836" y="421453"/>
                  <a:pt x="3843712" y="417414"/>
                  <a:pt x="3838664" y="414385"/>
                </a:cubicBezTo>
                <a:cubicBezTo>
                  <a:pt x="3833616" y="411357"/>
                  <a:pt x="3827894" y="409169"/>
                  <a:pt x="3821500" y="407823"/>
                </a:cubicBezTo>
                <a:cubicBezTo>
                  <a:pt x="3815106" y="406477"/>
                  <a:pt x="3808712" y="405803"/>
                  <a:pt x="3802316" y="405803"/>
                </a:cubicBezTo>
                <a:lnTo>
                  <a:pt x="3779094" y="405803"/>
                </a:lnTo>
                <a:lnTo>
                  <a:pt x="3779094" y="354311"/>
                </a:lnTo>
                <a:lnTo>
                  <a:pt x="3798278" y="354311"/>
                </a:lnTo>
                <a:cubicBezTo>
                  <a:pt x="3818470" y="354311"/>
                  <a:pt x="3835130" y="351030"/>
                  <a:pt x="3848256" y="344467"/>
                </a:cubicBezTo>
                <a:cubicBezTo>
                  <a:pt x="3861380" y="337904"/>
                  <a:pt x="3867944" y="326378"/>
                  <a:pt x="3867944" y="309887"/>
                </a:cubicBezTo>
                <a:cubicBezTo>
                  <a:pt x="3867944" y="296425"/>
                  <a:pt x="3863652" y="285150"/>
                  <a:pt x="3855072" y="276063"/>
                </a:cubicBezTo>
                <a:cubicBezTo>
                  <a:pt x="3846488" y="266977"/>
                  <a:pt x="3831596" y="262433"/>
                  <a:pt x="3810394" y="262433"/>
                </a:cubicBezTo>
                <a:cubicBezTo>
                  <a:pt x="3793230" y="262433"/>
                  <a:pt x="3778506" y="264284"/>
                  <a:pt x="3766222" y="267986"/>
                </a:cubicBezTo>
                <a:cubicBezTo>
                  <a:pt x="3753938" y="271688"/>
                  <a:pt x="3743924" y="275222"/>
                  <a:pt x="3736184" y="278588"/>
                </a:cubicBezTo>
                <a:lnTo>
                  <a:pt x="3724068" y="226591"/>
                </a:lnTo>
                <a:cubicBezTo>
                  <a:pt x="3727770" y="224908"/>
                  <a:pt x="3732988" y="223057"/>
                  <a:pt x="3739718" y="221037"/>
                </a:cubicBezTo>
                <a:cubicBezTo>
                  <a:pt x="3746450" y="219018"/>
                  <a:pt x="3753770" y="217167"/>
                  <a:pt x="3761678" y="215484"/>
                </a:cubicBezTo>
                <a:cubicBezTo>
                  <a:pt x="3769588" y="213802"/>
                  <a:pt x="3777832" y="212371"/>
                  <a:pt x="3786414" y="211193"/>
                </a:cubicBezTo>
                <a:cubicBezTo>
                  <a:pt x="3794996" y="210015"/>
                  <a:pt x="3803158" y="209427"/>
                  <a:pt x="3810898" y="209427"/>
                </a:cubicBezTo>
                <a:cubicBezTo>
                  <a:pt x="3831764" y="209427"/>
                  <a:pt x="3849770" y="211867"/>
                  <a:pt x="3864916" y="216746"/>
                </a:cubicBezTo>
                <a:cubicBezTo>
                  <a:pt x="3880060" y="221626"/>
                  <a:pt x="3892512" y="228526"/>
                  <a:pt x="3902272" y="237444"/>
                </a:cubicBezTo>
                <a:cubicBezTo>
                  <a:pt x="3912032" y="246363"/>
                  <a:pt x="3919268" y="256880"/>
                  <a:pt x="3923980" y="268996"/>
                </a:cubicBezTo>
                <a:cubicBezTo>
                  <a:pt x="3928692" y="281112"/>
                  <a:pt x="3931048" y="294405"/>
                  <a:pt x="3931048" y="308877"/>
                </a:cubicBezTo>
                <a:cubicBezTo>
                  <a:pt x="3931048" y="327051"/>
                  <a:pt x="3926588" y="342700"/>
                  <a:pt x="3917668" y="355826"/>
                </a:cubicBezTo>
                <a:cubicBezTo>
                  <a:pt x="3908750" y="368951"/>
                  <a:pt x="3896214" y="378879"/>
                  <a:pt x="3880060" y="385610"/>
                </a:cubicBezTo>
                <a:cubicBezTo>
                  <a:pt x="3891840" y="391668"/>
                  <a:pt x="3901262" y="400419"/>
                  <a:pt x="3908330" y="411861"/>
                </a:cubicBezTo>
                <a:cubicBezTo>
                  <a:pt x="3915398" y="423304"/>
                  <a:pt x="3918932" y="435252"/>
                  <a:pt x="3918932" y="447704"/>
                </a:cubicBezTo>
                <a:cubicBezTo>
                  <a:pt x="3918932" y="460156"/>
                  <a:pt x="3916912" y="471767"/>
                  <a:pt x="3912874" y="482537"/>
                </a:cubicBezTo>
                <a:cubicBezTo>
                  <a:pt x="3908834" y="493306"/>
                  <a:pt x="3902608" y="502646"/>
                  <a:pt x="3894196" y="510555"/>
                </a:cubicBezTo>
                <a:cubicBezTo>
                  <a:pt x="3885780" y="518464"/>
                  <a:pt x="3875096" y="524606"/>
                  <a:pt x="3862138" y="528981"/>
                </a:cubicBezTo>
                <a:cubicBezTo>
                  <a:pt x="3849180" y="533356"/>
                  <a:pt x="3833952" y="535544"/>
                  <a:pt x="3816452" y="535544"/>
                </a:cubicBezTo>
                <a:close/>
                <a:moveTo>
                  <a:pt x="3567354" y="535544"/>
                </a:moveTo>
                <a:cubicBezTo>
                  <a:pt x="3549854" y="535544"/>
                  <a:pt x="3532268" y="532178"/>
                  <a:pt x="3514600" y="525447"/>
                </a:cubicBezTo>
                <a:cubicBezTo>
                  <a:pt x="3496930" y="518716"/>
                  <a:pt x="3481366" y="508283"/>
                  <a:pt x="3467904" y="494148"/>
                </a:cubicBezTo>
                <a:lnTo>
                  <a:pt x="3498698" y="450733"/>
                </a:lnTo>
                <a:cubicBezTo>
                  <a:pt x="3509130" y="461839"/>
                  <a:pt x="3519732" y="469748"/>
                  <a:pt x="3530502" y="474460"/>
                </a:cubicBezTo>
                <a:cubicBezTo>
                  <a:pt x="3541272" y="479171"/>
                  <a:pt x="3551536" y="481527"/>
                  <a:pt x="3561296" y="481527"/>
                </a:cubicBezTo>
                <a:cubicBezTo>
                  <a:pt x="3573076" y="481527"/>
                  <a:pt x="3582836" y="478078"/>
                  <a:pt x="3590576" y="471178"/>
                </a:cubicBezTo>
                <a:cubicBezTo>
                  <a:pt x="3598316" y="464279"/>
                  <a:pt x="3602186" y="454435"/>
                  <a:pt x="3602188" y="441646"/>
                </a:cubicBezTo>
                <a:cubicBezTo>
                  <a:pt x="3602186" y="432559"/>
                  <a:pt x="3599074" y="423641"/>
                  <a:pt x="3592848" y="414890"/>
                </a:cubicBezTo>
                <a:cubicBezTo>
                  <a:pt x="3586622" y="406140"/>
                  <a:pt x="3578712" y="397053"/>
                  <a:pt x="3569120" y="387630"/>
                </a:cubicBezTo>
                <a:cubicBezTo>
                  <a:pt x="3559528" y="378206"/>
                  <a:pt x="3549264" y="368362"/>
                  <a:pt x="3538326" y="358097"/>
                </a:cubicBezTo>
                <a:cubicBezTo>
                  <a:pt x="3527388" y="347833"/>
                  <a:pt x="3517124" y="336727"/>
                  <a:pt x="3507532" y="324779"/>
                </a:cubicBezTo>
                <a:cubicBezTo>
                  <a:pt x="3497940" y="312831"/>
                  <a:pt x="3490032" y="299790"/>
                  <a:pt x="3483806" y="285655"/>
                </a:cubicBezTo>
                <a:cubicBezTo>
                  <a:pt x="3477580" y="271520"/>
                  <a:pt x="3474466" y="256039"/>
                  <a:pt x="3474466" y="239211"/>
                </a:cubicBezTo>
                <a:cubicBezTo>
                  <a:pt x="3474466" y="237192"/>
                  <a:pt x="3474382" y="233658"/>
                  <a:pt x="3474214" y="228610"/>
                </a:cubicBezTo>
                <a:cubicBezTo>
                  <a:pt x="3474046" y="223562"/>
                  <a:pt x="3474466" y="219355"/>
                  <a:pt x="3475476" y="215989"/>
                </a:cubicBezTo>
                <a:lnTo>
                  <a:pt x="3679426" y="215989"/>
                </a:lnTo>
                <a:lnTo>
                  <a:pt x="3679426" y="267481"/>
                </a:lnTo>
                <a:lnTo>
                  <a:pt x="3545142" y="267481"/>
                </a:lnTo>
                <a:cubicBezTo>
                  <a:pt x="3545142" y="272530"/>
                  <a:pt x="3546908" y="278083"/>
                  <a:pt x="3550442" y="284141"/>
                </a:cubicBezTo>
                <a:cubicBezTo>
                  <a:pt x="3553976" y="290198"/>
                  <a:pt x="3558268" y="296172"/>
                  <a:pt x="3563316" y="302062"/>
                </a:cubicBezTo>
                <a:cubicBezTo>
                  <a:pt x="3568364" y="307952"/>
                  <a:pt x="3573748" y="313673"/>
                  <a:pt x="3579470" y="319226"/>
                </a:cubicBezTo>
                <a:cubicBezTo>
                  <a:pt x="3585190" y="324779"/>
                  <a:pt x="3590240" y="329575"/>
                  <a:pt x="3594614" y="333613"/>
                </a:cubicBezTo>
                <a:cubicBezTo>
                  <a:pt x="3603364" y="341691"/>
                  <a:pt x="3611946" y="350104"/>
                  <a:pt x="3620360" y="358855"/>
                </a:cubicBezTo>
                <a:cubicBezTo>
                  <a:pt x="3628774" y="367605"/>
                  <a:pt x="3636346" y="376692"/>
                  <a:pt x="3643078" y="386115"/>
                </a:cubicBezTo>
                <a:cubicBezTo>
                  <a:pt x="3649808" y="395539"/>
                  <a:pt x="3655194" y="405214"/>
                  <a:pt x="3659232" y="415143"/>
                </a:cubicBezTo>
                <a:cubicBezTo>
                  <a:pt x="3663270" y="425071"/>
                  <a:pt x="3665290" y="435420"/>
                  <a:pt x="3665290" y="446189"/>
                </a:cubicBezTo>
                <a:cubicBezTo>
                  <a:pt x="3665290" y="460998"/>
                  <a:pt x="3662598" y="474039"/>
                  <a:pt x="3657212" y="485313"/>
                </a:cubicBezTo>
                <a:cubicBezTo>
                  <a:pt x="3651828" y="496588"/>
                  <a:pt x="3644592" y="505927"/>
                  <a:pt x="3635506" y="513331"/>
                </a:cubicBezTo>
                <a:cubicBezTo>
                  <a:pt x="3626418" y="520735"/>
                  <a:pt x="3615986" y="526288"/>
                  <a:pt x="3604206" y="529990"/>
                </a:cubicBezTo>
                <a:cubicBezTo>
                  <a:pt x="3592426" y="533692"/>
                  <a:pt x="3580142" y="535544"/>
                  <a:pt x="3567354" y="535544"/>
                </a:cubicBezTo>
                <a:close/>
                <a:moveTo>
                  <a:pt x="3324752" y="535544"/>
                </a:moveTo>
                <a:cubicBezTo>
                  <a:pt x="3290088" y="535544"/>
                  <a:pt x="3263332" y="522081"/>
                  <a:pt x="3244486" y="495157"/>
                </a:cubicBezTo>
                <a:cubicBezTo>
                  <a:pt x="3225638" y="468233"/>
                  <a:pt x="3216214" y="427511"/>
                  <a:pt x="3216214" y="372990"/>
                </a:cubicBezTo>
                <a:cubicBezTo>
                  <a:pt x="3216214" y="317796"/>
                  <a:pt x="3225470" y="276737"/>
                  <a:pt x="3243980" y="249813"/>
                </a:cubicBezTo>
                <a:cubicBezTo>
                  <a:pt x="3262490" y="222889"/>
                  <a:pt x="3289414" y="209427"/>
                  <a:pt x="3324752" y="209427"/>
                </a:cubicBezTo>
                <a:cubicBezTo>
                  <a:pt x="3360090" y="209427"/>
                  <a:pt x="3387014" y="222889"/>
                  <a:pt x="3405524" y="249813"/>
                </a:cubicBezTo>
                <a:cubicBezTo>
                  <a:pt x="3424034" y="276737"/>
                  <a:pt x="3433290" y="317796"/>
                  <a:pt x="3433290" y="372990"/>
                </a:cubicBezTo>
                <a:cubicBezTo>
                  <a:pt x="3433290" y="427847"/>
                  <a:pt x="3424034" y="468654"/>
                  <a:pt x="3405524" y="495410"/>
                </a:cubicBezTo>
                <a:cubicBezTo>
                  <a:pt x="3387014" y="522166"/>
                  <a:pt x="3360090" y="535544"/>
                  <a:pt x="3324752" y="535544"/>
                </a:cubicBezTo>
                <a:close/>
                <a:moveTo>
                  <a:pt x="3062528" y="535544"/>
                </a:moveTo>
                <a:cubicBezTo>
                  <a:pt x="3045028" y="535544"/>
                  <a:pt x="3027444" y="532178"/>
                  <a:pt x="3009774" y="525447"/>
                </a:cubicBezTo>
                <a:cubicBezTo>
                  <a:pt x="2992106" y="518716"/>
                  <a:pt x="2976540" y="508283"/>
                  <a:pt x="2963078" y="494148"/>
                </a:cubicBezTo>
                <a:lnTo>
                  <a:pt x="2993872" y="450733"/>
                </a:lnTo>
                <a:cubicBezTo>
                  <a:pt x="3004306" y="461839"/>
                  <a:pt x="3014908" y="469748"/>
                  <a:pt x="3025676" y="474460"/>
                </a:cubicBezTo>
                <a:cubicBezTo>
                  <a:pt x="3036446" y="479171"/>
                  <a:pt x="3046712" y="481527"/>
                  <a:pt x="3056472" y="481527"/>
                </a:cubicBezTo>
                <a:cubicBezTo>
                  <a:pt x="3068250" y="481527"/>
                  <a:pt x="3078010" y="478078"/>
                  <a:pt x="3085752" y="471178"/>
                </a:cubicBezTo>
                <a:cubicBezTo>
                  <a:pt x="3093492" y="464279"/>
                  <a:pt x="3097362" y="454435"/>
                  <a:pt x="3097362" y="441646"/>
                </a:cubicBezTo>
                <a:cubicBezTo>
                  <a:pt x="3097362" y="432559"/>
                  <a:pt x="3094248" y="423641"/>
                  <a:pt x="3088022" y="414890"/>
                </a:cubicBezTo>
                <a:cubicBezTo>
                  <a:pt x="3081796" y="406140"/>
                  <a:pt x="3073888" y="397053"/>
                  <a:pt x="3064296" y="387630"/>
                </a:cubicBezTo>
                <a:cubicBezTo>
                  <a:pt x="3054704" y="378206"/>
                  <a:pt x="3044440" y="368362"/>
                  <a:pt x="3033502" y="358097"/>
                </a:cubicBezTo>
                <a:cubicBezTo>
                  <a:pt x="3022564" y="347833"/>
                  <a:pt x="3012298" y="336727"/>
                  <a:pt x="3002708" y="324779"/>
                </a:cubicBezTo>
                <a:cubicBezTo>
                  <a:pt x="2993116" y="312831"/>
                  <a:pt x="2985206" y="299790"/>
                  <a:pt x="2978980" y="285655"/>
                </a:cubicBezTo>
                <a:cubicBezTo>
                  <a:pt x="2972754" y="271520"/>
                  <a:pt x="2969642" y="256039"/>
                  <a:pt x="2969642" y="239211"/>
                </a:cubicBezTo>
                <a:cubicBezTo>
                  <a:pt x="2969642" y="237192"/>
                  <a:pt x="2969558" y="233658"/>
                  <a:pt x="2969388" y="228610"/>
                </a:cubicBezTo>
                <a:cubicBezTo>
                  <a:pt x="2969220" y="223562"/>
                  <a:pt x="2969640" y="219355"/>
                  <a:pt x="2970650" y="215989"/>
                </a:cubicBezTo>
                <a:lnTo>
                  <a:pt x="3174600" y="215989"/>
                </a:lnTo>
                <a:lnTo>
                  <a:pt x="3174600" y="267481"/>
                </a:lnTo>
                <a:lnTo>
                  <a:pt x="3040316" y="267481"/>
                </a:lnTo>
                <a:cubicBezTo>
                  <a:pt x="3040316" y="272530"/>
                  <a:pt x="3042084" y="278083"/>
                  <a:pt x="3045618" y="284141"/>
                </a:cubicBezTo>
                <a:cubicBezTo>
                  <a:pt x="3049152" y="290198"/>
                  <a:pt x="3053442" y="296172"/>
                  <a:pt x="3058490" y="302062"/>
                </a:cubicBezTo>
                <a:cubicBezTo>
                  <a:pt x="3063538" y="307952"/>
                  <a:pt x="3068924" y="313673"/>
                  <a:pt x="3074644" y="319226"/>
                </a:cubicBezTo>
                <a:cubicBezTo>
                  <a:pt x="3080366" y="324779"/>
                  <a:pt x="3085414" y="329575"/>
                  <a:pt x="3089790" y="333613"/>
                </a:cubicBezTo>
                <a:cubicBezTo>
                  <a:pt x="3098540" y="341691"/>
                  <a:pt x="3107122" y="350104"/>
                  <a:pt x="3115536" y="358855"/>
                </a:cubicBezTo>
                <a:cubicBezTo>
                  <a:pt x="3123950" y="367605"/>
                  <a:pt x="3131522" y="376692"/>
                  <a:pt x="3138252" y="386115"/>
                </a:cubicBezTo>
                <a:cubicBezTo>
                  <a:pt x="3144984" y="395539"/>
                  <a:pt x="3150368" y="405214"/>
                  <a:pt x="3154408" y="415143"/>
                </a:cubicBezTo>
                <a:cubicBezTo>
                  <a:pt x="3158446" y="425071"/>
                  <a:pt x="3160464" y="435420"/>
                  <a:pt x="3160464" y="446189"/>
                </a:cubicBezTo>
                <a:cubicBezTo>
                  <a:pt x="3160464" y="460998"/>
                  <a:pt x="3157772" y="474039"/>
                  <a:pt x="3152388" y="485313"/>
                </a:cubicBezTo>
                <a:cubicBezTo>
                  <a:pt x="3147002" y="496588"/>
                  <a:pt x="3139766" y="505927"/>
                  <a:pt x="3130680" y="513331"/>
                </a:cubicBezTo>
                <a:cubicBezTo>
                  <a:pt x="3121594" y="520735"/>
                  <a:pt x="3111160" y="526288"/>
                  <a:pt x="3099382" y="529990"/>
                </a:cubicBezTo>
                <a:cubicBezTo>
                  <a:pt x="3087602" y="533692"/>
                  <a:pt x="3075318" y="535544"/>
                  <a:pt x="3062528" y="535544"/>
                </a:cubicBezTo>
                <a:close/>
                <a:moveTo>
                  <a:pt x="2292890" y="561290"/>
                </a:moveTo>
                <a:cubicBezTo>
                  <a:pt x="2282120" y="561290"/>
                  <a:pt x="2272949" y="557756"/>
                  <a:pt x="2265377" y="550688"/>
                </a:cubicBezTo>
                <a:cubicBezTo>
                  <a:pt x="2257805" y="543621"/>
                  <a:pt x="2254018" y="533861"/>
                  <a:pt x="2254018" y="521408"/>
                </a:cubicBezTo>
                <a:cubicBezTo>
                  <a:pt x="2254018" y="509293"/>
                  <a:pt x="2257805" y="499701"/>
                  <a:pt x="2265377" y="492633"/>
                </a:cubicBezTo>
                <a:cubicBezTo>
                  <a:pt x="2272949" y="485566"/>
                  <a:pt x="2282120" y="482032"/>
                  <a:pt x="2292890" y="482032"/>
                </a:cubicBezTo>
                <a:cubicBezTo>
                  <a:pt x="2303660" y="482032"/>
                  <a:pt x="2312914" y="485566"/>
                  <a:pt x="2320655" y="492633"/>
                </a:cubicBezTo>
                <a:cubicBezTo>
                  <a:pt x="2328396" y="499701"/>
                  <a:pt x="2332266" y="509293"/>
                  <a:pt x="2332266" y="521408"/>
                </a:cubicBezTo>
                <a:cubicBezTo>
                  <a:pt x="2332266" y="533861"/>
                  <a:pt x="2328396" y="543621"/>
                  <a:pt x="2320655" y="550688"/>
                </a:cubicBezTo>
                <a:cubicBezTo>
                  <a:pt x="2312914" y="557756"/>
                  <a:pt x="2303660" y="561290"/>
                  <a:pt x="2292890" y="561290"/>
                </a:cubicBezTo>
                <a:close/>
                <a:moveTo>
                  <a:pt x="1959420" y="563309"/>
                </a:moveTo>
                <a:lnTo>
                  <a:pt x="1959420" y="511817"/>
                </a:lnTo>
                <a:lnTo>
                  <a:pt x="2025047" y="511817"/>
                </a:lnTo>
                <a:lnTo>
                  <a:pt x="2025047" y="310392"/>
                </a:lnTo>
                <a:cubicBezTo>
                  <a:pt x="2025047" y="277746"/>
                  <a:pt x="2031610" y="252926"/>
                  <a:pt x="2044735" y="235930"/>
                </a:cubicBezTo>
                <a:cubicBezTo>
                  <a:pt x="2057860" y="218934"/>
                  <a:pt x="2078727" y="210436"/>
                  <a:pt x="2107333" y="210436"/>
                </a:cubicBezTo>
                <a:cubicBezTo>
                  <a:pt x="2117767" y="210436"/>
                  <a:pt x="2127106" y="211109"/>
                  <a:pt x="2135351" y="212455"/>
                </a:cubicBezTo>
                <a:cubicBezTo>
                  <a:pt x="2143597" y="213802"/>
                  <a:pt x="2150580" y="215400"/>
                  <a:pt x="2156302" y="217251"/>
                </a:cubicBezTo>
                <a:cubicBezTo>
                  <a:pt x="2162023" y="219102"/>
                  <a:pt x="2166650" y="220869"/>
                  <a:pt x="2170184" y="222552"/>
                </a:cubicBezTo>
                <a:cubicBezTo>
                  <a:pt x="2173718" y="224235"/>
                  <a:pt x="2175990" y="225413"/>
                  <a:pt x="2176999" y="226086"/>
                </a:cubicBezTo>
                <a:lnTo>
                  <a:pt x="2168922" y="276063"/>
                </a:lnTo>
                <a:cubicBezTo>
                  <a:pt x="2166230" y="275054"/>
                  <a:pt x="2160677" y="272866"/>
                  <a:pt x="2152263" y="269501"/>
                </a:cubicBezTo>
                <a:cubicBezTo>
                  <a:pt x="2143849" y="266135"/>
                  <a:pt x="2133416" y="264452"/>
                  <a:pt x="2120964" y="264452"/>
                </a:cubicBezTo>
                <a:cubicBezTo>
                  <a:pt x="2111204" y="264452"/>
                  <a:pt x="2103126" y="267313"/>
                  <a:pt x="2096732" y="273034"/>
                </a:cubicBezTo>
                <a:cubicBezTo>
                  <a:pt x="2090338" y="278756"/>
                  <a:pt x="2087140" y="289694"/>
                  <a:pt x="2087140" y="305848"/>
                </a:cubicBezTo>
                <a:lnTo>
                  <a:pt x="2087140" y="563309"/>
                </a:lnTo>
                <a:close/>
                <a:moveTo>
                  <a:pt x="1607052" y="565833"/>
                </a:moveTo>
                <a:cubicBezTo>
                  <a:pt x="1594263" y="565833"/>
                  <a:pt x="1581811" y="564234"/>
                  <a:pt x="1569695" y="561037"/>
                </a:cubicBezTo>
                <a:cubicBezTo>
                  <a:pt x="1557579" y="557840"/>
                  <a:pt x="1546810" y="552455"/>
                  <a:pt x="1537386" y="544883"/>
                </a:cubicBezTo>
                <a:cubicBezTo>
                  <a:pt x="1527963" y="537310"/>
                  <a:pt x="1520474" y="527214"/>
                  <a:pt x="1514921" y="514593"/>
                </a:cubicBezTo>
                <a:cubicBezTo>
                  <a:pt x="1509368" y="501973"/>
                  <a:pt x="1506592" y="486071"/>
                  <a:pt x="1506592" y="466887"/>
                </a:cubicBezTo>
                <a:lnTo>
                  <a:pt x="1506592" y="453257"/>
                </a:lnTo>
                <a:lnTo>
                  <a:pt x="1454595" y="453257"/>
                </a:lnTo>
                <a:lnTo>
                  <a:pt x="1454595" y="401765"/>
                </a:lnTo>
                <a:lnTo>
                  <a:pt x="1506592" y="401765"/>
                </a:lnTo>
                <a:lnTo>
                  <a:pt x="1506592" y="215989"/>
                </a:lnTo>
                <a:lnTo>
                  <a:pt x="1569190" y="215989"/>
                </a:lnTo>
                <a:lnTo>
                  <a:pt x="1569190" y="401765"/>
                </a:lnTo>
                <a:lnTo>
                  <a:pt x="1666621" y="401765"/>
                </a:lnTo>
                <a:lnTo>
                  <a:pt x="1666621" y="453257"/>
                </a:lnTo>
                <a:lnTo>
                  <a:pt x="1569190" y="453257"/>
                </a:lnTo>
                <a:lnTo>
                  <a:pt x="1569190" y="465878"/>
                </a:lnTo>
                <a:cubicBezTo>
                  <a:pt x="1569190" y="475974"/>
                  <a:pt x="1570368" y="484135"/>
                  <a:pt x="1572724" y="490362"/>
                </a:cubicBezTo>
                <a:cubicBezTo>
                  <a:pt x="1575080" y="496588"/>
                  <a:pt x="1578193" y="501384"/>
                  <a:pt x="1582063" y="504749"/>
                </a:cubicBezTo>
                <a:cubicBezTo>
                  <a:pt x="1585933" y="508115"/>
                  <a:pt x="1590477" y="510302"/>
                  <a:pt x="1595693" y="511312"/>
                </a:cubicBezTo>
                <a:cubicBezTo>
                  <a:pt x="1600910" y="512322"/>
                  <a:pt x="1606379" y="512826"/>
                  <a:pt x="1612100" y="512826"/>
                </a:cubicBezTo>
                <a:cubicBezTo>
                  <a:pt x="1622533" y="512826"/>
                  <a:pt x="1633555" y="511396"/>
                  <a:pt x="1645166" y="508535"/>
                </a:cubicBezTo>
                <a:cubicBezTo>
                  <a:pt x="1656777" y="505675"/>
                  <a:pt x="1666453" y="502898"/>
                  <a:pt x="1674194" y="500206"/>
                </a:cubicBezTo>
                <a:lnTo>
                  <a:pt x="1684795" y="550688"/>
                </a:lnTo>
                <a:cubicBezTo>
                  <a:pt x="1673689" y="556073"/>
                  <a:pt x="1661236" y="559943"/>
                  <a:pt x="1647438" y="562299"/>
                </a:cubicBezTo>
                <a:cubicBezTo>
                  <a:pt x="1633639" y="564655"/>
                  <a:pt x="1620178" y="565833"/>
                  <a:pt x="1607052" y="565833"/>
                </a:cubicBezTo>
                <a:close/>
                <a:moveTo>
                  <a:pt x="0" y="796029"/>
                </a:moveTo>
                <a:lnTo>
                  <a:pt x="4876802" y="796029"/>
                </a:lnTo>
                <a:lnTo>
                  <a:pt x="4824822" y="344498"/>
                </a:lnTo>
                <a:cubicBezTo>
                  <a:pt x="4801968" y="145891"/>
                  <a:pt x="4682292" y="207"/>
                  <a:pt x="4541980" y="155"/>
                </a:cubicBezTo>
                <a:lnTo>
                  <a:pt x="0" y="0"/>
                </a:lnTo>
                <a:close/>
              </a:path>
            </a:pathLst>
          </a:custGeom>
          <a:solidFill>
            <a:schemeClr val="bg1"/>
          </a:solidFill>
          <a:ln w="2834" cap="flat">
            <a:noFill/>
            <a:prstDash val="solid"/>
            <a:miter/>
          </a:ln>
        </p:spPr>
        <p:txBody>
          <a:bodyPr wrap="square" rtlCol="0" anchor="ctr">
            <a:noAutofit/>
          </a:bodyPr>
          <a:lstStyle/>
          <a:p>
            <a:endParaRPr lang="en-US" dirty="0"/>
          </a:p>
        </p:txBody>
      </p:sp>
      <p:pic>
        <p:nvPicPr>
          <p:cNvPr id="11" name="Imagen 10" descr="Un dibujo de una cara feliz&#10;&#10;Descripción generada automáticamente con confianza baja">
            <a:extLst>
              <a:ext uri="{FF2B5EF4-FFF2-40B4-BE49-F238E27FC236}">
                <a16:creationId xmlns:a16="http://schemas.microsoft.com/office/drawing/2014/main" id="{AAE5E7C8-61FF-4E9E-B7AA-24C524932BC4}"/>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7824450" y="406400"/>
            <a:ext cx="1801936" cy="934010"/>
          </a:xfrm>
          <a:prstGeom prst="rect">
            <a:avLst/>
          </a:prstGeom>
        </p:spPr>
      </p:pic>
    </p:spTree>
    <p:extLst>
      <p:ext uri="{BB962C8B-B14F-4D97-AF65-F5344CB8AC3E}">
        <p14:creationId xmlns:p14="http://schemas.microsoft.com/office/powerpoint/2010/main" val="276132345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id="{D3FE3329-8767-8BEA-16AF-62876F7BEDE3}"/>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350" y="0"/>
            <a:ext cx="20110450" cy="11379200"/>
          </a:xfrm>
          <a:prstGeom prst="rect">
            <a:avLst/>
          </a:prstGeom>
        </p:spPr>
      </p:pic>
      <p:sp>
        <p:nvSpPr>
          <p:cNvPr id="4" name="Holder 4"/>
          <p:cNvSpPr>
            <a:spLocks noGrp="1"/>
          </p:cNvSpPr>
          <p:nvPr>
            <p:ph type="ftr" sz="quarter" idx="5"/>
          </p:nvPr>
        </p:nvSpPr>
        <p:spPr>
          <a:xfrm>
            <a:off x="16647741" y="10759212"/>
            <a:ext cx="2962677" cy="200055"/>
          </a:xfrm>
          <a:prstGeom prst="rect">
            <a:avLst/>
          </a:prstGeom>
        </p:spPr>
        <p:txBody>
          <a:bodyPr lIns="0" tIns="0" rIns="0" bIns="0"/>
          <a:lstStyle>
            <a:lvl1pPr>
              <a:defRPr sz="1300" b="0" i="0">
                <a:solidFill>
                  <a:schemeClr val="bg1"/>
                </a:solidFill>
                <a:latin typeface="Ubuntu Light"/>
                <a:cs typeface="Ubuntu Light"/>
              </a:defRPr>
            </a:lvl1pPr>
          </a:lstStyle>
          <a:p>
            <a:pPr marL="26034">
              <a:spcBef>
                <a:spcPts val="30"/>
              </a:spcBef>
            </a:pPr>
            <a:r>
              <a:rPr lang="es-ES" dirty="0"/>
              <a:t>Public</a:t>
            </a:r>
            <a:r>
              <a:rPr lang="es-ES" spc="-40" dirty="0"/>
              <a:t> </a:t>
            </a:r>
            <a:r>
              <a:rPr lang="es-ES" dirty="0"/>
              <a:t>©</a:t>
            </a:r>
            <a:r>
              <a:rPr lang="es-ES" spc="-40" dirty="0"/>
              <a:t> </a:t>
            </a:r>
            <a:r>
              <a:rPr lang="es-ES" dirty="0"/>
              <a:t>2023</a:t>
            </a:r>
            <a:r>
              <a:rPr lang="es-ES" spc="-40" dirty="0"/>
              <a:t> </a:t>
            </a:r>
            <a:r>
              <a:rPr lang="es-ES" spc="-10" dirty="0"/>
              <a:t>Sogeti.</a:t>
            </a:r>
            <a:r>
              <a:rPr lang="es-ES" spc="-35" dirty="0"/>
              <a:t> </a:t>
            </a:r>
            <a:r>
              <a:rPr lang="es-ES" dirty="0" err="1"/>
              <a:t>All</a:t>
            </a:r>
            <a:r>
              <a:rPr lang="es-ES" spc="-40" dirty="0"/>
              <a:t> </a:t>
            </a:r>
            <a:r>
              <a:rPr lang="es-ES" dirty="0"/>
              <a:t>rights</a:t>
            </a:r>
            <a:r>
              <a:rPr lang="es-ES" spc="-40" dirty="0"/>
              <a:t> </a:t>
            </a:r>
            <a:r>
              <a:rPr lang="es-ES" spc="-10" dirty="0" err="1"/>
              <a:t>reserved</a:t>
            </a:r>
            <a:endParaRPr lang="es-ES" spc="-10" dirty="0"/>
          </a:p>
        </p:txBody>
      </p:sp>
      <p:sp>
        <p:nvSpPr>
          <p:cNvPr id="2" name="CuadroTexto 1">
            <a:extLst>
              <a:ext uri="{FF2B5EF4-FFF2-40B4-BE49-F238E27FC236}">
                <a16:creationId xmlns:a16="http://schemas.microsoft.com/office/drawing/2014/main" id="{72E5CF79-7DA3-E21E-3060-87CB44907F25}"/>
              </a:ext>
            </a:extLst>
          </p:cNvPr>
          <p:cNvSpPr txBox="1"/>
          <p:nvPr userDrawn="1"/>
        </p:nvSpPr>
        <p:spPr>
          <a:xfrm>
            <a:off x="755650" y="10845800"/>
            <a:ext cx="7772400" cy="292388"/>
          </a:xfrm>
          <a:prstGeom prst="rect">
            <a:avLst/>
          </a:prstGeom>
          <a:noFill/>
        </p:spPr>
        <p:txBody>
          <a:bodyPr wrap="square" rtlCol="0">
            <a:spAutoFit/>
          </a:bodyPr>
          <a:lstStyle/>
          <a:p>
            <a:r>
              <a:rPr lang="es-ES" sz="1300" b="0" i="0" dirty="0">
                <a:solidFill>
                  <a:schemeClr val="bg1"/>
                </a:solidFill>
                <a:latin typeface="Ubuntu Medium" panose="020B0504030602030204" pitchFamily="34" charset="0"/>
              </a:rPr>
              <a:t>#FlourishingDigitalBusinessWithQuality </a:t>
            </a:r>
            <a:r>
              <a:rPr lang="es-ES" sz="1300" b="1" i="0" dirty="0">
                <a:solidFill>
                  <a:schemeClr val="bg1"/>
                </a:solidFill>
                <a:latin typeface="Ubuntu" panose="020B0504030602030204" pitchFamily="34" charset="0"/>
              </a:rPr>
              <a:t> </a:t>
            </a:r>
            <a:r>
              <a:rPr lang="es-ES" sz="1300" b="1" i="0" dirty="0">
                <a:solidFill>
                  <a:srgbClr val="290E3B"/>
                </a:solidFill>
                <a:latin typeface="Ubuntu" panose="020B0504030602030204" pitchFamily="34" charset="0"/>
              </a:rPr>
              <a:t>·</a:t>
            </a:r>
            <a:r>
              <a:rPr lang="es-ES" sz="1300" b="0" i="0" dirty="0">
                <a:solidFill>
                  <a:schemeClr val="tx2"/>
                </a:solidFill>
                <a:latin typeface="Ubuntu Medium" panose="020B0504030602030204" pitchFamily="34" charset="0"/>
              </a:rPr>
              <a:t>   </a:t>
            </a:r>
            <a:r>
              <a:rPr lang="es-ES" sz="1300" b="1" i="0" dirty="0">
                <a:solidFill>
                  <a:schemeClr val="bg1"/>
                </a:solidFill>
                <a:latin typeface="Ubuntu" panose="020B0504030602030204" pitchFamily="34" charset="0"/>
              </a:rPr>
              <a:t>Sogeti España</a:t>
            </a:r>
          </a:p>
        </p:txBody>
      </p:sp>
      <p:sp>
        <p:nvSpPr>
          <p:cNvPr id="5" name="Forma libre 4">
            <a:extLst>
              <a:ext uri="{FF2B5EF4-FFF2-40B4-BE49-F238E27FC236}">
                <a16:creationId xmlns:a16="http://schemas.microsoft.com/office/drawing/2014/main" id="{FBAABD7F-C513-9B40-6AE2-E43DB3944CCE}"/>
              </a:ext>
            </a:extLst>
          </p:cNvPr>
          <p:cNvSpPr/>
          <p:nvPr userDrawn="1"/>
        </p:nvSpPr>
        <p:spPr>
          <a:xfrm flipV="1">
            <a:off x="755650" y="10384024"/>
            <a:ext cx="2362200" cy="385576"/>
          </a:xfrm>
          <a:custGeom>
            <a:avLst/>
            <a:gdLst/>
            <a:ahLst/>
            <a:cxnLst/>
            <a:rect l="l" t="t" r="r" b="b"/>
            <a:pathLst>
              <a:path w="4876802" h="796029">
                <a:moveTo>
                  <a:pt x="2572782" y="405299"/>
                </a:moveTo>
                <a:cubicBezTo>
                  <a:pt x="2589609" y="405299"/>
                  <a:pt x="2601809" y="398820"/>
                  <a:pt x="2609382" y="385863"/>
                </a:cubicBezTo>
                <a:cubicBezTo>
                  <a:pt x="2616954" y="372906"/>
                  <a:pt x="2620740" y="355826"/>
                  <a:pt x="2620740" y="334623"/>
                </a:cubicBezTo>
                <a:cubicBezTo>
                  <a:pt x="2620740" y="313420"/>
                  <a:pt x="2616618" y="296256"/>
                  <a:pt x="2608372" y="283131"/>
                </a:cubicBezTo>
                <a:cubicBezTo>
                  <a:pt x="2600126" y="270006"/>
                  <a:pt x="2587927" y="263443"/>
                  <a:pt x="2571772" y="263443"/>
                </a:cubicBezTo>
                <a:cubicBezTo>
                  <a:pt x="2554945" y="263443"/>
                  <a:pt x="2542744" y="270006"/>
                  <a:pt x="2535172" y="283131"/>
                </a:cubicBezTo>
                <a:cubicBezTo>
                  <a:pt x="2527600" y="296256"/>
                  <a:pt x="2523814" y="313420"/>
                  <a:pt x="2523814" y="334623"/>
                </a:cubicBezTo>
                <a:cubicBezTo>
                  <a:pt x="2523814" y="355826"/>
                  <a:pt x="2527937" y="372906"/>
                  <a:pt x="2536182" y="385863"/>
                </a:cubicBezTo>
                <a:cubicBezTo>
                  <a:pt x="2544428" y="398820"/>
                  <a:pt x="2556628" y="405299"/>
                  <a:pt x="2572782" y="405299"/>
                </a:cubicBezTo>
                <a:close/>
                <a:moveTo>
                  <a:pt x="1810782" y="405299"/>
                </a:moveTo>
                <a:cubicBezTo>
                  <a:pt x="1827610" y="405299"/>
                  <a:pt x="1839810" y="398820"/>
                  <a:pt x="1847382" y="385863"/>
                </a:cubicBezTo>
                <a:cubicBezTo>
                  <a:pt x="1854954" y="372906"/>
                  <a:pt x="1858740" y="355826"/>
                  <a:pt x="1858740" y="334623"/>
                </a:cubicBezTo>
                <a:cubicBezTo>
                  <a:pt x="1858740" y="313420"/>
                  <a:pt x="1854618" y="296256"/>
                  <a:pt x="1846372" y="283131"/>
                </a:cubicBezTo>
                <a:cubicBezTo>
                  <a:pt x="1838127" y="270006"/>
                  <a:pt x="1825927" y="263443"/>
                  <a:pt x="1809772" y="263443"/>
                </a:cubicBezTo>
                <a:cubicBezTo>
                  <a:pt x="1792945" y="263443"/>
                  <a:pt x="1780745" y="270006"/>
                  <a:pt x="1773173" y="283131"/>
                </a:cubicBezTo>
                <a:cubicBezTo>
                  <a:pt x="1765600" y="296256"/>
                  <a:pt x="1761814" y="313420"/>
                  <a:pt x="1761814" y="334623"/>
                </a:cubicBezTo>
                <a:cubicBezTo>
                  <a:pt x="1761814" y="355826"/>
                  <a:pt x="1765937" y="372906"/>
                  <a:pt x="1774182" y="385863"/>
                </a:cubicBezTo>
                <a:cubicBezTo>
                  <a:pt x="1782428" y="398820"/>
                  <a:pt x="1794628" y="405299"/>
                  <a:pt x="1810782" y="405299"/>
                </a:cubicBezTo>
                <a:close/>
                <a:moveTo>
                  <a:pt x="810657" y="405299"/>
                </a:moveTo>
                <a:cubicBezTo>
                  <a:pt x="827485" y="405299"/>
                  <a:pt x="839684" y="398820"/>
                  <a:pt x="847257" y="385863"/>
                </a:cubicBezTo>
                <a:cubicBezTo>
                  <a:pt x="854829" y="372906"/>
                  <a:pt x="858615" y="355826"/>
                  <a:pt x="858616" y="334623"/>
                </a:cubicBezTo>
                <a:cubicBezTo>
                  <a:pt x="858615" y="313420"/>
                  <a:pt x="854493" y="296256"/>
                  <a:pt x="846247" y="283131"/>
                </a:cubicBezTo>
                <a:cubicBezTo>
                  <a:pt x="838002" y="270006"/>
                  <a:pt x="825802" y="263443"/>
                  <a:pt x="809647" y="263443"/>
                </a:cubicBezTo>
                <a:cubicBezTo>
                  <a:pt x="792820" y="263443"/>
                  <a:pt x="780620" y="270006"/>
                  <a:pt x="773048" y="283131"/>
                </a:cubicBezTo>
                <a:cubicBezTo>
                  <a:pt x="765475" y="296256"/>
                  <a:pt x="761689" y="313420"/>
                  <a:pt x="761689" y="334623"/>
                </a:cubicBezTo>
                <a:cubicBezTo>
                  <a:pt x="761689" y="355826"/>
                  <a:pt x="765812" y="372906"/>
                  <a:pt x="774057" y="385863"/>
                </a:cubicBezTo>
                <a:cubicBezTo>
                  <a:pt x="782303" y="398820"/>
                  <a:pt x="794503" y="405299"/>
                  <a:pt x="810657" y="405299"/>
                </a:cubicBezTo>
                <a:close/>
                <a:moveTo>
                  <a:pt x="3325256" y="411861"/>
                </a:moveTo>
                <a:cubicBezTo>
                  <a:pt x="3316506" y="411861"/>
                  <a:pt x="3309608" y="408496"/>
                  <a:pt x="3304560" y="401765"/>
                </a:cubicBezTo>
                <a:cubicBezTo>
                  <a:pt x="3299512" y="395034"/>
                  <a:pt x="3296988" y="387125"/>
                  <a:pt x="3296988" y="378038"/>
                </a:cubicBezTo>
                <a:cubicBezTo>
                  <a:pt x="3296988" y="368951"/>
                  <a:pt x="3299512" y="361126"/>
                  <a:pt x="3304560" y="354564"/>
                </a:cubicBezTo>
                <a:cubicBezTo>
                  <a:pt x="3309608" y="348001"/>
                  <a:pt x="3316506" y="344720"/>
                  <a:pt x="3325256" y="344720"/>
                </a:cubicBezTo>
                <a:cubicBezTo>
                  <a:pt x="3333334" y="344720"/>
                  <a:pt x="3339980" y="348001"/>
                  <a:pt x="3345198" y="354564"/>
                </a:cubicBezTo>
                <a:cubicBezTo>
                  <a:pt x="3350414" y="361126"/>
                  <a:pt x="3353022" y="368951"/>
                  <a:pt x="3353022" y="378038"/>
                </a:cubicBezTo>
                <a:cubicBezTo>
                  <a:pt x="3353022" y="387125"/>
                  <a:pt x="3350414" y="395034"/>
                  <a:pt x="3345198" y="401765"/>
                </a:cubicBezTo>
                <a:cubicBezTo>
                  <a:pt x="3339980" y="408496"/>
                  <a:pt x="3333334" y="411861"/>
                  <a:pt x="3325256" y="411861"/>
                </a:cubicBezTo>
                <a:close/>
                <a:moveTo>
                  <a:pt x="2207070" y="453257"/>
                </a:moveTo>
                <a:lnTo>
                  <a:pt x="2207070" y="401765"/>
                </a:lnTo>
                <a:lnTo>
                  <a:pt x="2272697" y="401765"/>
                </a:lnTo>
                <a:lnTo>
                  <a:pt x="2272697" y="314430"/>
                </a:lnTo>
                <a:cubicBezTo>
                  <a:pt x="2272697" y="297939"/>
                  <a:pt x="2274043" y="283299"/>
                  <a:pt x="2276735" y="270510"/>
                </a:cubicBezTo>
                <a:cubicBezTo>
                  <a:pt x="2279428" y="257721"/>
                  <a:pt x="2284055" y="246868"/>
                  <a:pt x="2290618" y="237949"/>
                </a:cubicBezTo>
                <a:cubicBezTo>
                  <a:pt x="2297181" y="229031"/>
                  <a:pt x="2305931" y="222215"/>
                  <a:pt x="2316869" y="217504"/>
                </a:cubicBezTo>
                <a:cubicBezTo>
                  <a:pt x="2327807" y="212792"/>
                  <a:pt x="2341353" y="210436"/>
                  <a:pt x="2357508" y="210436"/>
                </a:cubicBezTo>
                <a:cubicBezTo>
                  <a:pt x="2366931" y="210436"/>
                  <a:pt x="2377280" y="211530"/>
                  <a:pt x="2388554" y="213718"/>
                </a:cubicBezTo>
                <a:cubicBezTo>
                  <a:pt x="2399829" y="215905"/>
                  <a:pt x="2411860" y="220028"/>
                  <a:pt x="2424649" y="226086"/>
                </a:cubicBezTo>
                <a:lnTo>
                  <a:pt x="2416572" y="276063"/>
                </a:lnTo>
                <a:cubicBezTo>
                  <a:pt x="2406475" y="271352"/>
                  <a:pt x="2397388" y="268239"/>
                  <a:pt x="2389312" y="266724"/>
                </a:cubicBezTo>
                <a:cubicBezTo>
                  <a:pt x="2381234" y="265210"/>
                  <a:pt x="2374335" y="264452"/>
                  <a:pt x="2368614" y="264452"/>
                </a:cubicBezTo>
                <a:cubicBezTo>
                  <a:pt x="2356498" y="264452"/>
                  <a:pt x="2347832" y="267902"/>
                  <a:pt x="2342615" y="274801"/>
                </a:cubicBezTo>
                <a:cubicBezTo>
                  <a:pt x="2337398" y="281701"/>
                  <a:pt x="2334790" y="292218"/>
                  <a:pt x="2334790" y="306353"/>
                </a:cubicBezTo>
                <a:lnTo>
                  <a:pt x="2334790" y="453257"/>
                </a:lnTo>
                <a:close/>
                <a:moveTo>
                  <a:pt x="1088092" y="457800"/>
                </a:moveTo>
                <a:cubicBezTo>
                  <a:pt x="1064870" y="457800"/>
                  <a:pt x="1044593" y="455949"/>
                  <a:pt x="1027260" y="452247"/>
                </a:cubicBezTo>
                <a:cubicBezTo>
                  <a:pt x="1009928" y="448545"/>
                  <a:pt x="993016" y="443665"/>
                  <a:pt x="976526" y="437607"/>
                </a:cubicBezTo>
                <a:lnTo>
                  <a:pt x="976526" y="215989"/>
                </a:lnTo>
                <a:lnTo>
                  <a:pt x="1039124" y="215989"/>
                </a:lnTo>
                <a:lnTo>
                  <a:pt x="1039124" y="392173"/>
                </a:lnTo>
                <a:cubicBezTo>
                  <a:pt x="1047874" y="394529"/>
                  <a:pt x="1056456" y="396128"/>
                  <a:pt x="1064870" y="396969"/>
                </a:cubicBezTo>
                <a:cubicBezTo>
                  <a:pt x="1073284" y="397810"/>
                  <a:pt x="1081866" y="398231"/>
                  <a:pt x="1090616" y="398231"/>
                </a:cubicBezTo>
                <a:cubicBezTo>
                  <a:pt x="1094318" y="398231"/>
                  <a:pt x="1098861" y="398063"/>
                  <a:pt x="1104246" y="397726"/>
                </a:cubicBezTo>
                <a:cubicBezTo>
                  <a:pt x="1109631" y="397390"/>
                  <a:pt x="1115184" y="396801"/>
                  <a:pt x="1120905" y="395959"/>
                </a:cubicBezTo>
                <a:cubicBezTo>
                  <a:pt x="1126627" y="395118"/>
                  <a:pt x="1132264" y="394192"/>
                  <a:pt x="1137817" y="393183"/>
                </a:cubicBezTo>
                <a:cubicBezTo>
                  <a:pt x="1143370" y="392173"/>
                  <a:pt x="1148166" y="391164"/>
                  <a:pt x="1152205" y="390154"/>
                </a:cubicBezTo>
                <a:lnTo>
                  <a:pt x="1163311" y="447704"/>
                </a:lnTo>
                <a:cubicBezTo>
                  <a:pt x="1157589" y="449723"/>
                  <a:pt x="1151111" y="451322"/>
                  <a:pt x="1143875" y="452500"/>
                </a:cubicBezTo>
                <a:cubicBezTo>
                  <a:pt x="1136639" y="453678"/>
                  <a:pt x="1129487" y="454687"/>
                  <a:pt x="1122420" y="455529"/>
                </a:cubicBezTo>
                <a:cubicBezTo>
                  <a:pt x="1115352" y="456370"/>
                  <a:pt x="1108706" y="456959"/>
                  <a:pt x="1102479" y="457296"/>
                </a:cubicBezTo>
                <a:cubicBezTo>
                  <a:pt x="1096253" y="457632"/>
                  <a:pt x="1091457" y="457800"/>
                  <a:pt x="1088092" y="457800"/>
                </a:cubicBezTo>
                <a:close/>
                <a:moveTo>
                  <a:pt x="2572782" y="459315"/>
                </a:moveTo>
                <a:cubicBezTo>
                  <a:pt x="2556628" y="459315"/>
                  <a:pt x="2541651" y="456370"/>
                  <a:pt x="2527852" y="450480"/>
                </a:cubicBezTo>
                <a:cubicBezTo>
                  <a:pt x="2514054" y="444591"/>
                  <a:pt x="2502190" y="436177"/>
                  <a:pt x="2492262" y="425239"/>
                </a:cubicBezTo>
                <a:cubicBezTo>
                  <a:pt x="2482334" y="414301"/>
                  <a:pt x="2474594" y="401176"/>
                  <a:pt x="2469040" y="385863"/>
                </a:cubicBezTo>
                <a:cubicBezTo>
                  <a:pt x="2463487" y="370550"/>
                  <a:pt x="2460711" y="353638"/>
                  <a:pt x="2460711" y="335128"/>
                </a:cubicBezTo>
                <a:cubicBezTo>
                  <a:pt x="2460711" y="316281"/>
                  <a:pt x="2463403" y="299201"/>
                  <a:pt x="2468788" y="283888"/>
                </a:cubicBezTo>
                <a:cubicBezTo>
                  <a:pt x="2474173" y="268575"/>
                  <a:pt x="2481829" y="255366"/>
                  <a:pt x="2491758" y="244259"/>
                </a:cubicBezTo>
                <a:cubicBezTo>
                  <a:pt x="2501686" y="233153"/>
                  <a:pt x="2513465" y="224571"/>
                  <a:pt x="2527095" y="218513"/>
                </a:cubicBezTo>
                <a:cubicBezTo>
                  <a:pt x="2540726" y="212455"/>
                  <a:pt x="2555954" y="209427"/>
                  <a:pt x="2572782" y="209427"/>
                </a:cubicBezTo>
                <a:cubicBezTo>
                  <a:pt x="2589609" y="209427"/>
                  <a:pt x="2604838" y="212455"/>
                  <a:pt x="2618468" y="218513"/>
                </a:cubicBezTo>
                <a:cubicBezTo>
                  <a:pt x="2632098" y="224571"/>
                  <a:pt x="2643794" y="233153"/>
                  <a:pt x="2653554" y="244259"/>
                </a:cubicBezTo>
                <a:cubicBezTo>
                  <a:pt x="2663314" y="255366"/>
                  <a:pt x="2670886" y="268575"/>
                  <a:pt x="2676271" y="283888"/>
                </a:cubicBezTo>
                <a:cubicBezTo>
                  <a:pt x="2681656" y="299201"/>
                  <a:pt x="2684348" y="316281"/>
                  <a:pt x="2684348" y="335128"/>
                </a:cubicBezTo>
                <a:cubicBezTo>
                  <a:pt x="2684348" y="353638"/>
                  <a:pt x="2681656" y="370550"/>
                  <a:pt x="2676271" y="385863"/>
                </a:cubicBezTo>
                <a:cubicBezTo>
                  <a:pt x="2670886" y="401176"/>
                  <a:pt x="2663230" y="414301"/>
                  <a:pt x="2653302" y="425239"/>
                </a:cubicBezTo>
                <a:cubicBezTo>
                  <a:pt x="2643373" y="436177"/>
                  <a:pt x="2631594" y="444591"/>
                  <a:pt x="2617964" y="450480"/>
                </a:cubicBezTo>
                <a:cubicBezTo>
                  <a:pt x="2604334" y="456370"/>
                  <a:pt x="2589273" y="459315"/>
                  <a:pt x="2572782" y="459315"/>
                </a:cubicBezTo>
                <a:close/>
                <a:moveTo>
                  <a:pt x="1810782" y="459315"/>
                </a:moveTo>
                <a:cubicBezTo>
                  <a:pt x="1794628" y="459315"/>
                  <a:pt x="1779651" y="456370"/>
                  <a:pt x="1765853" y="450480"/>
                </a:cubicBezTo>
                <a:cubicBezTo>
                  <a:pt x="1752054" y="444591"/>
                  <a:pt x="1740191" y="436177"/>
                  <a:pt x="1730262" y="425239"/>
                </a:cubicBezTo>
                <a:cubicBezTo>
                  <a:pt x="1720334" y="414301"/>
                  <a:pt x="1712594" y="401176"/>
                  <a:pt x="1707040" y="385863"/>
                </a:cubicBezTo>
                <a:cubicBezTo>
                  <a:pt x="1701488" y="370550"/>
                  <a:pt x="1698711" y="353638"/>
                  <a:pt x="1698711" y="335128"/>
                </a:cubicBezTo>
                <a:cubicBezTo>
                  <a:pt x="1698711" y="316281"/>
                  <a:pt x="1701403" y="299201"/>
                  <a:pt x="1706788" y="283888"/>
                </a:cubicBezTo>
                <a:cubicBezTo>
                  <a:pt x="1712173" y="268575"/>
                  <a:pt x="1719829" y="255366"/>
                  <a:pt x="1729758" y="244259"/>
                </a:cubicBezTo>
                <a:cubicBezTo>
                  <a:pt x="1739686" y="233153"/>
                  <a:pt x="1751465" y="224571"/>
                  <a:pt x="1765095" y="218513"/>
                </a:cubicBezTo>
                <a:cubicBezTo>
                  <a:pt x="1778726" y="212455"/>
                  <a:pt x="1793954" y="209427"/>
                  <a:pt x="1810782" y="209427"/>
                </a:cubicBezTo>
                <a:cubicBezTo>
                  <a:pt x="1827610" y="209427"/>
                  <a:pt x="1842838" y="212455"/>
                  <a:pt x="1856469" y="218513"/>
                </a:cubicBezTo>
                <a:cubicBezTo>
                  <a:pt x="1870099" y="224571"/>
                  <a:pt x="1881794" y="233153"/>
                  <a:pt x="1891554" y="244259"/>
                </a:cubicBezTo>
                <a:cubicBezTo>
                  <a:pt x="1901314" y="255366"/>
                  <a:pt x="1908886" y="268575"/>
                  <a:pt x="1914271" y="283888"/>
                </a:cubicBezTo>
                <a:cubicBezTo>
                  <a:pt x="1919656" y="299201"/>
                  <a:pt x="1922348" y="316281"/>
                  <a:pt x="1922348" y="335128"/>
                </a:cubicBezTo>
                <a:cubicBezTo>
                  <a:pt x="1922348" y="353638"/>
                  <a:pt x="1919656" y="370550"/>
                  <a:pt x="1914271" y="385863"/>
                </a:cubicBezTo>
                <a:cubicBezTo>
                  <a:pt x="1908886" y="401176"/>
                  <a:pt x="1901230" y="414301"/>
                  <a:pt x="1891302" y="425239"/>
                </a:cubicBezTo>
                <a:cubicBezTo>
                  <a:pt x="1881374" y="436177"/>
                  <a:pt x="1869594" y="444591"/>
                  <a:pt x="1855964" y="450480"/>
                </a:cubicBezTo>
                <a:cubicBezTo>
                  <a:pt x="1842334" y="456370"/>
                  <a:pt x="1827273" y="459315"/>
                  <a:pt x="1810782" y="459315"/>
                </a:cubicBezTo>
                <a:close/>
                <a:moveTo>
                  <a:pt x="810657" y="459315"/>
                </a:moveTo>
                <a:cubicBezTo>
                  <a:pt x="794503" y="459315"/>
                  <a:pt x="779526" y="456370"/>
                  <a:pt x="765728" y="450480"/>
                </a:cubicBezTo>
                <a:cubicBezTo>
                  <a:pt x="751929" y="444591"/>
                  <a:pt x="740066" y="436177"/>
                  <a:pt x="730138" y="425239"/>
                </a:cubicBezTo>
                <a:cubicBezTo>
                  <a:pt x="720209" y="414301"/>
                  <a:pt x="712469" y="401176"/>
                  <a:pt x="706916" y="385863"/>
                </a:cubicBezTo>
                <a:cubicBezTo>
                  <a:pt x="701362" y="370550"/>
                  <a:pt x="698586" y="353638"/>
                  <a:pt x="698586" y="335128"/>
                </a:cubicBezTo>
                <a:cubicBezTo>
                  <a:pt x="698586" y="316281"/>
                  <a:pt x="701278" y="299201"/>
                  <a:pt x="706663" y="283888"/>
                </a:cubicBezTo>
                <a:cubicBezTo>
                  <a:pt x="712048" y="268575"/>
                  <a:pt x="719704" y="255366"/>
                  <a:pt x="729633" y="244259"/>
                </a:cubicBezTo>
                <a:cubicBezTo>
                  <a:pt x="739561" y="233153"/>
                  <a:pt x="751340" y="224571"/>
                  <a:pt x="764970" y="218513"/>
                </a:cubicBezTo>
                <a:cubicBezTo>
                  <a:pt x="778601" y="212455"/>
                  <a:pt x="793830" y="209427"/>
                  <a:pt x="810657" y="209427"/>
                </a:cubicBezTo>
                <a:cubicBezTo>
                  <a:pt x="827485" y="209427"/>
                  <a:pt x="842713" y="212455"/>
                  <a:pt x="856344" y="218513"/>
                </a:cubicBezTo>
                <a:cubicBezTo>
                  <a:pt x="869974" y="224571"/>
                  <a:pt x="881669" y="233153"/>
                  <a:pt x="891429" y="244259"/>
                </a:cubicBezTo>
                <a:cubicBezTo>
                  <a:pt x="901189" y="255366"/>
                  <a:pt x="908761" y="268575"/>
                  <a:pt x="914146" y="283888"/>
                </a:cubicBezTo>
                <a:cubicBezTo>
                  <a:pt x="919531" y="299201"/>
                  <a:pt x="922223" y="316281"/>
                  <a:pt x="922223" y="335128"/>
                </a:cubicBezTo>
                <a:cubicBezTo>
                  <a:pt x="922223" y="353638"/>
                  <a:pt x="919531" y="370550"/>
                  <a:pt x="914146" y="385863"/>
                </a:cubicBezTo>
                <a:cubicBezTo>
                  <a:pt x="908761" y="401176"/>
                  <a:pt x="901105" y="414301"/>
                  <a:pt x="891177" y="425239"/>
                </a:cubicBezTo>
                <a:cubicBezTo>
                  <a:pt x="881248" y="436177"/>
                  <a:pt x="869469" y="444591"/>
                  <a:pt x="855839" y="450480"/>
                </a:cubicBezTo>
                <a:cubicBezTo>
                  <a:pt x="842209" y="456370"/>
                  <a:pt x="827148" y="459315"/>
                  <a:pt x="810657" y="459315"/>
                </a:cubicBezTo>
                <a:close/>
                <a:moveTo>
                  <a:pt x="546919" y="477993"/>
                </a:moveTo>
                <a:cubicBezTo>
                  <a:pt x="563410" y="477993"/>
                  <a:pt x="576620" y="474207"/>
                  <a:pt x="586548" y="466635"/>
                </a:cubicBezTo>
                <a:cubicBezTo>
                  <a:pt x="596476" y="459062"/>
                  <a:pt x="601441" y="446189"/>
                  <a:pt x="601441" y="428016"/>
                </a:cubicBezTo>
                <a:cubicBezTo>
                  <a:pt x="601441" y="408832"/>
                  <a:pt x="596392" y="395286"/>
                  <a:pt x="586296" y="387377"/>
                </a:cubicBezTo>
                <a:cubicBezTo>
                  <a:pt x="576199" y="379468"/>
                  <a:pt x="561223" y="375514"/>
                  <a:pt x="541366" y="375514"/>
                </a:cubicBezTo>
                <a:lnTo>
                  <a:pt x="516125" y="375514"/>
                </a:lnTo>
                <a:lnTo>
                  <a:pt x="516125" y="476479"/>
                </a:lnTo>
                <a:cubicBezTo>
                  <a:pt x="519827" y="477152"/>
                  <a:pt x="524960" y="477573"/>
                  <a:pt x="531522" y="477741"/>
                </a:cubicBezTo>
                <a:cubicBezTo>
                  <a:pt x="538085" y="477909"/>
                  <a:pt x="543217" y="477993"/>
                  <a:pt x="546919" y="477993"/>
                </a:cubicBezTo>
                <a:close/>
                <a:moveTo>
                  <a:pt x="3324752" y="482537"/>
                </a:moveTo>
                <a:cubicBezTo>
                  <a:pt x="3341916" y="482537"/>
                  <a:pt x="3354958" y="473198"/>
                  <a:pt x="3363876" y="454519"/>
                </a:cubicBezTo>
                <a:cubicBezTo>
                  <a:pt x="3372794" y="435841"/>
                  <a:pt x="3377254" y="408664"/>
                  <a:pt x="3377254" y="372990"/>
                </a:cubicBezTo>
                <a:cubicBezTo>
                  <a:pt x="3377254" y="336979"/>
                  <a:pt x="3372794" y="309634"/>
                  <a:pt x="3363876" y="290956"/>
                </a:cubicBezTo>
                <a:cubicBezTo>
                  <a:pt x="3354958" y="272277"/>
                  <a:pt x="3341916" y="262938"/>
                  <a:pt x="3324752" y="262938"/>
                </a:cubicBezTo>
                <a:cubicBezTo>
                  <a:pt x="3307924" y="262938"/>
                  <a:pt x="3294968" y="272277"/>
                  <a:pt x="3285880" y="290956"/>
                </a:cubicBezTo>
                <a:cubicBezTo>
                  <a:pt x="3276794" y="309634"/>
                  <a:pt x="3272250" y="336979"/>
                  <a:pt x="3272250" y="372990"/>
                </a:cubicBezTo>
                <a:cubicBezTo>
                  <a:pt x="3272250" y="408664"/>
                  <a:pt x="3276794" y="435841"/>
                  <a:pt x="3285880" y="454519"/>
                </a:cubicBezTo>
                <a:cubicBezTo>
                  <a:pt x="3294968" y="473198"/>
                  <a:pt x="3307924" y="482537"/>
                  <a:pt x="3324752" y="482537"/>
                </a:cubicBezTo>
                <a:close/>
                <a:moveTo>
                  <a:pt x="1323054" y="522923"/>
                </a:moveTo>
                <a:lnTo>
                  <a:pt x="1260961" y="512826"/>
                </a:lnTo>
                <a:lnTo>
                  <a:pt x="1260961" y="453257"/>
                </a:lnTo>
                <a:lnTo>
                  <a:pt x="1206945" y="453257"/>
                </a:lnTo>
                <a:lnTo>
                  <a:pt x="1206945" y="401765"/>
                </a:lnTo>
                <a:lnTo>
                  <a:pt x="1260961" y="401765"/>
                </a:lnTo>
                <a:lnTo>
                  <a:pt x="1260961" y="304334"/>
                </a:lnTo>
                <a:cubicBezTo>
                  <a:pt x="1260961" y="284477"/>
                  <a:pt x="1262980" y="268407"/>
                  <a:pt x="1267019" y="256123"/>
                </a:cubicBezTo>
                <a:cubicBezTo>
                  <a:pt x="1271057" y="243839"/>
                  <a:pt x="1276947" y="234331"/>
                  <a:pt x="1284688" y="227600"/>
                </a:cubicBezTo>
                <a:cubicBezTo>
                  <a:pt x="1292428" y="220869"/>
                  <a:pt x="1301852" y="216326"/>
                  <a:pt x="1312958" y="213970"/>
                </a:cubicBezTo>
                <a:cubicBezTo>
                  <a:pt x="1324064" y="211614"/>
                  <a:pt x="1336853" y="210436"/>
                  <a:pt x="1351325" y="210436"/>
                </a:cubicBezTo>
                <a:cubicBezTo>
                  <a:pt x="1363777" y="210436"/>
                  <a:pt x="1376650" y="211446"/>
                  <a:pt x="1389944" y="213465"/>
                </a:cubicBezTo>
                <a:cubicBezTo>
                  <a:pt x="1403238" y="215484"/>
                  <a:pt x="1415606" y="218850"/>
                  <a:pt x="1427048" y="223562"/>
                </a:cubicBezTo>
                <a:lnTo>
                  <a:pt x="1418466" y="277073"/>
                </a:lnTo>
                <a:cubicBezTo>
                  <a:pt x="1412745" y="274381"/>
                  <a:pt x="1407444" y="272193"/>
                  <a:pt x="1402564" y="270510"/>
                </a:cubicBezTo>
                <a:cubicBezTo>
                  <a:pt x="1397684" y="268828"/>
                  <a:pt x="1392973" y="267566"/>
                  <a:pt x="1388429" y="266724"/>
                </a:cubicBezTo>
                <a:cubicBezTo>
                  <a:pt x="1383886" y="265883"/>
                  <a:pt x="1379174" y="265294"/>
                  <a:pt x="1374294" y="264957"/>
                </a:cubicBezTo>
                <a:cubicBezTo>
                  <a:pt x="1369414" y="264621"/>
                  <a:pt x="1364114" y="264452"/>
                  <a:pt x="1358392" y="264452"/>
                </a:cubicBezTo>
                <a:cubicBezTo>
                  <a:pt x="1353007" y="264452"/>
                  <a:pt x="1348127" y="264957"/>
                  <a:pt x="1343752" y="265967"/>
                </a:cubicBezTo>
                <a:cubicBezTo>
                  <a:pt x="1339377" y="266977"/>
                  <a:pt x="1335675" y="268996"/>
                  <a:pt x="1332646" y="272025"/>
                </a:cubicBezTo>
                <a:cubicBezTo>
                  <a:pt x="1329617" y="275054"/>
                  <a:pt x="1327261" y="279261"/>
                  <a:pt x="1325579" y="284645"/>
                </a:cubicBezTo>
                <a:cubicBezTo>
                  <a:pt x="1323896" y="290030"/>
                  <a:pt x="1323054" y="297098"/>
                  <a:pt x="1323054" y="305848"/>
                </a:cubicBezTo>
                <a:lnTo>
                  <a:pt x="1323054" y="401765"/>
                </a:lnTo>
                <a:lnTo>
                  <a:pt x="1422505" y="401765"/>
                </a:lnTo>
                <a:lnTo>
                  <a:pt x="1422505" y="453257"/>
                </a:lnTo>
                <a:lnTo>
                  <a:pt x="1323054" y="453257"/>
                </a:lnTo>
                <a:close/>
                <a:moveTo>
                  <a:pt x="539852" y="532010"/>
                </a:moveTo>
                <a:cubicBezTo>
                  <a:pt x="534131" y="532010"/>
                  <a:pt x="527568" y="531841"/>
                  <a:pt x="520164" y="531505"/>
                </a:cubicBezTo>
                <a:cubicBezTo>
                  <a:pt x="512760" y="531168"/>
                  <a:pt x="505187" y="530748"/>
                  <a:pt x="497447" y="530243"/>
                </a:cubicBezTo>
                <a:cubicBezTo>
                  <a:pt x="489706" y="529738"/>
                  <a:pt x="482049" y="528981"/>
                  <a:pt x="474477" y="527971"/>
                </a:cubicBezTo>
                <a:cubicBezTo>
                  <a:pt x="466905" y="526961"/>
                  <a:pt x="460090" y="525784"/>
                  <a:pt x="454032" y="524437"/>
                </a:cubicBezTo>
                <a:lnTo>
                  <a:pt x="454032" y="215989"/>
                </a:lnTo>
                <a:lnTo>
                  <a:pt x="516125" y="215989"/>
                </a:lnTo>
                <a:lnTo>
                  <a:pt x="516125" y="321498"/>
                </a:lnTo>
                <a:lnTo>
                  <a:pt x="538337" y="321498"/>
                </a:lnTo>
                <a:cubicBezTo>
                  <a:pt x="578723" y="321498"/>
                  <a:pt x="609938" y="329827"/>
                  <a:pt x="631982" y="346486"/>
                </a:cubicBezTo>
                <a:cubicBezTo>
                  <a:pt x="654026" y="363146"/>
                  <a:pt x="665048" y="390154"/>
                  <a:pt x="665048" y="427511"/>
                </a:cubicBezTo>
                <a:cubicBezTo>
                  <a:pt x="665048" y="464531"/>
                  <a:pt x="654111" y="491203"/>
                  <a:pt x="632235" y="507526"/>
                </a:cubicBezTo>
                <a:cubicBezTo>
                  <a:pt x="610359" y="523848"/>
                  <a:pt x="579565" y="532010"/>
                  <a:pt x="539852" y="532010"/>
                </a:cubicBezTo>
                <a:close/>
                <a:moveTo>
                  <a:pt x="3816452" y="535544"/>
                </a:moveTo>
                <a:cubicBezTo>
                  <a:pt x="3797604" y="535544"/>
                  <a:pt x="3780694" y="532430"/>
                  <a:pt x="3765716" y="526204"/>
                </a:cubicBezTo>
                <a:cubicBezTo>
                  <a:pt x="3750740" y="519978"/>
                  <a:pt x="3738708" y="513836"/>
                  <a:pt x="3729622" y="507778"/>
                </a:cubicBezTo>
                <a:lnTo>
                  <a:pt x="3751834" y="462344"/>
                </a:lnTo>
                <a:cubicBezTo>
                  <a:pt x="3760248" y="468065"/>
                  <a:pt x="3770260" y="472861"/>
                  <a:pt x="3781872" y="476731"/>
                </a:cubicBezTo>
                <a:cubicBezTo>
                  <a:pt x="3793482" y="480602"/>
                  <a:pt x="3805178" y="482537"/>
                  <a:pt x="3816956" y="482537"/>
                </a:cubicBezTo>
                <a:cubicBezTo>
                  <a:pt x="3829072" y="482537"/>
                  <a:pt x="3838580" y="479255"/>
                  <a:pt x="3845480" y="472693"/>
                </a:cubicBezTo>
                <a:cubicBezTo>
                  <a:pt x="3852378" y="466130"/>
                  <a:pt x="3855828" y="457127"/>
                  <a:pt x="3855828" y="445685"/>
                </a:cubicBezTo>
                <a:cubicBezTo>
                  <a:pt x="3855828" y="437944"/>
                  <a:pt x="3854230" y="431550"/>
                  <a:pt x="3851032" y="426501"/>
                </a:cubicBezTo>
                <a:cubicBezTo>
                  <a:pt x="3847836" y="421453"/>
                  <a:pt x="3843712" y="417414"/>
                  <a:pt x="3838664" y="414385"/>
                </a:cubicBezTo>
                <a:cubicBezTo>
                  <a:pt x="3833616" y="411357"/>
                  <a:pt x="3827894" y="409169"/>
                  <a:pt x="3821500" y="407823"/>
                </a:cubicBezTo>
                <a:cubicBezTo>
                  <a:pt x="3815106" y="406477"/>
                  <a:pt x="3808712" y="405803"/>
                  <a:pt x="3802316" y="405803"/>
                </a:cubicBezTo>
                <a:lnTo>
                  <a:pt x="3779094" y="405803"/>
                </a:lnTo>
                <a:lnTo>
                  <a:pt x="3779094" y="354311"/>
                </a:lnTo>
                <a:lnTo>
                  <a:pt x="3798278" y="354311"/>
                </a:lnTo>
                <a:cubicBezTo>
                  <a:pt x="3818470" y="354311"/>
                  <a:pt x="3835130" y="351030"/>
                  <a:pt x="3848256" y="344467"/>
                </a:cubicBezTo>
                <a:cubicBezTo>
                  <a:pt x="3861380" y="337904"/>
                  <a:pt x="3867944" y="326378"/>
                  <a:pt x="3867944" y="309887"/>
                </a:cubicBezTo>
                <a:cubicBezTo>
                  <a:pt x="3867944" y="296425"/>
                  <a:pt x="3863652" y="285150"/>
                  <a:pt x="3855072" y="276063"/>
                </a:cubicBezTo>
                <a:cubicBezTo>
                  <a:pt x="3846488" y="266977"/>
                  <a:pt x="3831596" y="262433"/>
                  <a:pt x="3810394" y="262433"/>
                </a:cubicBezTo>
                <a:cubicBezTo>
                  <a:pt x="3793230" y="262433"/>
                  <a:pt x="3778506" y="264284"/>
                  <a:pt x="3766222" y="267986"/>
                </a:cubicBezTo>
                <a:cubicBezTo>
                  <a:pt x="3753938" y="271688"/>
                  <a:pt x="3743924" y="275222"/>
                  <a:pt x="3736184" y="278588"/>
                </a:cubicBezTo>
                <a:lnTo>
                  <a:pt x="3724068" y="226591"/>
                </a:lnTo>
                <a:cubicBezTo>
                  <a:pt x="3727770" y="224908"/>
                  <a:pt x="3732988" y="223057"/>
                  <a:pt x="3739718" y="221037"/>
                </a:cubicBezTo>
                <a:cubicBezTo>
                  <a:pt x="3746450" y="219018"/>
                  <a:pt x="3753770" y="217167"/>
                  <a:pt x="3761678" y="215484"/>
                </a:cubicBezTo>
                <a:cubicBezTo>
                  <a:pt x="3769588" y="213802"/>
                  <a:pt x="3777832" y="212371"/>
                  <a:pt x="3786414" y="211193"/>
                </a:cubicBezTo>
                <a:cubicBezTo>
                  <a:pt x="3794996" y="210015"/>
                  <a:pt x="3803158" y="209427"/>
                  <a:pt x="3810898" y="209427"/>
                </a:cubicBezTo>
                <a:cubicBezTo>
                  <a:pt x="3831764" y="209427"/>
                  <a:pt x="3849770" y="211867"/>
                  <a:pt x="3864916" y="216746"/>
                </a:cubicBezTo>
                <a:cubicBezTo>
                  <a:pt x="3880060" y="221626"/>
                  <a:pt x="3892512" y="228526"/>
                  <a:pt x="3902272" y="237444"/>
                </a:cubicBezTo>
                <a:cubicBezTo>
                  <a:pt x="3912032" y="246363"/>
                  <a:pt x="3919268" y="256880"/>
                  <a:pt x="3923980" y="268996"/>
                </a:cubicBezTo>
                <a:cubicBezTo>
                  <a:pt x="3928692" y="281112"/>
                  <a:pt x="3931048" y="294405"/>
                  <a:pt x="3931048" y="308877"/>
                </a:cubicBezTo>
                <a:cubicBezTo>
                  <a:pt x="3931048" y="327051"/>
                  <a:pt x="3926588" y="342700"/>
                  <a:pt x="3917668" y="355826"/>
                </a:cubicBezTo>
                <a:cubicBezTo>
                  <a:pt x="3908750" y="368951"/>
                  <a:pt x="3896214" y="378879"/>
                  <a:pt x="3880060" y="385610"/>
                </a:cubicBezTo>
                <a:cubicBezTo>
                  <a:pt x="3891840" y="391668"/>
                  <a:pt x="3901262" y="400419"/>
                  <a:pt x="3908330" y="411861"/>
                </a:cubicBezTo>
                <a:cubicBezTo>
                  <a:pt x="3915398" y="423304"/>
                  <a:pt x="3918932" y="435252"/>
                  <a:pt x="3918932" y="447704"/>
                </a:cubicBezTo>
                <a:cubicBezTo>
                  <a:pt x="3918932" y="460156"/>
                  <a:pt x="3916912" y="471767"/>
                  <a:pt x="3912874" y="482537"/>
                </a:cubicBezTo>
                <a:cubicBezTo>
                  <a:pt x="3908834" y="493306"/>
                  <a:pt x="3902608" y="502646"/>
                  <a:pt x="3894196" y="510555"/>
                </a:cubicBezTo>
                <a:cubicBezTo>
                  <a:pt x="3885780" y="518464"/>
                  <a:pt x="3875096" y="524606"/>
                  <a:pt x="3862138" y="528981"/>
                </a:cubicBezTo>
                <a:cubicBezTo>
                  <a:pt x="3849180" y="533356"/>
                  <a:pt x="3833952" y="535544"/>
                  <a:pt x="3816452" y="535544"/>
                </a:cubicBezTo>
                <a:close/>
                <a:moveTo>
                  <a:pt x="3567354" y="535544"/>
                </a:moveTo>
                <a:cubicBezTo>
                  <a:pt x="3549854" y="535544"/>
                  <a:pt x="3532268" y="532178"/>
                  <a:pt x="3514600" y="525447"/>
                </a:cubicBezTo>
                <a:cubicBezTo>
                  <a:pt x="3496930" y="518716"/>
                  <a:pt x="3481366" y="508283"/>
                  <a:pt x="3467904" y="494148"/>
                </a:cubicBezTo>
                <a:lnTo>
                  <a:pt x="3498698" y="450733"/>
                </a:lnTo>
                <a:cubicBezTo>
                  <a:pt x="3509130" y="461839"/>
                  <a:pt x="3519732" y="469748"/>
                  <a:pt x="3530502" y="474460"/>
                </a:cubicBezTo>
                <a:cubicBezTo>
                  <a:pt x="3541272" y="479171"/>
                  <a:pt x="3551536" y="481527"/>
                  <a:pt x="3561296" y="481527"/>
                </a:cubicBezTo>
                <a:cubicBezTo>
                  <a:pt x="3573076" y="481527"/>
                  <a:pt x="3582836" y="478078"/>
                  <a:pt x="3590576" y="471178"/>
                </a:cubicBezTo>
                <a:cubicBezTo>
                  <a:pt x="3598316" y="464279"/>
                  <a:pt x="3602186" y="454435"/>
                  <a:pt x="3602188" y="441646"/>
                </a:cubicBezTo>
                <a:cubicBezTo>
                  <a:pt x="3602186" y="432559"/>
                  <a:pt x="3599074" y="423641"/>
                  <a:pt x="3592848" y="414890"/>
                </a:cubicBezTo>
                <a:cubicBezTo>
                  <a:pt x="3586622" y="406140"/>
                  <a:pt x="3578712" y="397053"/>
                  <a:pt x="3569120" y="387630"/>
                </a:cubicBezTo>
                <a:cubicBezTo>
                  <a:pt x="3559528" y="378206"/>
                  <a:pt x="3549264" y="368362"/>
                  <a:pt x="3538326" y="358097"/>
                </a:cubicBezTo>
                <a:cubicBezTo>
                  <a:pt x="3527388" y="347833"/>
                  <a:pt x="3517124" y="336727"/>
                  <a:pt x="3507532" y="324779"/>
                </a:cubicBezTo>
                <a:cubicBezTo>
                  <a:pt x="3497940" y="312831"/>
                  <a:pt x="3490032" y="299790"/>
                  <a:pt x="3483806" y="285655"/>
                </a:cubicBezTo>
                <a:cubicBezTo>
                  <a:pt x="3477580" y="271520"/>
                  <a:pt x="3474466" y="256039"/>
                  <a:pt x="3474466" y="239211"/>
                </a:cubicBezTo>
                <a:cubicBezTo>
                  <a:pt x="3474466" y="237192"/>
                  <a:pt x="3474382" y="233658"/>
                  <a:pt x="3474214" y="228610"/>
                </a:cubicBezTo>
                <a:cubicBezTo>
                  <a:pt x="3474046" y="223562"/>
                  <a:pt x="3474466" y="219355"/>
                  <a:pt x="3475476" y="215989"/>
                </a:cubicBezTo>
                <a:lnTo>
                  <a:pt x="3679426" y="215989"/>
                </a:lnTo>
                <a:lnTo>
                  <a:pt x="3679426" y="267481"/>
                </a:lnTo>
                <a:lnTo>
                  <a:pt x="3545142" y="267481"/>
                </a:lnTo>
                <a:cubicBezTo>
                  <a:pt x="3545142" y="272530"/>
                  <a:pt x="3546908" y="278083"/>
                  <a:pt x="3550442" y="284141"/>
                </a:cubicBezTo>
                <a:cubicBezTo>
                  <a:pt x="3553976" y="290198"/>
                  <a:pt x="3558268" y="296172"/>
                  <a:pt x="3563316" y="302062"/>
                </a:cubicBezTo>
                <a:cubicBezTo>
                  <a:pt x="3568364" y="307952"/>
                  <a:pt x="3573748" y="313673"/>
                  <a:pt x="3579470" y="319226"/>
                </a:cubicBezTo>
                <a:cubicBezTo>
                  <a:pt x="3585190" y="324779"/>
                  <a:pt x="3590240" y="329575"/>
                  <a:pt x="3594614" y="333613"/>
                </a:cubicBezTo>
                <a:cubicBezTo>
                  <a:pt x="3603364" y="341691"/>
                  <a:pt x="3611946" y="350104"/>
                  <a:pt x="3620360" y="358855"/>
                </a:cubicBezTo>
                <a:cubicBezTo>
                  <a:pt x="3628774" y="367605"/>
                  <a:pt x="3636346" y="376692"/>
                  <a:pt x="3643078" y="386115"/>
                </a:cubicBezTo>
                <a:cubicBezTo>
                  <a:pt x="3649808" y="395539"/>
                  <a:pt x="3655194" y="405214"/>
                  <a:pt x="3659232" y="415143"/>
                </a:cubicBezTo>
                <a:cubicBezTo>
                  <a:pt x="3663270" y="425071"/>
                  <a:pt x="3665290" y="435420"/>
                  <a:pt x="3665290" y="446189"/>
                </a:cubicBezTo>
                <a:cubicBezTo>
                  <a:pt x="3665290" y="460998"/>
                  <a:pt x="3662598" y="474039"/>
                  <a:pt x="3657212" y="485313"/>
                </a:cubicBezTo>
                <a:cubicBezTo>
                  <a:pt x="3651828" y="496588"/>
                  <a:pt x="3644592" y="505927"/>
                  <a:pt x="3635506" y="513331"/>
                </a:cubicBezTo>
                <a:cubicBezTo>
                  <a:pt x="3626418" y="520735"/>
                  <a:pt x="3615986" y="526288"/>
                  <a:pt x="3604206" y="529990"/>
                </a:cubicBezTo>
                <a:cubicBezTo>
                  <a:pt x="3592426" y="533692"/>
                  <a:pt x="3580142" y="535544"/>
                  <a:pt x="3567354" y="535544"/>
                </a:cubicBezTo>
                <a:close/>
                <a:moveTo>
                  <a:pt x="3324752" y="535544"/>
                </a:moveTo>
                <a:cubicBezTo>
                  <a:pt x="3290088" y="535544"/>
                  <a:pt x="3263332" y="522081"/>
                  <a:pt x="3244486" y="495157"/>
                </a:cubicBezTo>
                <a:cubicBezTo>
                  <a:pt x="3225638" y="468233"/>
                  <a:pt x="3216214" y="427511"/>
                  <a:pt x="3216214" y="372990"/>
                </a:cubicBezTo>
                <a:cubicBezTo>
                  <a:pt x="3216214" y="317796"/>
                  <a:pt x="3225470" y="276737"/>
                  <a:pt x="3243980" y="249813"/>
                </a:cubicBezTo>
                <a:cubicBezTo>
                  <a:pt x="3262490" y="222889"/>
                  <a:pt x="3289414" y="209427"/>
                  <a:pt x="3324752" y="209427"/>
                </a:cubicBezTo>
                <a:cubicBezTo>
                  <a:pt x="3360090" y="209427"/>
                  <a:pt x="3387014" y="222889"/>
                  <a:pt x="3405524" y="249813"/>
                </a:cubicBezTo>
                <a:cubicBezTo>
                  <a:pt x="3424034" y="276737"/>
                  <a:pt x="3433290" y="317796"/>
                  <a:pt x="3433290" y="372990"/>
                </a:cubicBezTo>
                <a:cubicBezTo>
                  <a:pt x="3433290" y="427847"/>
                  <a:pt x="3424034" y="468654"/>
                  <a:pt x="3405524" y="495410"/>
                </a:cubicBezTo>
                <a:cubicBezTo>
                  <a:pt x="3387014" y="522166"/>
                  <a:pt x="3360090" y="535544"/>
                  <a:pt x="3324752" y="535544"/>
                </a:cubicBezTo>
                <a:close/>
                <a:moveTo>
                  <a:pt x="3062528" y="535544"/>
                </a:moveTo>
                <a:cubicBezTo>
                  <a:pt x="3045028" y="535544"/>
                  <a:pt x="3027444" y="532178"/>
                  <a:pt x="3009774" y="525447"/>
                </a:cubicBezTo>
                <a:cubicBezTo>
                  <a:pt x="2992106" y="518716"/>
                  <a:pt x="2976540" y="508283"/>
                  <a:pt x="2963078" y="494148"/>
                </a:cubicBezTo>
                <a:lnTo>
                  <a:pt x="2993872" y="450733"/>
                </a:lnTo>
                <a:cubicBezTo>
                  <a:pt x="3004306" y="461839"/>
                  <a:pt x="3014908" y="469748"/>
                  <a:pt x="3025676" y="474460"/>
                </a:cubicBezTo>
                <a:cubicBezTo>
                  <a:pt x="3036446" y="479171"/>
                  <a:pt x="3046712" y="481527"/>
                  <a:pt x="3056472" y="481527"/>
                </a:cubicBezTo>
                <a:cubicBezTo>
                  <a:pt x="3068250" y="481527"/>
                  <a:pt x="3078010" y="478078"/>
                  <a:pt x="3085752" y="471178"/>
                </a:cubicBezTo>
                <a:cubicBezTo>
                  <a:pt x="3093492" y="464279"/>
                  <a:pt x="3097362" y="454435"/>
                  <a:pt x="3097362" y="441646"/>
                </a:cubicBezTo>
                <a:cubicBezTo>
                  <a:pt x="3097362" y="432559"/>
                  <a:pt x="3094248" y="423641"/>
                  <a:pt x="3088022" y="414890"/>
                </a:cubicBezTo>
                <a:cubicBezTo>
                  <a:pt x="3081796" y="406140"/>
                  <a:pt x="3073888" y="397053"/>
                  <a:pt x="3064296" y="387630"/>
                </a:cubicBezTo>
                <a:cubicBezTo>
                  <a:pt x="3054704" y="378206"/>
                  <a:pt x="3044440" y="368362"/>
                  <a:pt x="3033502" y="358097"/>
                </a:cubicBezTo>
                <a:cubicBezTo>
                  <a:pt x="3022564" y="347833"/>
                  <a:pt x="3012298" y="336727"/>
                  <a:pt x="3002708" y="324779"/>
                </a:cubicBezTo>
                <a:cubicBezTo>
                  <a:pt x="2993116" y="312831"/>
                  <a:pt x="2985206" y="299790"/>
                  <a:pt x="2978980" y="285655"/>
                </a:cubicBezTo>
                <a:cubicBezTo>
                  <a:pt x="2972754" y="271520"/>
                  <a:pt x="2969642" y="256039"/>
                  <a:pt x="2969642" y="239211"/>
                </a:cubicBezTo>
                <a:cubicBezTo>
                  <a:pt x="2969642" y="237192"/>
                  <a:pt x="2969558" y="233658"/>
                  <a:pt x="2969388" y="228610"/>
                </a:cubicBezTo>
                <a:cubicBezTo>
                  <a:pt x="2969220" y="223562"/>
                  <a:pt x="2969640" y="219355"/>
                  <a:pt x="2970650" y="215989"/>
                </a:cubicBezTo>
                <a:lnTo>
                  <a:pt x="3174600" y="215989"/>
                </a:lnTo>
                <a:lnTo>
                  <a:pt x="3174600" y="267481"/>
                </a:lnTo>
                <a:lnTo>
                  <a:pt x="3040316" y="267481"/>
                </a:lnTo>
                <a:cubicBezTo>
                  <a:pt x="3040316" y="272530"/>
                  <a:pt x="3042084" y="278083"/>
                  <a:pt x="3045618" y="284141"/>
                </a:cubicBezTo>
                <a:cubicBezTo>
                  <a:pt x="3049152" y="290198"/>
                  <a:pt x="3053442" y="296172"/>
                  <a:pt x="3058490" y="302062"/>
                </a:cubicBezTo>
                <a:cubicBezTo>
                  <a:pt x="3063538" y="307952"/>
                  <a:pt x="3068924" y="313673"/>
                  <a:pt x="3074644" y="319226"/>
                </a:cubicBezTo>
                <a:cubicBezTo>
                  <a:pt x="3080366" y="324779"/>
                  <a:pt x="3085414" y="329575"/>
                  <a:pt x="3089790" y="333613"/>
                </a:cubicBezTo>
                <a:cubicBezTo>
                  <a:pt x="3098540" y="341691"/>
                  <a:pt x="3107122" y="350104"/>
                  <a:pt x="3115536" y="358855"/>
                </a:cubicBezTo>
                <a:cubicBezTo>
                  <a:pt x="3123950" y="367605"/>
                  <a:pt x="3131522" y="376692"/>
                  <a:pt x="3138252" y="386115"/>
                </a:cubicBezTo>
                <a:cubicBezTo>
                  <a:pt x="3144984" y="395539"/>
                  <a:pt x="3150368" y="405214"/>
                  <a:pt x="3154408" y="415143"/>
                </a:cubicBezTo>
                <a:cubicBezTo>
                  <a:pt x="3158446" y="425071"/>
                  <a:pt x="3160464" y="435420"/>
                  <a:pt x="3160464" y="446189"/>
                </a:cubicBezTo>
                <a:cubicBezTo>
                  <a:pt x="3160464" y="460998"/>
                  <a:pt x="3157772" y="474039"/>
                  <a:pt x="3152388" y="485313"/>
                </a:cubicBezTo>
                <a:cubicBezTo>
                  <a:pt x="3147002" y="496588"/>
                  <a:pt x="3139766" y="505927"/>
                  <a:pt x="3130680" y="513331"/>
                </a:cubicBezTo>
                <a:cubicBezTo>
                  <a:pt x="3121594" y="520735"/>
                  <a:pt x="3111160" y="526288"/>
                  <a:pt x="3099382" y="529990"/>
                </a:cubicBezTo>
                <a:cubicBezTo>
                  <a:pt x="3087602" y="533692"/>
                  <a:pt x="3075318" y="535544"/>
                  <a:pt x="3062528" y="535544"/>
                </a:cubicBezTo>
                <a:close/>
                <a:moveTo>
                  <a:pt x="2292890" y="561290"/>
                </a:moveTo>
                <a:cubicBezTo>
                  <a:pt x="2282120" y="561290"/>
                  <a:pt x="2272949" y="557756"/>
                  <a:pt x="2265377" y="550688"/>
                </a:cubicBezTo>
                <a:cubicBezTo>
                  <a:pt x="2257805" y="543621"/>
                  <a:pt x="2254018" y="533861"/>
                  <a:pt x="2254018" y="521408"/>
                </a:cubicBezTo>
                <a:cubicBezTo>
                  <a:pt x="2254018" y="509293"/>
                  <a:pt x="2257805" y="499701"/>
                  <a:pt x="2265377" y="492633"/>
                </a:cubicBezTo>
                <a:cubicBezTo>
                  <a:pt x="2272949" y="485566"/>
                  <a:pt x="2282120" y="482032"/>
                  <a:pt x="2292890" y="482032"/>
                </a:cubicBezTo>
                <a:cubicBezTo>
                  <a:pt x="2303660" y="482032"/>
                  <a:pt x="2312914" y="485566"/>
                  <a:pt x="2320655" y="492633"/>
                </a:cubicBezTo>
                <a:cubicBezTo>
                  <a:pt x="2328396" y="499701"/>
                  <a:pt x="2332266" y="509293"/>
                  <a:pt x="2332266" y="521408"/>
                </a:cubicBezTo>
                <a:cubicBezTo>
                  <a:pt x="2332266" y="533861"/>
                  <a:pt x="2328396" y="543621"/>
                  <a:pt x="2320655" y="550688"/>
                </a:cubicBezTo>
                <a:cubicBezTo>
                  <a:pt x="2312914" y="557756"/>
                  <a:pt x="2303660" y="561290"/>
                  <a:pt x="2292890" y="561290"/>
                </a:cubicBezTo>
                <a:close/>
                <a:moveTo>
                  <a:pt x="1959420" y="563309"/>
                </a:moveTo>
                <a:lnTo>
                  <a:pt x="1959420" y="511817"/>
                </a:lnTo>
                <a:lnTo>
                  <a:pt x="2025047" y="511817"/>
                </a:lnTo>
                <a:lnTo>
                  <a:pt x="2025047" y="310392"/>
                </a:lnTo>
                <a:cubicBezTo>
                  <a:pt x="2025047" y="277746"/>
                  <a:pt x="2031610" y="252926"/>
                  <a:pt x="2044735" y="235930"/>
                </a:cubicBezTo>
                <a:cubicBezTo>
                  <a:pt x="2057860" y="218934"/>
                  <a:pt x="2078727" y="210436"/>
                  <a:pt x="2107333" y="210436"/>
                </a:cubicBezTo>
                <a:cubicBezTo>
                  <a:pt x="2117767" y="210436"/>
                  <a:pt x="2127106" y="211109"/>
                  <a:pt x="2135351" y="212455"/>
                </a:cubicBezTo>
                <a:cubicBezTo>
                  <a:pt x="2143597" y="213802"/>
                  <a:pt x="2150580" y="215400"/>
                  <a:pt x="2156302" y="217251"/>
                </a:cubicBezTo>
                <a:cubicBezTo>
                  <a:pt x="2162023" y="219102"/>
                  <a:pt x="2166650" y="220869"/>
                  <a:pt x="2170184" y="222552"/>
                </a:cubicBezTo>
                <a:cubicBezTo>
                  <a:pt x="2173718" y="224235"/>
                  <a:pt x="2175990" y="225413"/>
                  <a:pt x="2176999" y="226086"/>
                </a:cubicBezTo>
                <a:lnTo>
                  <a:pt x="2168922" y="276063"/>
                </a:lnTo>
                <a:cubicBezTo>
                  <a:pt x="2166230" y="275054"/>
                  <a:pt x="2160677" y="272866"/>
                  <a:pt x="2152263" y="269501"/>
                </a:cubicBezTo>
                <a:cubicBezTo>
                  <a:pt x="2143849" y="266135"/>
                  <a:pt x="2133416" y="264452"/>
                  <a:pt x="2120964" y="264452"/>
                </a:cubicBezTo>
                <a:cubicBezTo>
                  <a:pt x="2111204" y="264452"/>
                  <a:pt x="2103126" y="267313"/>
                  <a:pt x="2096732" y="273034"/>
                </a:cubicBezTo>
                <a:cubicBezTo>
                  <a:pt x="2090338" y="278756"/>
                  <a:pt x="2087140" y="289694"/>
                  <a:pt x="2087140" y="305848"/>
                </a:cubicBezTo>
                <a:lnTo>
                  <a:pt x="2087140" y="563309"/>
                </a:lnTo>
                <a:close/>
                <a:moveTo>
                  <a:pt x="1607052" y="565833"/>
                </a:moveTo>
                <a:cubicBezTo>
                  <a:pt x="1594263" y="565833"/>
                  <a:pt x="1581811" y="564234"/>
                  <a:pt x="1569695" y="561037"/>
                </a:cubicBezTo>
                <a:cubicBezTo>
                  <a:pt x="1557579" y="557840"/>
                  <a:pt x="1546810" y="552455"/>
                  <a:pt x="1537386" y="544883"/>
                </a:cubicBezTo>
                <a:cubicBezTo>
                  <a:pt x="1527963" y="537310"/>
                  <a:pt x="1520474" y="527214"/>
                  <a:pt x="1514921" y="514593"/>
                </a:cubicBezTo>
                <a:cubicBezTo>
                  <a:pt x="1509368" y="501973"/>
                  <a:pt x="1506592" y="486071"/>
                  <a:pt x="1506592" y="466887"/>
                </a:cubicBezTo>
                <a:lnTo>
                  <a:pt x="1506592" y="453257"/>
                </a:lnTo>
                <a:lnTo>
                  <a:pt x="1454595" y="453257"/>
                </a:lnTo>
                <a:lnTo>
                  <a:pt x="1454595" y="401765"/>
                </a:lnTo>
                <a:lnTo>
                  <a:pt x="1506592" y="401765"/>
                </a:lnTo>
                <a:lnTo>
                  <a:pt x="1506592" y="215989"/>
                </a:lnTo>
                <a:lnTo>
                  <a:pt x="1569190" y="215989"/>
                </a:lnTo>
                <a:lnTo>
                  <a:pt x="1569190" y="401765"/>
                </a:lnTo>
                <a:lnTo>
                  <a:pt x="1666621" y="401765"/>
                </a:lnTo>
                <a:lnTo>
                  <a:pt x="1666621" y="453257"/>
                </a:lnTo>
                <a:lnTo>
                  <a:pt x="1569190" y="453257"/>
                </a:lnTo>
                <a:lnTo>
                  <a:pt x="1569190" y="465878"/>
                </a:lnTo>
                <a:cubicBezTo>
                  <a:pt x="1569190" y="475974"/>
                  <a:pt x="1570368" y="484135"/>
                  <a:pt x="1572724" y="490362"/>
                </a:cubicBezTo>
                <a:cubicBezTo>
                  <a:pt x="1575080" y="496588"/>
                  <a:pt x="1578193" y="501384"/>
                  <a:pt x="1582063" y="504749"/>
                </a:cubicBezTo>
                <a:cubicBezTo>
                  <a:pt x="1585933" y="508115"/>
                  <a:pt x="1590477" y="510302"/>
                  <a:pt x="1595693" y="511312"/>
                </a:cubicBezTo>
                <a:cubicBezTo>
                  <a:pt x="1600910" y="512322"/>
                  <a:pt x="1606379" y="512826"/>
                  <a:pt x="1612100" y="512826"/>
                </a:cubicBezTo>
                <a:cubicBezTo>
                  <a:pt x="1622533" y="512826"/>
                  <a:pt x="1633555" y="511396"/>
                  <a:pt x="1645166" y="508535"/>
                </a:cubicBezTo>
                <a:cubicBezTo>
                  <a:pt x="1656777" y="505675"/>
                  <a:pt x="1666453" y="502898"/>
                  <a:pt x="1674194" y="500206"/>
                </a:cubicBezTo>
                <a:lnTo>
                  <a:pt x="1684795" y="550688"/>
                </a:lnTo>
                <a:cubicBezTo>
                  <a:pt x="1673689" y="556073"/>
                  <a:pt x="1661236" y="559943"/>
                  <a:pt x="1647438" y="562299"/>
                </a:cubicBezTo>
                <a:cubicBezTo>
                  <a:pt x="1633639" y="564655"/>
                  <a:pt x="1620178" y="565833"/>
                  <a:pt x="1607052" y="565833"/>
                </a:cubicBezTo>
                <a:close/>
                <a:moveTo>
                  <a:pt x="0" y="796029"/>
                </a:moveTo>
                <a:lnTo>
                  <a:pt x="4876802" y="796029"/>
                </a:lnTo>
                <a:lnTo>
                  <a:pt x="4824822" y="344498"/>
                </a:lnTo>
                <a:cubicBezTo>
                  <a:pt x="4801968" y="145891"/>
                  <a:pt x="4682292" y="207"/>
                  <a:pt x="4541980" y="155"/>
                </a:cubicBezTo>
                <a:lnTo>
                  <a:pt x="0" y="0"/>
                </a:lnTo>
                <a:close/>
              </a:path>
            </a:pathLst>
          </a:custGeom>
          <a:solidFill>
            <a:schemeClr val="bg1"/>
          </a:solidFill>
          <a:ln w="2834" cap="flat">
            <a:noFill/>
            <a:prstDash val="solid"/>
            <a:miter/>
          </a:ln>
        </p:spPr>
        <p:txBody>
          <a:bodyPr wrap="square" rtlCol="0" anchor="ctr">
            <a:noAutofit/>
          </a:bodyPr>
          <a:lstStyle/>
          <a:p>
            <a:endParaRPr lang="en-US" dirty="0"/>
          </a:p>
        </p:txBody>
      </p:sp>
      <p:pic>
        <p:nvPicPr>
          <p:cNvPr id="8" name="Imagen 7" descr="Un dibujo de una cara feliz&#10;&#10;Descripción generada automáticamente con confianza baja">
            <a:extLst>
              <a:ext uri="{FF2B5EF4-FFF2-40B4-BE49-F238E27FC236}">
                <a16:creationId xmlns:a16="http://schemas.microsoft.com/office/drawing/2014/main" id="{A82FAAE7-F450-2EFB-B470-9CA2B285AACF}"/>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7824450" y="406400"/>
            <a:ext cx="1801936" cy="934010"/>
          </a:xfrm>
          <a:prstGeom prst="rect">
            <a:avLst/>
          </a:prstGeom>
        </p:spPr>
      </p:pic>
      <p:sp>
        <p:nvSpPr>
          <p:cNvPr id="3" name="Título 2">
            <a:extLst>
              <a:ext uri="{FF2B5EF4-FFF2-40B4-BE49-F238E27FC236}">
                <a16:creationId xmlns:a16="http://schemas.microsoft.com/office/drawing/2014/main" id="{026D4898-5AF3-A17A-C193-D7C598C3FCF2}"/>
              </a:ext>
            </a:extLst>
          </p:cNvPr>
          <p:cNvSpPr>
            <a:spLocks noGrp="1"/>
          </p:cNvSpPr>
          <p:nvPr>
            <p:ph type="title"/>
          </p:nvPr>
        </p:nvSpPr>
        <p:spPr/>
        <p:txBody>
          <a:bodyPr/>
          <a:lstStyle/>
          <a:p>
            <a:r>
              <a:rPr lang="es-ES"/>
              <a:t>Haga clic para modificar el estilo de título del patrón</a:t>
            </a:r>
          </a:p>
        </p:txBody>
      </p:sp>
    </p:spTree>
    <p:extLst>
      <p:ext uri="{BB962C8B-B14F-4D97-AF65-F5344CB8AC3E}">
        <p14:creationId xmlns:p14="http://schemas.microsoft.com/office/powerpoint/2010/main" val="159750402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10" name="object 8">
            <a:extLst>
              <a:ext uri="{FF2B5EF4-FFF2-40B4-BE49-F238E27FC236}">
                <a16:creationId xmlns:a16="http://schemas.microsoft.com/office/drawing/2014/main" id="{64FDD5CB-BB2B-9182-C394-A648D0A36298}"/>
              </a:ext>
            </a:extLst>
          </p:cNvPr>
          <p:cNvSpPr/>
          <p:nvPr userDrawn="1"/>
        </p:nvSpPr>
        <p:spPr>
          <a:xfrm>
            <a:off x="14700250" y="2387600"/>
            <a:ext cx="2245995" cy="1282065"/>
          </a:xfrm>
          <a:custGeom>
            <a:avLst/>
            <a:gdLst/>
            <a:ahLst/>
            <a:cxnLst/>
            <a:rect l="l" t="t" r="r" b="b"/>
            <a:pathLst>
              <a:path w="2245994" h="1282064">
                <a:moveTo>
                  <a:pt x="1131978" y="0"/>
                </a:moveTo>
                <a:lnTo>
                  <a:pt x="1084968" y="5934"/>
                </a:lnTo>
                <a:lnTo>
                  <a:pt x="1040423" y="23737"/>
                </a:lnTo>
                <a:lnTo>
                  <a:pt x="30516" y="576516"/>
                </a:lnTo>
                <a:lnTo>
                  <a:pt x="0" y="627670"/>
                </a:lnTo>
                <a:lnTo>
                  <a:pt x="7629" y="656443"/>
                </a:lnTo>
                <a:lnTo>
                  <a:pt x="30516" y="678824"/>
                </a:lnTo>
                <a:lnTo>
                  <a:pt x="1024206" y="1258154"/>
                </a:lnTo>
                <a:lnTo>
                  <a:pt x="1068753" y="1275957"/>
                </a:lnTo>
                <a:lnTo>
                  <a:pt x="1115767" y="1281892"/>
                </a:lnTo>
                <a:lnTo>
                  <a:pt x="1162780" y="1275957"/>
                </a:lnTo>
                <a:lnTo>
                  <a:pt x="1207327" y="1258154"/>
                </a:lnTo>
                <a:lnTo>
                  <a:pt x="2215061" y="681635"/>
                </a:lnTo>
                <a:lnTo>
                  <a:pt x="2237948" y="659254"/>
                </a:lnTo>
                <a:lnTo>
                  <a:pt x="2245577" y="630481"/>
                </a:lnTo>
                <a:lnTo>
                  <a:pt x="2237948" y="601708"/>
                </a:lnTo>
                <a:lnTo>
                  <a:pt x="2215061" y="579327"/>
                </a:lnTo>
                <a:lnTo>
                  <a:pt x="1223534" y="23737"/>
                </a:lnTo>
                <a:lnTo>
                  <a:pt x="1178988" y="5934"/>
                </a:lnTo>
                <a:lnTo>
                  <a:pt x="1131978" y="0"/>
                </a:lnTo>
                <a:close/>
              </a:path>
            </a:pathLst>
          </a:custGeom>
          <a:solidFill>
            <a:srgbClr val="FFFFFF">
              <a:alpha val="69999"/>
            </a:srgbClr>
          </a:solidFill>
        </p:spPr>
        <p:txBody>
          <a:bodyPr wrap="square" lIns="0" tIns="0" rIns="0" bIns="0" rtlCol="0"/>
          <a:lstStyle/>
          <a:p>
            <a:endParaRPr/>
          </a:p>
        </p:txBody>
      </p:sp>
      <p:sp>
        <p:nvSpPr>
          <p:cNvPr id="5" name="object 4">
            <a:extLst>
              <a:ext uri="{FF2B5EF4-FFF2-40B4-BE49-F238E27FC236}">
                <a16:creationId xmlns:a16="http://schemas.microsoft.com/office/drawing/2014/main" id="{3E62F7C3-1F1B-4AA0-DD89-16F8379348E7}"/>
              </a:ext>
            </a:extLst>
          </p:cNvPr>
          <p:cNvSpPr/>
          <p:nvPr/>
        </p:nvSpPr>
        <p:spPr>
          <a:xfrm>
            <a:off x="16066193" y="2112058"/>
            <a:ext cx="4037965" cy="3899535"/>
          </a:xfrm>
          <a:custGeom>
            <a:avLst/>
            <a:gdLst/>
            <a:ahLst/>
            <a:cxnLst/>
            <a:rect l="l" t="t" r="r" b="b"/>
            <a:pathLst>
              <a:path w="4037965" h="3899535">
                <a:moveTo>
                  <a:pt x="3441969" y="0"/>
                </a:moveTo>
                <a:lnTo>
                  <a:pt x="3393889" y="2003"/>
                </a:lnTo>
                <a:lnTo>
                  <a:pt x="3346133" y="8021"/>
                </a:lnTo>
                <a:lnTo>
                  <a:pt x="3298932" y="18050"/>
                </a:lnTo>
                <a:lnTo>
                  <a:pt x="3252564" y="32090"/>
                </a:lnTo>
                <a:lnTo>
                  <a:pt x="3207307" y="50142"/>
                </a:lnTo>
                <a:lnTo>
                  <a:pt x="3163439" y="72206"/>
                </a:lnTo>
                <a:lnTo>
                  <a:pt x="91681" y="1753563"/>
                </a:lnTo>
                <a:lnTo>
                  <a:pt x="55008" y="1780171"/>
                </a:lnTo>
                <a:lnTo>
                  <a:pt x="27504" y="1812754"/>
                </a:lnTo>
                <a:lnTo>
                  <a:pt x="9168" y="1849605"/>
                </a:lnTo>
                <a:lnTo>
                  <a:pt x="0" y="1889017"/>
                </a:lnTo>
                <a:lnTo>
                  <a:pt x="0" y="1929283"/>
                </a:lnTo>
                <a:lnTo>
                  <a:pt x="9168" y="1968696"/>
                </a:lnTo>
                <a:lnTo>
                  <a:pt x="27504" y="2005547"/>
                </a:lnTo>
                <a:lnTo>
                  <a:pt x="55008" y="2038130"/>
                </a:lnTo>
                <a:lnTo>
                  <a:pt x="91681" y="2064738"/>
                </a:lnTo>
                <a:lnTo>
                  <a:pt x="3114129" y="3826856"/>
                </a:lnTo>
                <a:lnTo>
                  <a:pt x="3157998" y="3848920"/>
                </a:lnTo>
                <a:lnTo>
                  <a:pt x="3203255" y="3866972"/>
                </a:lnTo>
                <a:lnTo>
                  <a:pt x="3249623" y="3881012"/>
                </a:lnTo>
                <a:lnTo>
                  <a:pt x="3296824" y="3891041"/>
                </a:lnTo>
                <a:lnTo>
                  <a:pt x="3344580" y="3897059"/>
                </a:lnTo>
                <a:lnTo>
                  <a:pt x="3392614" y="3899064"/>
                </a:lnTo>
                <a:lnTo>
                  <a:pt x="3440648" y="3897059"/>
                </a:lnTo>
                <a:lnTo>
                  <a:pt x="3488404" y="3891041"/>
                </a:lnTo>
                <a:lnTo>
                  <a:pt x="3535605" y="3881012"/>
                </a:lnTo>
                <a:lnTo>
                  <a:pt x="3581973" y="3866972"/>
                </a:lnTo>
                <a:lnTo>
                  <a:pt x="3627230" y="3848920"/>
                </a:lnTo>
                <a:lnTo>
                  <a:pt x="3671099" y="3826856"/>
                </a:lnTo>
                <a:lnTo>
                  <a:pt x="4037905" y="3617012"/>
                </a:lnTo>
                <a:lnTo>
                  <a:pt x="4037905" y="250111"/>
                </a:lnTo>
                <a:lnTo>
                  <a:pt x="3720408" y="72206"/>
                </a:lnTo>
                <a:lnTo>
                  <a:pt x="3676540" y="50142"/>
                </a:lnTo>
                <a:lnTo>
                  <a:pt x="3631283" y="32090"/>
                </a:lnTo>
                <a:lnTo>
                  <a:pt x="3584915" y="18050"/>
                </a:lnTo>
                <a:lnTo>
                  <a:pt x="3537714" y="8021"/>
                </a:lnTo>
                <a:lnTo>
                  <a:pt x="3489958" y="2003"/>
                </a:lnTo>
                <a:lnTo>
                  <a:pt x="3441969" y="0"/>
                </a:lnTo>
                <a:close/>
              </a:path>
            </a:pathLst>
          </a:custGeom>
          <a:solidFill>
            <a:srgbClr val="FFFFFF">
              <a:alpha val="69999"/>
            </a:srgbClr>
          </a:solidFill>
        </p:spPr>
        <p:txBody>
          <a:bodyPr wrap="square" lIns="0" tIns="0" rIns="0" bIns="0" rtlCol="0"/>
          <a:lstStyle/>
          <a:p>
            <a:endParaRPr/>
          </a:p>
        </p:txBody>
      </p:sp>
      <p:sp>
        <p:nvSpPr>
          <p:cNvPr id="2" name="Holder 2"/>
          <p:cNvSpPr>
            <a:spLocks noGrp="1"/>
          </p:cNvSpPr>
          <p:nvPr>
            <p:ph type="title"/>
          </p:nvPr>
        </p:nvSpPr>
        <p:spPr/>
        <p:txBody>
          <a:bodyPr lIns="0" tIns="0" rIns="0" bIns="0"/>
          <a:lstStyle>
            <a:lvl1pPr>
              <a:defRPr sz="4900" b="0" i="0">
                <a:solidFill>
                  <a:srgbClr val="2B0A3D"/>
                </a:solidFill>
                <a:latin typeface="Ubuntu Light"/>
                <a:cs typeface="Ubuntu Light"/>
              </a:defRPr>
            </a:lvl1pPr>
          </a:lstStyle>
          <a:p>
            <a:endParaRPr dirty="0"/>
          </a:p>
        </p:txBody>
      </p:sp>
      <p:sp>
        <p:nvSpPr>
          <p:cNvPr id="12" name="Marcador de pie de página 11">
            <a:extLst>
              <a:ext uri="{FF2B5EF4-FFF2-40B4-BE49-F238E27FC236}">
                <a16:creationId xmlns:a16="http://schemas.microsoft.com/office/drawing/2014/main" id="{1ACC5C5B-5E0C-897F-54C9-1D842CC0A6D9}"/>
              </a:ext>
            </a:extLst>
          </p:cNvPr>
          <p:cNvSpPr>
            <a:spLocks noGrp="1"/>
          </p:cNvSpPr>
          <p:nvPr>
            <p:ph type="ftr" sz="quarter" idx="10"/>
          </p:nvPr>
        </p:nvSpPr>
        <p:spPr>
          <a:xfrm>
            <a:off x="16376651" y="10759212"/>
            <a:ext cx="3233768" cy="238988"/>
          </a:xfrm>
          <a:prstGeom prst="rect">
            <a:avLst/>
          </a:prstGeom>
        </p:spPr>
        <p:txBody>
          <a:bodyPr/>
          <a:lstStyle/>
          <a:p>
            <a:pPr marL="26034">
              <a:lnSpc>
                <a:spcPct val="100000"/>
              </a:lnSpc>
              <a:spcBef>
                <a:spcPts val="30"/>
              </a:spcBef>
            </a:pPr>
            <a:r>
              <a:rPr lang="es-ES" dirty="0">
                <a:solidFill>
                  <a:srgbClr val="666666"/>
                </a:solidFill>
              </a:rPr>
              <a:t>Public © 2023 Sogeti. </a:t>
            </a:r>
            <a:r>
              <a:rPr lang="es-ES" dirty="0" err="1">
                <a:solidFill>
                  <a:srgbClr val="666666"/>
                </a:solidFill>
              </a:rPr>
              <a:t>All</a:t>
            </a:r>
            <a:r>
              <a:rPr lang="es-ES" dirty="0">
                <a:solidFill>
                  <a:srgbClr val="666666"/>
                </a:solidFill>
              </a:rPr>
              <a:t> rights </a:t>
            </a:r>
            <a:r>
              <a:rPr lang="es-ES" dirty="0" err="1">
                <a:solidFill>
                  <a:srgbClr val="666666"/>
                </a:solidFill>
              </a:rPr>
              <a:t>reserved</a:t>
            </a:r>
            <a:endParaRPr lang="es-ES" spc="-10" dirty="0">
              <a:solidFill>
                <a:srgbClr val="666666"/>
              </a:solidFill>
            </a:endParaRPr>
          </a:p>
        </p:txBody>
      </p:sp>
      <p:sp>
        <p:nvSpPr>
          <p:cNvPr id="4" name="object 4">
            <a:extLst>
              <a:ext uri="{FF2B5EF4-FFF2-40B4-BE49-F238E27FC236}">
                <a16:creationId xmlns:a16="http://schemas.microsoft.com/office/drawing/2014/main" id="{F1E0D2C0-7253-311B-A3A5-564550AD37D5}"/>
              </a:ext>
            </a:extLst>
          </p:cNvPr>
          <p:cNvSpPr/>
          <p:nvPr userDrawn="1"/>
        </p:nvSpPr>
        <p:spPr>
          <a:xfrm flipH="1">
            <a:off x="0" y="4978400"/>
            <a:ext cx="5033819" cy="3899535"/>
          </a:xfrm>
          <a:custGeom>
            <a:avLst/>
            <a:gdLst/>
            <a:ahLst/>
            <a:cxnLst/>
            <a:rect l="l" t="t" r="r" b="b"/>
            <a:pathLst>
              <a:path w="4037965" h="3899535">
                <a:moveTo>
                  <a:pt x="3441969" y="0"/>
                </a:moveTo>
                <a:lnTo>
                  <a:pt x="3393889" y="2003"/>
                </a:lnTo>
                <a:lnTo>
                  <a:pt x="3346133" y="8021"/>
                </a:lnTo>
                <a:lnTo>
                  <a:pt x="3298932" y="18050"/>
                </a:lnTo>
                <a:lnTo>
                  <a:pt x="3252564" y="32090"/>
                </a:lnTo>
                <a:lnTo>
                  <a:pt x="3207307" y="50142"/>
                </a:lnTo>
                <a:lnTo>
                  <a:pt x="3163439" y="72206"/>
                </a:lnTo>
                <a:lnTo>
                  <a:pt x="91681" y="1753563"/>
                </a:lnTo>
                <a:lnTo>
                  <a:pt x="55008" y="1780171"/>
                </a:lnTo>
                <a:lnTo>
                  <a:pt x="27504" y="1812754"/>
                </a:lnTo>
                <a:lnTo>
                  <a:pt x="9168" y="1849605"/>
                </a:lnTo>
                <a:lnTo>
                  <a:pt x="0" y="1889017"/>
                </a:lnTo>
                <a:lnTo>
                  <a:pt x="0" y="1929283"/>
                </a:lnTo>
                <a:lnTo>
                  <a:pt x="9168" y="1968696"/>
                </a:lnTo>
                <a:lnTo>
                  <a:pt x="27504" y="2005547"/>
                </a:lnTo>
                <a:lnTo>
                  <a:pt x="55008" y="2038130"/>
                </a:lnTo>
                <a:lnTo>
                  <a:pt x="91681" y="2064738"/>
                </a:lnTo>
                <a:lnTo>
                  <a:pt x="3114129" y="3826856"/>
                </a:lnTo>
                <a:lnTo>
                  <a:pt x="3157998" y="3848920"/>
                </a:lnTo>
                <a:lnTo>
                  <a:pt x="3203255" y="3866972"/>
                </a:lnTo>
                <a:lnTo>
                  <a:pt x="3249623" y="3881012"/>
                </a:lnTo>
                <a:lnTo>
                  <a:pt x="3296824" y="3891041"/>
                </a:lnTo>
                <a:lnTo>
                  <a:pt x="3344580" y="3897059"/>
                </a:lnTo>
                <a:lnTo>
                  <a:pt x="3392614" y="3899064"/>
                </a:lnTo>
                <a:lnTo>
                  <a:pt x="3440648" y="3897059"/>
                </a:lnTo>
                <a:lnTo>
                  <a:pt x="3488404" y="3891041"/>
                </a:lnTo>
                <a:lnTo>
                  <a:pt x="3535605" y="3881012"/>
                </a:lnTo>
                <a:lnTo>
                  <a:pt x="3581973" y="3866972"/>
                </a:lnTo>
                <a:lnTo>
                  <a:pt x="3627230" y="3848920"/>
                </a:lnTo>
                <a:lnTo>
                  <a:pt x="3671099" y="3826856"/>
                </a:lnTo>
                <a:lnTo>
                  <a:pt x="4037905" y="3617012"/>
                </a:lnTo>
                <a:lnTo>
                  <a:pt x="4037905" y="250111"/>
                </a:lnTo>
                <a:lnTo>
                  <a:pt x="3720408" y="72206"/>
                </a:lnTo>
                <a:lnTo>
                  <a:pt x="3676540" y="50142"/>
                </a:lnTo>
                <a:lnTo>
                  <a:pt x="3631283" y="32090"/>
                </a:lnTo>
                <a:lnTo>
                  <a:pt x="3584915" y="18050"/>
                </a:lnTo>
                <a:lnTo>
                  <a:pt x="3537714" y="8021"/>
                </a:lnTo>
                <a:lnTo>
                  <a:pt x="3489958" y="2003"/>
                </a:lnTo>
                <a:lnTo>
                  <a:pt x="3441969" y="0"/>
                </a:lnTo>
                <a:close/>
              </a:path>
            </a:pathLst>
          </a:custGeom>
          <a:solidFill>
            <a:srgbClr val="FFFFFF">
              <a:alpha val="69999"/>
            </a:srgbClr>
          </a:solidFill>
        </p:spPr>
        <p:txBody>
          <a:bodyPr wrap="square" lIns="0" tIns="0" rIns="0" bIns="0" rtlCol="0"/>
          <a:lstStyle/>
          <a:p>
            <a:endParaRPr/>
          </a:p>
        </p:txBody>
      </p:sp>
    </p:spTree>
    <p:extLst>
      <p:ext uri="{BB962C8B-B14F-4D97-AF65-F5344CB8AC3E}">
        <p14:creationId xmlns:p14="http://schemas.microsoft.com/office/powerpoint/2010/main" val="389540964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26" name="bg object 16">
            <a:extLst>
              <a:ext uri="{FF2B5EF4-FFF2-40B4-BE49-F238E27FC236}">
                <a16:creationId xmlns:a16="http://schemas.microsoft.com/office/drawing/2014/main" id="{2C70D2E3-A58A-2E37-9237-F881FE9AC974}"/>
              </a:ext>
            </a:extLst>
          </p:cNvPr>
          <p:cNvSpPr/>
          <p:nvPr userDrawn="1"/>
        </p:nvSpPr>
        <p:spPr>
          <a:xfrm>
            <a:off x="-23840" y="19376"/>
            <a:ext cx="20127939" cy="11308715"/>
          </a:xfrm>
          <a:custGeom>
            <a:avLst/>
            <a:gdLst/>
            <a:ahLst/>
            <a:cxnLst/>
            <a:rect l="l" t="t" r="r" b="b"/>
            <a:pathLst>
              <a:path w="20104100" h="11308715">
                <a:moveTo>
                  <a:pt x="20104099" y="0"/>
                </a:moveTo>
                <a:lnTo>
                  <a:pt x="0" y="0"/>
                </a:lnTo>
                <a:lnTo>
                  <a:pt x="0" y="11308556"/>
                </a:lnTo>
                <a:lnTo>
                  <a:pt x="20104099" y="11308556"/>
                </a:lnTo>
                <a:lnTo>
                  <a:pt x="20104099" y="0"/>
                </a:lnTo>
                <a:close/>
              </a:path>
            </a:pathLst>
          </a:custGeom>
          <a:solidFill>
            <a:srgbClr val="0070AD"/>
          </a:solidFill>
        </p:spPr>
        <p:txBody>
          <a:bodyPr wrap="square" lIns="0" tIns="0" rIns="0" bIns="0" rtlCol="0"/>
          <a:lstStyle/>
          <a:p>
            <a:endParaRPr/>
          </a:p>
        </p:txBody>
      </p:sp>
      <p:sp>
        <p:nvSpPr>
          <p:cNvPr id="2" name="Holder 2"/>
          <p:cNvSpPr>
            <a:spLocks noGrp="1"/>
          </p:cNvSpPr>
          <p:nvPr>
            <p:ph type="title"/>
          </p:nvPr>
        </p:nvSpPr>
        <p:spPr>
          <a:xfrm>
            <a:off x="1003191" y="618303"/>
            <a:ext cx="12405643" cy="754053"/>
          </a:xfrm>
        </p:spPr>
        <p:txBody>
          <a:bodyPr lIns="0" tIns="0" rIns="0" bIns="0"/>
          <a:lstStyle>
            <a:lvl1pPr>
              <a:defRPr sz="4900" b="0" i="0">
                <a:solidFill>
                  <a:schemeClr val="bg1"/>
                </a:solidFill>
                <a:latin typeface="Ubuntu Light"/>
                <a:cs typeface="Ubuntu Light"/>
              </a:defRPr>
            </a:lvl1pPr>
          </a:lstStyle>
          <a:p>
            <a:endParaRPr dirty="0"/>
          </a:p>
        </p:txBody>
      </p:sp>
      <p:sp>
        <p:nvSpPr>
          <p:cNvPr id="153" name="object 3">
            <a:extLst>
              <a:ext uri="{FF2B5EF4-FFF2-40B4-BE49-F238E27FC236}">
                <a16:creationId xmlns:a16="http://schemas.microsoft.com/office/drawing/2014/main" id="{A326EBF6-1D24-0046-23A9-97F52C5B3A98}"/>
              </a:ext>
            </a:extLst>
          </p:cNvPr>
          <p:cNvSpPr/>
          <p:nvPr userDrawn="1"/>
        </p:nvSpPr>
        <p:spPr>
          <a:xfrm>
            <a:off x="0" y="8698896"/>
            <a:ext cx="6692265" cy="2609850"/>
          </a:xfrm>
          <a:custGeom>
            <a:avLst/>
            <a:gdLst/>
            <a:ahLst/>
            <a:cxnLst/>
            <a:rect l="l" t="t" r="r" b="b"/>
            <a:pathLst>
              <a:path w="6692265" h="2609850">
                <a:moveTo>
                  <a:pt x="1076896" y="528345"/>
                </a:moveTo>
                <a:lnTo>
                  <a:pt x="1051318" y="485470"/>
                </a:lnTo>
                <a:lnTo>
                  <a:pt x="220433" y="19888"/>
                </a:lnTo>
                <a:lnTo>
                  <a:pt x="183095" y="4965"/>
                </a:lnTo>
                <a:lnTo>
                  <a:pt x="143738" y="0"/>
                </a:lnTo>
                <a:lnTo>
                  <a:pt x="104305" y="4965"/>
                </a:lnTo>
                <a:lnTo>
                  <a:pt x="66979" y="19888"/>
                </a:lnTo>
                <a:lnTo>
                  <a:pt x="0" y="56553"/>
                </a:lnTo>
                <a:lnTo>
                  <a:pt x="0" y="1023200"/>
                </a:lnTo>
                <a:lnTo>
                  <a:pt x="53390" y="1054328"/>
                </a:lnTo>
                <a:lnTo>
                  <a:pt x="90716" y="1069251"/>
                </a:lnTo>
                <a:lnTo>
                  <a:pt x="130111" y="1074216"/>
                </a:lnTo>
                <a:lnTo>
                  <a:pt x="169506" y="1069251"/>
                </a:lnTo>
                <a:lnTo>
                  <a:pt x="206832" y="1054328"/>
                </a:lnTo>
                <a:lnTo>
                  <a:pt x="1051318" y="571207"/>
                </a:lnTo>
                <a:lnTo>
                  <a:pt x="1070495" y="552450"/>
                </a:lnTo>
                <a:lnTo>
                  <a:pt x="1076896" y="528345"/>
                </a:lnTo>
                <a:close/>
              </a:path>
              <a:path w="6692265" h="2609850">
                <a:moveTo>
                  <a:pt x="6692227" y="1758657"/>
                </a:moveTo>
                <a:lnTo>
                  <a:pt x="6687248" y="1720088"/>
                </a:lnTo>
                <a:lnTo>
                  <a:pt x="6672326" y="1683600"/>
                </a:lnTo>
                <a:lnTo>
                  <a:pt x="6647447" y="1651292"/>
                </a:lnTo>
                <a:lnTo>
                  <a:pt x="6612610" y="1625231"/>
                </a:lnTo>
                <a:lnTo>
                  <a:pt x="4026154" y="175920"/>
                </a:lnTo>
                <a:lnTo>
                  <a:pt x="3980853" y="153631"/>
                </a:lnTo>
                <a:lnTo>
                  <a:pt x="3933914" y="136283"/>
                </a:lnTo>
                <a:lnTo>
                  <a:pt x="3885730" y="123901"/>
                </a:lnTo>
                <a:lnTo>
                  <a:pt x="3836733" y="116471"/>
                </a:lnTo>
                <a:lnTo>
                  <a:pt x="3787343" y="113995"/>
                </a:lnTo>
                <a:lnTo>
                  <a:pt x="3737902" y="116471"/>
                </a:lnTo>
                <a:lnTo>
                  <a:pt x="3688905" y="123901"/>
                </a:lnTo>
                <a:lnTo>
                  <a:pt x="3640721" y="136283"/>
                </a:lnTo>
                <a:lnTo>
                  <a:pt x="3593782" y="153631"/>
                </a:lnTo>
                <a:lnTo>
                  <a:pt x="3548481" y="175920"/>
                </a:lnTo>
                <a:lnTo>
                  <a:pt x="914069" y="1617903"/>
                </a:lnTo>
                <a:lnTo>
                  <a:pt x="879246" y="1643964"/>
                </a:lnTo>
                <a:lnTo>
                  <a:pt x="854367" y="1676273"/>
                </a:lnTo>
                <a:lnTo>
                  <a:pt x="839431" y="1712760"/>
                </a:lnTo>
                <a:lnTo>
                  <a:pt x="834466" y="1751304"/>
                </a:lnTo>
                <a:lnTo>
                  <a:pt x="839431" y="1789899"/>
                </a:lnTo>
                <a:lnTo>
                  <a:pt x="854367" y="1826387"/>
                </a:lnTo>
                <a:lnTo>
                  <a:pt x="879246" y="1858695"/>
                </a:lnTo>
                <a:lnTo>
                  <a:pt x="914069" y="1884756"/>
                </a:lnTo>
                <a:lnTo>
                  <a:pt x="2157463" y="2609659"/>
                </a:lnTo>
                <a:lnTo>
                  <a:pt x="5358320" y="2609659"/>
                </a:lnTo>
                <a:lnTo>
                  <a:pt x="6612610" y="1892084"/>
                </a:lnTo>
                <a:lnTo>
                  <a:pt x="6647447" y="1866036"/>
                </a:lnTo>
                <a:lnTo>
                  <a:pt x="6672326" y="1833714"/>
                </a:lnTo>
                <a:lnTo>
                  <a:pt x="6687248" y="1797227"/>
                </a:lnTo>
                <a:lnTo>
                  <a:pt x="6692227" y="1758657"/>
                </a:lnTo>
                <a:close/>
              </a:path>
            </a:pathLst>
          </a:custGeom>
          <a:solidFill>
            <a:srgbClr val="00ADE0">
              <a:alpha val="19999"/>
            </a:srgbClr>
          </a:solidFill>
        </p:spPr>
        <p:txBody>
          <a:bodyPr wrap="square" lIns="0" tIns="0" rIns="0" bIns="0" rtlCol="0"/>
          <a:lstStyle/>
          <a:p>
            <a:endParaRPr/>
          </a:p>
        </p:txBody>
      </p:sp>
      <p:sp>
        <p:nvSpPr>
          <p:cNvPr id="154" name="object 4">
            <a:extLst>
              <a:ext uri="{FF2B5EF4-FFF2-40B4-BE49-F238E27FC236}">
                <a16:creationId xmlns:a16="http://schemas.microsoft.com/office/drawing/2014/main" id="{68B535AE-632F-BA28-05F5-A49184199312}"/>
              </a:ext>
            </a:extLst>
          </p:cNvPr>
          <p:cNvSpPr/>
          <p:nvPr userDrawn="1"/>
        </p:nvSpPr>
        <p:spPr>
          <a:xfrm>
            <a:off x="15500745" y="0"/>
            <a:ext cx="2857500" cy="774700"/>
          </a:xfrm>
          <a:custGeom>
            <a:avLst/>
            <a:gdLst/>
            <a:ahLst/>
            <a:cxnLst/>
            <a:rect l="l" t="t" r="r" b="b"/>
            <a:pathLst>
              <a:path w="2857500" h="774700">
                <a:moveTo>
                  <a:pt x="2857272" y="0"/>
                </a:moveTo>
                <a:lnTo>
                  <a:pt x="0" y="0"/>
                </a:lnTo>
                <a:lnTo>
                  <a:pt x="1259421" y="734253"/>
                </a:lnTo>
                <a:lnTo>
                  <a:pt x="1302360" y="754220"/>
                </a:lnTo>
                <a:lnTo>
                  <a:pt x="1347275" y="767531"/>
                </a:lnTo>
                <a:lnTo>
                  <a:pt x="1393374" y="774187"/>
                </a:lnTo>
                <a:lnTo>
                  <a:pt x="1439869" y="774187"/>
                </a:lnTo>
                <a:lnTo>
                  <a:pt x="1485969" y="767531"/>
                </a:lnTo>
                <a:lnTo>
                  <a:pt x="1530886" y="754220"/>
                </a:lnTo>
                <a:lnTo>
                  <a:pt x="1573830" y="734253"/>
                </a:lnTo>
                <a:lnTo>
                  <a:pt x="2857272" y="0"/>
                </a:lnTo>
                <a:close/>
              </a:path>
            </a:pathLst>
          </a:custGeom>
          <a:solidFill>
            <a:srgbClr val="00ADE0">
              <a:alpha val="19999"/>
            </a:srgbClr>
          </a:solidFill>
        </p:spPr>
        <p:txBody>
          <a:bodyPr wrap="square" lIns="0" tIns="0" rIns="0" bIns="0" rtlCol="0"/>
          <a:lstStyle/>
          <a:p>
            <a:endParaRPr/>
          </a:p>
        </p:txBody>
      </p:sp>
      <p:grpSp>
        <p:nvGrpSpPr>
          <p:cNvPr id="157" name="object 7">
            <a:extLst>
              <a:ext uri="{FF2B5EF4-FFF2-40B4-BE49-F238E27FC236}">
                <a16:creationId xmlns:a16="http://schemas.microsoft.com/office/drawing/2014/main" id="{4E1B8032-ABA1-F4BD-F2C2-8C2D8329A9BE}"/>
              </a:ext>
            </a:extLst>
          </p:cNvPr>
          <p:cNvGrpSpPr/>
          <p:nvPr userDrawn="1"/>
        </p:nvGrpSpPr>
        <p:grpSpPr>
          <a:xfrm>
            <a:off x="9607486" y="1451850"/>
            <a:ext cx="9508490" cy="8793480"/>
            <a:chOff x="9607486" y="1451850"/>
            <a:chExt cx="9508490" cy="8793480"/>
          </a:xfrm>
        </p:grpSpPr>
        <p:sp>
          <p:nvSpPr>
            <p:cNvPr id="158" name="object 8">
              <a:extLst>
                <a:ext uri="{FF2B5EF4-FFF2-40B4-BE49-F238E27FC236}">
                  <a16:creationId xmlns:a16="http://schemas.microsoft.com/office/drawing/2014/main" id="{41A8ECAA-3B9D-F511-E532-1FD9451AA005}"/>
                </a:ext>
              </a:extLst>
            </p:cNvPr>
            <p:cNvSpPr/>
            <p:nvPr/>
          </p:nvSpPr>
          <p:spPr>
            <a:xfrm>
              <a:off x="12424330" y="3174904"/>
              <a:ext cx="1868805" cy="3784600"/>
            </a:xfrm>
            <a:custGeom>
              <a:avLst/>
              <a:gdLst/>
              <a:ahLst/>
              <a:cxnLst/>
              <a:rect l="l" t="t" r="r" b="b"/>
              <a:pathLst>
                <a:path w="1868805" h="3784600">
                  <a:moveTo>
                    <a:pt x="0" y="0"/>
                  </a:moveTo>
                  <a:lnTo>
                    <a:pt x="680" y="2640725"/>
                  </a:lnTo>
                  <a:lnTo>
                    <a:pt x="4042" y="2690342"/>
                  </a:lnTo>
                  <a:lnTo>
                    <a:pt x="13861" y="2738415"/>
                  </a:lnTo>
                  <a:lnTo>
                    <a:pt x="29810" y="2784390"/>
                  </a:lnTo>
                  <a:lnTo>
                    <a:pt x="51562" y="2827707"/>
                  </a:lnTo>
                  <a:lnTo>
                    <a:pt x="78789" y="2867809"/>
                  </a:lnTo>
                  <a:lnTo>
                    <a:pt x="111164" y="2904138"/>
                  </a:lnTo>
                  <a:lnTo>
                    <a:pt x="148359" y="2936138"/>
                  </a:lnTo>
                  <a:lnTo>
                    <a:pt x="190046" y="2963250"/>
                  </a:lnTo>
                  <a:lnTo>
                    <a:pt x="1509566" y="3700442"/>
                  </a:lnTo>
                  <a:lnTo>
                    <a:pt x="1557966" y="3724936"/>
                  </a:lnTo>
                  <a:lnTo>
                    <a:pt x="1607766" y="3745215"/>
                  </a:lnTo>
                  <a:lnTo>
                    <a:pt x="1658705" y="3761276"/>
                  </a:lnTo>
                  <a:lnTo>
                    <a:pt x="1710522" y="3773119"/>
                  </a:lnTo>
                  <a:lnTo>
                    <a:pt x="1762955" y="3780741"/>
                  </a:lnTo>
                  <a:lnTo>
                    <a:pt x="1815742" y="3784142"/>
                  </a:lnTo>
                  <a:lnTo>
                    <a:pt x="1868623" y="3783319"/>
                  </a:lnTo>
                  <a:lnTo>
                    <a:pt x="1868623" y="993561"/>
                  </a:lnTo>
                  <a:lnTo>
                    <a:pt x="1822112" y="1017979"/>
                  </a:lnTo>
                  <a:lnTo>
                    <a:pt x="0" y="0"/>
                  </a:lnTo>
                  <a:close/>
                </a:path>
              </a:pathLst>
            </a:custGeom>
            <a:solidFill>
              <a:srgbClr val="F4F4F4"/>
            </a:solidFill>
          </p:spPr>
          <p:txBody>
            <a:bodyPr wrap="square" lIns="0" tIns="0" rIns="0" bIns="0" rtlCol="0"/>
            <a:lstStyle/>
            <a:p>
              <a:endParaRPr/>
            </a:p>
          </p:txBody>
        </p:sp>
        <p:pic>
          <p:nvPicPr>
            <p:cNvPr id="159" name="object 9">
              <a:extLst>
                <a:ext uri="{FF2B5EF4-FFF2-40B4-BE49-F238E27FC236}">
                  <a16:creationId xmlns:a16="http://schemas.microsoft.com/office/drawing/2014/main" id="{DEA18023-253B-B217-9937-8D85C07C1ABE}"/>
                </a:ext>
              </a:extLst>
            </p:cNvPr>
            <p:cNvPicPr/>
            <p:nvPr/>
          </p:nvPicPr>
          <p:blipFill>
            <a:blip r:embed="rId2" cstate="print"/>
            <a:stretch>
              <a:fillRect/>
            </a:stretch>
          </p:blipFill>
          <p:spPr>
            <a:xfrm>
              <a:off x="12421202" y="2110909"/>
              <a:ext cx="3741477" cy="4847308"/>
            </a:xfrm>
            <a:prstGeom prst="rect">
              <a:avLst/>
            </a:prstGeom>
          </p:spPr>
        </p:pic>
        <p:pic>
          <p:nvPicPr>
            <p:cNvPr id="160" name="object 10">
              <a:extLst>
                <a:ext uri="{FF2B5EF4-FFF2-40B4-BE49-F238E27FC236}">
                  <a16:creationId xmlns:a16="http://schemas.microsoft.com/office/drawing/2014/main" id="{E75C408D-0F5E-1CD0-87C4-4347A33D2590}"/>
                </a:ext>
              </a:extLst>
            </p:cNvPr>
            <p:cNvPicPr/>
            <p:nvPr/>
          </p:nvPicPr>
          <p:blipFill>
            <a:blip r:embed="rId3" cstate="print"/>
            <a:stretch>
              <a:fillRect/>
            </a:stretch>
          </p:blipFill>
          <p:spPr>
            <a:xfrm>
              <a:off x="12422176" y="1922108"/>
              <a:ext cx="3739682" cy="2192514"/>
            </a:xfrm>
            <a:prstGeom prst="rect">
              <a:avLst/>
            </a:prstGeom>
          </p:spPr>
        </p:pic>
        <p:sp>
          <p:nvSpPr>
            <p:cNvPr id="161" name="object 11">
              <a:extLst>
                <a:ext uri="{FF2B5EF4-FFF2-40B4-BE49-F238E27FC236}">
                  <a16:creationId xmlns:a16="http://schemas.microsoft.com/office/drawing/2014/main" id="{BE61B007-3736-D9C2-1956-D798AF43DABF}"/>
                </a:ext>
              </a:extLst>
            </p:cNvPr>
            <p:cNvSpPr/>
            <p:nvPr/>
          </p:nvSpPr>
          <p:spPr>
            <a:xfrm>
              <a:off x="9608176" y="7399629"/>
              <a:ext cx="4969510" cy="2845435"/>
            </a:xfrm>
            <a:custGeom>
              <a:avLst/>
              <a:gdLst/>
              <a:ahLst/>
              <a:cxnLst/>
              <a:rect l="l" t="t" r="r" b="b"/>
              <a:pathLst>
                <a:path w="4969509" h="2845434">
                  <a:moveTo>
                    <a:pt x="2522720" y="0"/>
                  </a:moveTo>
                  <a:lnTo>
                    <a:pt x="2474343" y="1211"/>
                  </a:lnTo>
                  <a:lnTo>
                    <a:pt x="2426067" y="4845"/>
                  </a:lnTo>
                  <a:lnTo>
                    <a:pt x="2377992" y="10902"/>
                  </a:lnTo>
                  <a:lnTo>
                    <a:pt x="2330219" y="19381"/>
                  </a:lnTo>
                  <a:lnTo>
                    <a:pt x="2282849" y="30283"/>
                  </a:lnTo>
                  <a:lnTo>
                    <a:pt x="2235981" y="43608"/>
                  </a:lnTo>
                  <a:lnTo>
                    <a:pt x="2189718" y="59356"/>
                  </a:lnTo>
                  <a:lnTo>
                    <a:pt x="2144159" y="77526"/>
                  </a:lnTo>
                  <a:lnTo>
                    <a:pt x="2099405" y="98119"/>
                  </a:lnTo>
                  <a:lnTo>
                    <a:pt x="2055556" y="121135"/>
                  </a:lnTo>
                  <a:lnTo>
                    <a:pt x="155028" y="1182914"/>
                  </a:lnTo>
                  <a:lnTo>
                    <a:pt x="116271" y="1208330"/>
                  </a:lnTo>
                  <a:lnTo>
                    <a:pt x="83050" y="1237768"/>
                  </a:lnTo>
                  <a:lnTo>
                    <a:pt x="55367" y="1270608"/>
                  </a:lnTo>
                  <a:lnTo>
                    <a:pt x="33220" y="1306233"/>
                  </a:lnTo>
                  <a:lnTo>
                    <a:pt x="16610" y="1344023"/>
                  </a:lnTo>
                  <a:lnTo>
                    <a:pt x="5536" y="1383359"/>
                  </a:lnTo>
                  <a:lnTo>
                    <a:pt x="0" y="1423624"/>
                  </a:lnTo>
                  <a:lnTo>
                    <a:pt x="0" y="1464198"/>
                  </a:lnTo>
                  <a:lnTo>
                    <a:pt x="5536" y="1504463"/>
                  </a:lnTo>
                  <a:lnTo>
                    <a:pt x="16610" y="1543799"/>
                  </a:lnTo>
                  <a:lnTo>
                    <a:pt x="33220" y="1581589"/>
                  </a:lnTo>
                  <a:lnTo>
                    <a:pt x="55367" y="1617214"/>
                  </a:lnTo>
                  <a:lnTo>
                    <a:pt x="83050" y="1650054"/>
                  </a:lnTo>
                  <a:lnTo>
                    <a:pt x="116271" y="1679492"/>
                  </a:lnTo>
                  <a:lnTo>
                    <a:pt x="155028" y="1704908"/>
                  </a:lnTo>
                  <a:lnTo>
                    <a:pt x="1979077" y="2723966"/>
                  </a:lnTo>
                  <a:lnTo>
                    <a:pt x="2022925" y="2746980"/>
                  </a:lnTo>
                  <a:lnTo>
                    <a:pt x="2067679" y="2767572"/>
                  </a:lnTo>
                  <a:lnTo>
                    <a:pt x="2113239" y="2785741"/>
                  </a:lnTo>
                  <a:lnTo>
                    <a:pt x="2159502" y="2801488"/>
                  </a:lnTo>
                  <a:lnTo>
                    <a:pt x="2206369" y="2814812"/>
                  </a:lnTo>
                  <a:lnTo>
                    <a:pt x="2253740" y="2825713"/>
                  </a:lnTo>
                  <a:lnTo>
                    <a:pt x="2301513" y="2834192"/>
                  </a:lnTo>
                  <a:lnTo>
                    <a:pt x="2349588" y="2840248"/>
                  </a:lnTo>
                  <a:lnTo>
                    <a:pt x="2397864" y="2843882"/>
                  </a:lnTo>
                  <a:lnTo>
                    <a:pt x="2446241" y="2845093"/>
                  </a:lnTo>
                  <a:lnTo>
                    <a:pt x="2494618" y="2843882"/>
                  </a:lnTo>
                  <a:lnTo>
                    <a:pt x="2542894" y="2840248"/>
                  </a:lnTo>
                  <a:lnTo>
                    <a:pt x="2590969" y="2834192"/>
                  </a:lnTo>
                  <a:lnTo>
                    <a:pt x="2638742" y="2825713"/>
                  </a:lnTo>
                  <a:lnTo>
                    <a:pt x="2686112" y="2814812"/>
                  </a:lnTo>
                  <a:lnTo>
                    <a:pt x="2732979" y="2801488"/>
                  </a:lnTo>
                  <a:lnTo>
                    <a:pt x="2779243" y="2785741"/>
                  </a:lnTo>
                  <a:lnTo>
                    <a:pt x="2824802" y="2767572"/>
                  </a:lnTo>
                  <a:lnTo>
                    <a:pt x="2869556" y="2746980"/>
                  </a:lnTo>
                  <a:lnTo>
                    <a:pt x="2913405" y="2723966"/>
                  </a:lnTo>
                  <a:lnTo>
                    <a:pt x="4813933" y="1662177"/>
                  </a:lnTo>
                  <a:lnTo>
                    <a:pt x="4852690" y="1636761"/>
                  </a:lnTo>
                  <a:lnTo>
                    <a:pt x="4885910" y="1607323"/>
                  </a:lnTo>
                  <a:lnTo>
                    <a:pt x="4913594" y="1574483"/>
                  </a:lnTo>
                  <a:lnTo>
                    <a:pt x="4935741" y="1538860"/>
                  </a:lnTo>
                  <a:lnTo>
                    <a:pt x="4952351" y="1501070"/>
                  </a:lnTo>
                  <a:lnTo>
                    <a:pt x="4963425" y="1461735"/>
                  </a:lnTo>
                  <a:lnTo>
                    <a:pt x="4968961" y="1421471"/>
                  </a:lnTo>
                  <a:lnTo>
                    <a:pt x="4968961" y="1380898"/>
                  </a:lnTo>
                  <a:lnTo>
                    <a:pt x="4963425" y="1340634"/>
                  </a:lnTo>
                  <a:lnTo>
                    <a:pt x="4952351" y="1301299"/>
                  </a:lnTo>
                  <a:lnTo>
                    <a:pt x="4935741" y="1263510"/>
                  </a:lnTo>
                  <a:lnTo>
                    <a:pt x="4913594" y="1227886"/>
                  </a:lnTo>
                  <a:lnTo>
                    <a:pt x="4885910" y="1195046"/>
                  </a:lnTo>
                  <a:lnTo>
                    <a:pt x="4852690" y="1165609"/>
                  </a:lnTo>
                  <a:lnTo>
                    <a:pt x="4813933" y="1140193"/>
                  </a:lnTo>
                  <a:lnTo>
                    <a:pt x="2989884" y="121135"/>
                  </a:lnTo>
                  <a:lnTo>
                    <a:pt x="2946035" y="98119"/>
                  </a:lnTo>
                  <a:lnTo>
                    <a:pt x="2901281" y="77526"/>
                  </a:lnTo>
                  <a:lnTo>
                    <a:pt x="2855722" y="59356"/>
                  </a:lnTo>
                  <a:lnTo>
                    <a:pt x="2809459" y="43608"/>
                  </a:lnTo>
                  <a:lnTo>
                    <a:pt x="2762591" y="30283"/>
                  </a:lnTo>
                  <a:lnTo>
                    <a:pt x="2715221" y="19381"/>
                  </a:lnTo>
                  <a:lnTo>
                    <a:pt x="2667448" y="10902"/>
                  </a:lnTo>
                  <a:lnTo>
                    <a:pt x="2619373" y="4845"/>
                  </a:lnTo>
                  <a:lnTo>
                    <a:pt x="2571097" y="1211"/>
                  </a:lnTo>
                  <a:lnTo>
                    <a:pt x="2522720" y="0"/>
                  </a:lnTo>
                  <a:close/>
                </a:path>
              </a:pathLst>
            </a:custGeom>
            <a:solidFill>
              <a:srgbClr val="80B8D6">
                <a:alpha val="14999"/>
              </a:srgbClr>
            </a:solidFill>
          </p:spPr>
          <p:txBody>
            <a:bodyPr wrap="square" lIns="0" tIns="0" rIns="0" bIns="0" rtlCol="0"/>
            <a:lstStyle/>
            <a:p>
              <a:endParaRPr/>
            </a:p>
          </p:txBody>
        </p:sp>
        <p:sp>
          <p:nvSpPr>
            <p:cNvPr id="162" name="object 12">
              <a:extLst>
                <a:ext uri="{FF2B5EF4-FFF2-40B4-BE49-F238E27FC236}">
                  <a16:creationId xmlns:a16="http://schemas.microsoft.com/office/drawing/2014/main" id="{27E70C26-2084-9189-29E3-246BAB7F8E93}"/>
                </a:ext>
              </a:extLst>
            </p:cNvPr>
            <p:cNvSpPr/>
            <p:nvPr/>
          </p:nvSpPr>
          <p:spPr>
            <a:xfrm>
              <a:off x="9611636" y="6344624"/>
              <a:ext cx="2420620" cy="3432810"/>
            </a:xfrm>
            <a:custGeom>
              <a:avLst/>
              <a:gdLst/>
              <a:ahLst/>
              <a:cxnLst/>
              <a:rect l="l" t="t" r="r" b="b"/>
              <a:pathLst>
                <a:path w="2420620" h="3432809">
                  <a:moveTo>
                    <a:pt x="0" y="0"/>
                  </a:moveTo>
                  <a:lnTo>
                    <a:pt x="900" y="1913104"/>
                  </a:lnTo>
                  <a:lnTo>
                    <a:pt x="3279" y="1961209"/>
                  </a:lnTo>
                  <a:lnTo>
                    <a:pt x="10257" y="2008337"/>
                  </a:lnTo>
                  <a:lnTo>
                    <a:pt x="21669" y="2054204"/>
                  </a:lnTo>
                  <a:lnTo>
                    <a:pt x="37345" y="2098525"/>
                  </a:lnTo>
                  <a:lnTo>
                    <a:pt x="57119" y="2141014"/>
                  </a:lnTo>
                  <a:lnTo>
                    <a:pt x="80824" y="2181388"/>
                  </a:lnTo>
                  <a:lnTo>
                    <a:pt x="108291" y="2219360"/>
                  </a:lnTo>
                  <a:lnTo>
                    <a:pt x="139354" y="2254646"/>
                  </a:lnTo>
                  <a:lnTo>
                    <a:pt x="173846" y="2286962"/>
                  </a:lnTo>
                  <a:lnTo>
                    <a:pt x="211597" y="2316022"/>
                  </a:lnTo>
                  <a:lnTo>
                    <a:pt x="252442" y="2341541"/>
                  </a:lnTo>
                  <a:lnTo>
                    <a:pt x="2005300" y="3320820"/>
                  </a:lnTo>
                  <a:lnTo>
                    <a:pt x="2048803" y="3343556"/>
                  </a:lnTo>
                  <a:lnTo>
                    <a:pt x="2093219" y="3363704"/>
                  </a:lnTo>
                  <a:lnTo>
                    <a:pt x="2138437" y="3381262"/>
                  </a:lnTo>
                  <a:lnTo>
                    <a:pt x="2184349" y="3396229"/>
                  </a:lnTo>
                  <a:lnTo>
                    <a:pt x="2230845" y="3408606"/>
                  </a:lnTo>
                  <a:lnTo>
                    <a:pt x="2277815" y="3418391"/>
                  </a:lnTo>
                  <a:lnTo>
                    <a:pt x="2325151" y="3425583"/>
                  </a:lnTo>
                  <a:lnTo>
                    <a:pt x="2372742" y="3430183"/>
                  </a:lnTo>
                  <a:lnTo>
                    <a:pt x="2420481" y="3432188"/>
                  </a:lnTo>
                  <a:lnTo>
                    <a:pt x="2420481" y="1352272"/>
                  </a:lnTo>
                  <a:lnTo>
                    <a:pt x="0" y="0"/>
                  </a:lnTo>
                  <a:close/>
                </a:path>
              </a:pathLst>
            </a:custGeom>
            <a:solidFill>
              <a:srgbClr val="F4F4F4"/>
            </a:solidFill>
          </p:spPr>
          <p:txBody>
            <a:bodyPr wrap="square" lIns="0" tIns="0" rIns="0" bIns="0" rtlCol="0"/>
            <a:lstStyle/>
            <a:p>
              <a:endParaRPr/>
            </a:p>
          </p:txBody>
        </p:sp>
        <p:pic>
          <p:nvPicPr>
            <p:cNvPr id="163" name="object 13">
              <a:extLst>
                <a:ext uri="{FF2B5EF4-FFF2-40B4-BE49-F238E27FC236}">
                  <a16:creationId xmlns:a16="http://schemas.microsoft.com/office/drawing/2014/main" id="{156D2349-363E-7A07-FBB7-41F6158A410F}"/>
                </a:ext>
              </a:extLst>
            </p:cNvPr>
            <p:cNvPicPr/>
            <p:nvPr/>
          </p:nvPicPr>
          <p:blipFill>
            <a:blip r:embed="rId4" cstate="print"/>
            <a:stretch>
              <a:fillRect/>
            </a:stretch>
          </p:blipFill>
          <p:spPr>
            <a:xfrm>
              <a:off x="9607486" y="4931201"/>
              <a:ext cx="4970151" cy="4845611"/>
            </a:xfrm>
            <a:prstGeom prst="rect">
              <a:avLst/>
            </a:prstGeom>
          </p:spPr>
        </p:pic>
        <p:pic>
          <p:nvPicPr>
            <p:cNvPr id="164" name="object 14">
              <a:extLst>
                <a:ext uri="{FF2B5EF4-FFF2-40B4-BE49-F238E27FC236}">
                  <a16:creationId xmlns:a16="http://schemas.microsoft.com/office/drawing/2014/main" id="{6A561B43-1412-F823-CD13-0999854B9D15}"/>
                </a:ext>
              </a:extLst>
            </p:cNvPr>
            <p:cNvPicPr/>
            <p:nvPr/>
          </p:nvPicPr>
          <p:blipFill>
            <a:blip r:embed="rId5" cstate="print"/>
            <a:stretch>
              <a:fillRect/>
            </a:stretch>
          </p:blipFill>
          <p:spPr>
            <a:xfrm>
              <a:off x="9608171" y="4680412"/>
              <a:ext cx="4968966" cy="2904168"/>
            </a:xfrm>
            <a:prstGeom prst="rect">
              <a:avLst/>
            </a:prstGeom>
          </p:spPr>
        </p:pic>
        <p:sp>
          <p:nvSpPr>
            <p:cNvPr id="165" name="object 15">
              <a:extLst>
                <a:ext uri="{FF2B5EF4-FFF2-40B4-BE49-F238E27FC236}">
                  <a16:creationId xmlns:a16="http://schemas.microsoft.com/office/drawing/2014/main" id="{8A05DFA8-D642-F41B-6658-FF0858680ABF}"/>
                </a:ext>
              </a:extLst>
            </p:cNvPr>
            <p:cNvSpPr/>
            <p:nvPr/>
          </p:nvSpPr>
          <p:spPr>
            <a:xfrm>
              <a:off x="13279232" y="2218998"/>
              <a:ext cx="2400935" cy="1507490"/>
            </a:xfrm>
            <a:custGeom>
              <a:avLst/>
              <a:gdLst/>
              <a:ahLst/>
              <a:cxnLst/>
              <a:rect l="l" t="t" r="r" b="b"/>
              <a:pathLst>
                <a:path w="2400934" h="1507489">
                  <a:moveTo>
                    <a:pt x="925639" y="0"/>
                  </a:moveTo>
                  <a:lnTo>
                    <a:pt x="875891" y="0"/>
                  </a:lnTo>
                  <a:lnTo>
                    <a:pt x="826972" y="10290"/>
                  </a:lnTo>
                  <a:lnTo>
                    <a:pt x="780539" y="30872"/>
                  </a:lnTo>
                  <a:lnTo>
                    <a:pt x="41064" y="457131"/>
                  </a:lnTo>
                  <a:lnTo>
                    <a:pt x="10266" y="488197"/>
                  </a:lnTo>
                  <a:lnTo>
                    <a:pt x="0" y="528141"/>
                  </a:lnTo>
                  <a:lnTo>
                    <a:pt x="10266" y="568086"/>
                  </a:lnTo>
                  <a:lnTo>
                    <a:pt x="41064" y="599158"/>
                  </a:lnTo>
                  <a:lnTo>
                    <a:pt x="489574" y="857580"/>
                  </a:lnTo>
                  <a:lnTo>
                    <a:pt x="432253" y="861763"/>
                  </a:lnTo>
                  <a:lnTo>
                    <a:pt x="377166" y="870434"/>
                  </a:lnTo>
                  <a:lnTo>
                    <a:pt x="324723" y="883313"/>
                  </a:lnTo>
                  <a:lnTo>
                    <a:pt x="275333" y="900123"/>
                  </a:lnTo>
                  <a:lnTo>
                    <a:pt x="229404" y="920583"/>
                  </a:lnTo>
                  <a:lnTo>
                    <a:pt x="187347" y="944415"/>
                  </a:lnTo>
                  <a:lnTo>
                    <a:pt x="149570" y="971340"/>
                  </a:lnTo>
                  <a:lnTo>
                    <a:pt x="116482" y="1001078"/>
                  </a:lnTo>
                  <a:lnTo>
                    <a:pt x="88492" y="1033351"/>
                  </a:lnTo>
                  <a:lnTo>
                    <a:pt x="66011" y="1067880"/>
                  </a:lnTo>
                  <a:lnTo>
                    <a:pt x="49446" y="1104385"/>
                  </a:lnTo>
                  <a:lnTo>
                    <a:pt x="39207" y="1142588"/>
                  </a:lnTo>
                  <a:lnTo>
                    <a:pt x="35703" y="1182209"/>
                  </a:lnTo>
                  <a:lnTo>
                    <a:pt x="38907" y="1220112"/>
                  </a:lnTo>
                  <a:lnTo>
                    <a:pt x="63472" y="1291823"/>
                  </a:lnTo>
                  <a:lnTo>
                    <a:pt x="84117" y="1325143"/>
                  </a:lnTo>
                  <a:lnTo>
                    <a:pt x="109862" y="1356446"/>
                  </a:lnTo>
                  <a:lnTo>
                    <a:pt x="140347" y="1385490"/>
                  </a:lnTo>
                  <a:lnTo>
                    <a:pt x="175217" y="1412030"/>
                  </a:lnTo>
                  <a:lnTo>
                    <a:pt x="214113" y="1435823"/>
                  </a:lnTo>
                  <a:lnTo>
                    <a:pt x="256678" y="1456624"/>
                  </a:lnTo>
                  <a:lnTo>
                    <a:pt x="302555" y="1474190"/>
                  </a:lnTo>
                  <a:lnTo>
                    <a:pt x="351387" y="1488277"/>
                  </a:lnTo>
                  <a:lnTo>
                    <a:pt x="402815" y="1498641"/>
                  </a:lnTo>
                  <a:lnTo>
                    <a:pt x="456483" y="1505038"/>
                  </a:lnTo>
                  <a:lnTo>
                    <a:pt x="512034" y="1507225"/>
                  </a:lnTo>
                  <a:lnTo>
                    <a:pt x="567584" y="1505038"/>
                  </a:lnTo>
                  <a:lnTo>
                    <a:pt x="621252" y="1498641"/>
                  </a:lnTo>
                  <a:lnTo>
                    <a:pt x="672681" y="1488277"/>
                  </a:lnTo>
                  <a:lnTo>
                    <a:pt x="721512" y="1474190"/>
                  </a:lnTo>
                  <a:lnTo>
                    <a:pt x="767389" y="1456624"/>
                  </a:lnTo>
                  <a:lnTo>
                    <a:pt x="809954" y="1435823"/>
                  </a:lnTo>
                  <a:lnTo>
                    <a:pt x="848851" y="1412030"/>
                  </a:lnTo>
                  <a:lnTo>
                    <a:pt x="883720" y="1385490"/>
                  </a:lnTo>
                  <a:lnTo>
                    <a:pt x="914206" y="1356446"/>
                  </a:lnTo>
                  <a:lnTo>
                    <a:pt x="939950" y="1325143"/>
                  </a:lnTo>
                  <a:lnTo>
                    <a:pt x="960595" y="1291823"/>
                  </a:lnTo>
                  <a:lnTo>
                    <a:pt x="975784" y="1256732"/>
                  </a:lnTo>
                  <a:lnTo>
                    <a:pt x="988365" y="1182209"/>
                  </a:lnTo>
                  <a:lnTo>
                    <a:pt x="988125" y="1172260"/>
                  </a:lnTo>
                  <a:lnTo>
                    <a:pt x="987426" y="1162394"/>
                  </a:lnTo>
                  <a:lnTo>
                    <a:pt x="986302" y="1152608"/>
                  </a:lnTo>
                  <a:lnTo>
                    <a:pt x="984784" y="1142901"/>
                  </a:lnTo>
                  <a:lnTo>
                    <a:pt x="1379431" y="1370287"/>
                  </a:lnTo>
                  <a:lnTo>
                    <a:pt x="1425864" y="1390873"/>
                  </a:lnTo>
                  <a:lnTo>
                    <a:pt x="1474784" y="1401166"/>
                  </a:lnTo>
                  <a:lnTo>
                    <a:pt x="1524532" y="1401166"/>
                  </a:lnTo>
                  <a:lnTo>
                    <a:pt x="1573452" y="1390873"/>
                  </a:lnTo>
                  <a:lnTo>
                    <a:pt x="1619885" y="1370287"/>
                  </a:lnTo>
                  <a:lnTo>
                    <a:pt x="2359360" y="944027"/>
                  </a:lnTo>
                  <a:lnTo>
                    <a:pt x="2390158" y="912961"/>
                  </a:lnTo>
                  <a:lnTo>
                    <a:pt x="2400424" y="873019"/>
                  </a:lnTo>
                  <a:lnTo>
                    <a:pt x="2390158" y="833077"/>
                  </a:lnTo>
                  <a:lnTo>
                    <a:pt x="2359360" y="802011"/>
                  </a:lnTo>
                  <a:lnTo>
                    <a:pt x="1020992" y="30872"/>
                  </a:lnTo>
                  <a:lnTo>
                    <a:pt x="974559" y="10290"/>
                  </a:lnTo>
                  <a:lnTo>
                    <a:pt x="925639" y="0"/>
                  </a:lnTo>
                  <a:close/>
                </a:path>
              </a:pathLst>
            </a:custGeom>
            <a:solidFill>
              <a:srgbClr val="80B8D6">
                <a:alpha val="29998"/>
              </a:srgbClr>
            </a:solidFill>
          </p:spPr>
          <p:txBody>
            <a:bodyPr wrap="square" lIns="0" tIns="0" rIns="0" bIns="0" rtlCol="0"/>
            <a:lstStyle/>
            <a:p>
              <a:endParaRPr/>
            </a:p>
          </p:txBody>
        </p:sp>
        <p:pic>
          <p:nvPicPr>
            <p:cNvPr id="166" name="object 16">
              <a:extLst>
                <a:ext uri="{FF2B5EF4-FFF2-40B4-BE49-F238E27FC236}">
                  <a16:creationId xmlns:a16="http://schemas.microsoft.com/office/drawing/2014/main" id="{BCDF399C-4016-9E43-8243-5CCEF19BA71F}"/>
                </a:ext>
              </a:extLst>
            </p:cNvPr>
            <p:cNvPicPr/>
            <p:nvPr/>
          </p:nvPicPr>
          <p:blipFill>
            <a:blip r:embed="rId6" cstate="print"/>
            <a:stretch>
              <a:fillRect/>
            </a:stretch>
          </p:blipFill>
          <p:spPr>
            <a:xfrm>
              <a:off x="14629751" y="3187007"/>
              <a:ext cx="184329" cy="237081"/>
            </a:xfrm>
            <a:prstGeom prst="rect">
              <a:avLst/>
            </a:prstGeom>
          </p:spPr>
        </p:pic>
        <p:pic>
          <p:nvPicPr>
            <p:cNvPr id="167" name="object 17">
              <a:extLst>
                <a:ext uri="{FF2B5EF4-FFF2-40B4-BE49-F238E27FC236}">
                  <a16:creationId xmlns:a16="http://schemas.microsoft.com/office/drawing/2014/main" id="{EBE47ADA-0781-D91C-F0EA-9F5C872379B0}"/>
                </a:ext>
              </a:extLst>
            </p:cNvPr>
            <p:cNvPicPr/>
            <p:nvPr/>
          </p:nvPicPr>
          <p:blipFill>
            <a:blip r:embed="rId7" cstate="print"/>
            <a:stretch>
              <a:fillRect/>
            </a:stretch>
          </p:blipFill>
          <p:spPr>
            <a:xfrm>
              <a:off x="13380982" y="2465025"/>
              <a:ext cx="184329" cy="237081"/>
            </a:xfrm>
            <a:prstGeom prst="rect">
              <a:avLst/>
            </a:prstGeom>
          </p:spPr>
        </p:pic>
        <p:pic>
          <p:nvPicPr>
            <p:cNvPr id="168" name="object 18">
              <a:extLst>
                <a:ext uri="{FF2B5EF4-FFF2-40B4-BE49-F238E27FC236}">
                  <a16:creationId xmlns:a16="http://schemas.microsoft.com/office/drawing/2014/main" id="{F955A2DC-6D17-0962-EFF8-8FE504F96D4F}"/>
                </a:ext>
              </a:extLst>
            </p:cNvPr>
            <p:cNvPicPr/>
            <p:nvPr/>
          </p:nvPicPr>
          <p:blipFill>
            <a:blip r:embed="rId8" cstate="print"/>
            <a:stretch>
              <a:fillRect/>
            </a:stretch>
          </p:blipFill>
          <p:spPr>
            <a:xfrm>
              <a:off x="15345329" y="2773869"/>
              <a:ext cx="184329" cy="237081"/>
            </a:xfrm>
            <a:prstGeom prst="rect">
              <a:avLst/>
            </a:prstGeom>
          </p:spPr>
        </p:pic>
        <p:sp>
          <p:nvSpPr>
            <p:cNvPr id="169" name="object 19">
              <a:extLst>
                <a:ext uri="{FF2B5EF4-FFF2-40B4-BE49-F238E27FC236}">
                  <a16:creationId xmlns:a16="http://schemas.microsoft.com/office/drawing/2014/main" id="{E3116C65-B8EF-452F-83A6-E256D7341E38}"/>
                </a:ext>
              </a:extLst>
            </p:cNvPr>
            <p:cNvSpPr/>
            <p:nvPr/>
          </p:nvSpPr>
          <p:spPr>
            <a:xfrm>
              <a:off x="13279222" y="2256541"/>
              <a:ext cx="2400935" cy="1061085"/>
            </a:xfrm>
            <a:custGeom>
              <a:avLst/>
              <a:gdLst/>
              <a:ahLst/>
              <a:cxnLst/>
              <a:rect l="l" t="t" r="r" b="b"/>
              <a:pathLst>
                <a:path w="2400934" h="1061085">
                  <a:moveTo>
                    <a:pt x="2400427" y="344881"/>
                  </a:moveTo>
                  <a:lnTo>
                    <a:pt x="1499666" y="864108"/>
                  </a:lnTo>
                  <a:lnTo>
                    <a:pt x="0" y="0"/>
                  </a:lnTo>
                  <a:lnTo>
                    <a:pt x="0" y="186397"/>
                  </a:lnTo>
                  <a:lnTo>
                    <a:pt x="10274" y="226339"/>
                  </a:lnTo>
                  <a:lnTo>
                    <a:pt x="41071" y="257403"/>
                  </a:lnTo>
                  <a:lnTo>
                    <a:pt x="1379435" y="1028547"/>
                  </a:lnTo>
                  <a:lnTo>
                    <a:pt x="1437932" y="1052664"/>
                  </a:lnTo>
                  <a:lnTo>
                    <a:pt x="1499654" y="1060704"/>
                  </a:lnTo>
                  <a:lnTo>
                    <a:pt x="1561388" y="1052664"/>
                  </a:lnTo>
                  <a:lnTo>
                    <a:pt x="1619885" y="1028547"/>
                  </a:lnTo>
                  <a:lnTo>
                    <a:pt x="2359355" y="602284"/>
                  </a:lnTo>
                  <a:lnTo>
                    <a:pt x="2390165" y="571220"/>
                  </a:lnTo>
                  <a:lnTo>
                    <a:pt x="2400427" y="531266"/>
                  </a:lnTo>
                  <a:lnTo>
                    <a:pt x="2400427" y="344881"/>
                  </a:lnTo>
                  <a:close/>
                </a:path>
              </a:pathLst>
            </a:custGeom>
            <a:solidFill>
              <a:srgbClr val="88D5ED"/>
            </a:solidFill>
          </p:spPr>
          <p:txBody>
            <a:bodyPr wrap="square" lIns="0" tIns="0" rIns="0" bIns="0" rtlCol="0"/>
            <a:lstStyle/>
            <a:p>
              <a:endParaRPr/>
            </a:p>
          </p:txBody>
        </p:sp>
        <p:sp>
          <p:nvSpPr>
            <p:cNvPr id="170" name="object 20">
              <a:extLst>
                <a:ext uri="{FF2B5EF4-FFF2-40B4-BE49-F238E27FC236}">
                  <a16:creationId xmlns:a16="http://schemas.microsoft.com/office/drawing/2014/main" id="{D9B92967-F949-B85A-5A91-F07826D06A85}"/>
                </a:ext>
              </a:extLst>
            </p:cNvPr>
            <p:cNvSpPr/>
            <p:nvPr/>
          </p:nvSpPr>
          <p:spPr>
            <a:xfrm>
              <a:off x="13283220" y="1728391"/>
              <a:ext cx="2400935" cy="1401445"/>
            </a:xfrm>
            <a:custGeom>
              <a:avLst/>
              <a:gdLst/>
              <a:ahLst/>
              <a:cxnLst/>
              <a:rect l="l" t="t" r="r" b="b"/>
              <a:pathLst>
                <a:path w="2400934" h="1401445">
                  <a:moveTo>
                    <a:pt x="925639" y="0"/>
                  </a:moveTo>
                  <a:lnTo>
                    <a:pt x="875891" y="0"/>
                  </a:lnTo>
                  <a:lnTo>
                    <a:pt x="826972" y="10293"/>
                  </a:lnTo>
                  <a:lnTo>
                    <a:pt x="780539" y="30879"/>
                  </a:lnTo>
                  <a:lnTo>
                    <a:pt x="41064" y="457139"/>
                  </a:lnTo>
                  <a:lnTo>
                    <a:pt x="10266" y="488205"/>
                  </a:lnTo>
                  <a:lnTo>
                    <a:pt x="0" y="528147"/>
                  </a:lnTo>
                  <a:lnTo>
                    <a:pt x="10266" y="568089"/>
                  </a:lnTo>
                  <a:lnTo>
                    <a:pt x="41064" y="599155"/>
                  </a:lnTo>
                  <a:lnTo>
                    <a:pt x="1379431" y="1370294"/>
                  </a:lnTo>
                  <a:lnTo>
                    <a:pt x="1425864" y="1390876"/>
                  </a:lnTo>
                  <a:lnTo>
                    <a:pt x="1474784" y="1401166"/>
                  </a:lnTo>
                  <a:lnTo>
                    <a:pt x="1524532" y="1401166"/>
                  </a:lnTo>
                  <a:lnTo>
                    <a:pt x="1573452" y="1390876"/>
                  </a:lnTo>
                  <a:lnTo>
                    <a:pt x="1619885" y="1370294"/>
                  </a:lnTo>
                  <a:lnTo>
                    <a:pt x="2359360" y="944035"/>
                  </a:lnTo>
                  <a:lnTo>
                    <a:pt x="2390158" y="912969"/>
                  </a:lnTo>
                  <a:lnTo>
                    <a:pt x="2400424" y="873025"/>
                  </a:lnTo>
                  <a:lnTo>
                    <a:pt x="2390158" y="833080"/>
                  </a:lnTo>
                  <a:lnTo>
                    <a:pt x="2359360" y="802008"/>
                  </a:lnTo>
                  <a:lnTo>
                    <a:pt x="1020992" y="30879"/>
                  </a:lnTo>
                  <a:lnTo>
                    <a:pt x="974559" y="10293"/>
                  </a:lnTo>
                  <a:lnTo>
                    <a:pt x="925639" y="0"/>
                  </a:lnTo>
                  <a:close/>
                </a:path>
              </a:pathLst>
            </a:custGeom>
            <a:solidFill>
              <a:srgbClr val="F4F4F4"/>
            </a:solidFill>
          </p:spPr>
          <p:txBody>
            <a:bodyPr wrap="square" lIns="0" tIns="0" rIns="0" bIns="0" rtlCol="0"/>
            <a:lstStyle/>
            <a:p>
              <a:endParaRPr/>
            </a:p>
          </p:txBody>
        </p:sp>
        <p:sp>
          <p:nvSpPr>
            <p:cNvPr id="171" name="object 21">
              <a:extLst>
                <a:ext uri="{FF2B5EF4-FFF2-40B4-BE49-F238E27FC236}">
                  <a16:creationId xmlns:a16="http://schemas.microsoft.com/office/drawing/2014/main" id="{933D76D7-E92C-3DB7-319D-F293C9F1C51E}"/>
                </a:ext>
              </a:extLst>
            </p:cNvPr>
            <p:cNvSpPr/>
            <p:nvPr/>
          </p:nvSpPr>
          <p:spPr>
            <a:xfrm>
              <a:off x="10842405" y="5586699"/>
              <a:ext cx="2400935" cy="1401445"/>
            </a:xfrm>
            <a:custGeom>
              <a:avLst/>
              <a:gdLst/>
              <a:ahLst/>
              <a:cxnLst/>
              <a:rect l="l" t="t" r="r" b="b"/>
              <a:pathLst>
                <a:path w="2400934" h="1401445">
                  <a:moveTo>
                    <a:pt x="925639" y="0"/>
                  </a:moveTo>
                  <a:lnTo>
                    <a:pt x="875891" y="0"/>
                  </a:lnTo>
                  <a:lnTo>
                    <a:pt x="826972" y="10293"/>
                  </a:lnTo>
                  <a:lnTo>
                    <a:pt x="780539" y="30879"/>
                  </a:lnTo>
                  <a:lnTo>
                    <a:pt x="41064" y="457128"/>
                  </a:lnTo>
                  <a:lnTo>
                    <a:pt x="10266" y="488200"/>
                  </a:lnTo>
                  <a:lnTo>
                    <a:pt x="0" y="528146"/>
                  </a:lnTo>
                  <a:lnTo>
                    <a:pt x="10266" y="568089"/>
                  </a:lnTo>
                  <a:lnTo>
                    <a:pt x="41064" y="599155"/>
                  </a:lnTo>
                  <a:lnTo>
                    <a:pt x="1379431" y="1370294"/>
                  </a:lnTo>
                  <a:lnTo>
                    <a:pt x="1425864" y="1390876"/>
                  </a:lnTo>
                  <a:lnTo>
                    <a:pt x="1474784" y="1401166"/>
                  </a:lnTo>
                  <a:lnTo>
                    <a:pt x="1524532" y="1401166"/>
                  </a:lnTo>
                  <a:lnTo>
                    <a:pt x="1573452" y="1390876"/>
                  </a:lnTo>
                  <a:lnTo>
                    <a:pt x="1619885" y="1370294"/>
                  </a:lnTo>
                  <a:lnTo>
                    <a:pt x="2359360" y="944035"/>
                  </a:lnTo>
                  <a:lnTo>
                    <a:pt x="2390158" y="912969"/>
                  </a:lnTo>
                  <a:lnTo>
                    <a:pt x="2400424" y="873025"/>
                  </a:lnTo>
                  <a:lnTo>
                    <a:pt x="2390158" y="833080"/>
                  </a:lnTo>
                  <a:lnTo>
                    <a:pt x="2359360" y="802008"/>
                  </a:lnTo>
                  <a:lnTo>
                    <a:pt x="1020992" y="30879"/>
                  </a:lnTo>
                  <a:lnTo>
                    <a:pt x="974559" y="10293"/>
                  </a:lnTo>
                  <a:lnTo>
                    <a:pt x="925639" y="0"/>
                  </a:lnTo>
                  <a:close/>
                </a:path>
              </a:pathLst>
            </a:custGeom>
            <a:solidFill>
              <a:srgbClr val="80B8D6">
                <a:alpha val="29998"/>
              </a:srgbClr>
            </a:solidFill>
          </p:spPr>
          <p:txBody>
            <a:bodyPr wrap="square" lIns="0" tIns="0" rIns="0" bIns="0" rtlCol="0"/>
            <a:lstStyle/>
            <a:p>
              <a:endParaRPr/>
            </a:p>
          </p:txBody>
        </p:sp>
        <p:sp>
          <p:nvSpPr>
            <p:cNvPr id="172" name="object 22">
              <a:extLst>
                <a:ext uri="{FF2B5EF4-FFF2-40B4-BE49-F238E27FC236}">
                  <a16:creationId xmlns:a16="http://schemas.microsoft.com/office/drawing/2014/main" id="{AFCAA189-CF00-B31C-A5BB-647D7AE9CB03}"/>
                </a:ext>
              </a:extLst>
            </p:cNvPr>
            <p:cNvSpPr/>
            <p:nvPr/>
          </p:nvSpPr>
          <p:spPr>
            <a:xfrm>
              <a:off x="11308715" y="4198765"/>
              <a:ext cx="2315845" cy="2816860"/>
            </a:xfrm>
            <a:custGeom>
              <a:avLst/>
              <a:gdLst/>
              <a:ahLst/>
              <a:cxnLst/>
              <a:rect l="l" t="t" r="r" b="b"/>
              <a:pathLst>
                <a:path w="2315844" h="2816859">
                  <a:moveTo>
                    <a:pt x="668045" y="859917"/>
                  </a:moveTo>
                  <a:lnTo>
                    <a:pt x="664044" y="0"/>
                  </a:lnTo>
                  <a:lnTo>
                    <a:pt x="0" y="383400"/>
                  </a:lnTo>
                  <a:lnTo>
                    <a:pt x="4191" y="1285138"/>
                  </a:lnTo>
                  <a:lnTo>
                    <a:pt x="13716" y="1328039"/>
                  </a:lnTo>
                  <a:lnTo>
                    <a:pt x="38620" y="1361046"/>
                  </a:lnTo>
                  <a:lnTo>
                    <a:pt x="74028" y="1381391"/>
                  </a:lnTo>
                  <a:lnTo>
                    <a:pt x="115087" y="1386255"/>
                  </a:lnTo>
                  <a:lnTo>
                    <a:pt x="156946" y="1372857"/>
                  </a:lnTo>
                  <a:lnTo>
                    <a:pt x="480872" y="1185837"/>
                  </a:lnTo>
                  <a:lnTo>
                    <a:pt x="522351" y="1158049"/>
                  </a:lnTo>
                  <a:lnTo>
                    <a:pt x="559295" y="1125461"/>
                  </a:lnTo>
                  <a:lnTo>
                    <a:pt x="591400" y="1088618"/>
                  </a:lnTo>
                  <a:lnTo>
                    <a:pt x="618324" y="1048067"/>
                  </a:lnTo>
                  <a:lnTo>
                    <a:pt x="639775" y="1004366"/>
                  </a:lnTo>
                  <a:lnTo>
                    <a:pt x="655421" y="958075"/>
                  </a:lnTo>
                  <a:lnTo>
                    <a:pt x="664959" y="909739"/>
                  </a:lnTo>
                  <a:lnTo>
                    <a:pt x="668045" y="859917"/>
                  </a:lnTo>
                  <a:close/>
                </a:path>
                <a:path w="2315844" h="2816859">
                  <a:moveTo>
                    <a:pt x="2315413" y="1020813"/>
                  </a:moveTo>
                  <a:lnTo>
                    <a:pt x="1138885" y="1717332"/>
                  </a:lnTo>
                  <a:lnTo>
                    <a:pt x="1116291" y="1704543"/>
                  </a:lnTo>
                  <a:lnTo>
                    <a:pt x="611428" y="1432369"/>
                  </a:lnTo>
                  <a:lnTo>
                    <a:pt x="611428" y="2416619"/>
                  </a:lnTo>
                  <a:lnTo>
                    <a:pt x="615899" y="2467089"/>
                  </a:lnTo>
                  <a:lnTo>
                    <a:pt x="628904" y="2515273"/>
                  </a:lnTo>
                  <a:lnTo>
                    <a:pt x="649897" y="2560167"/>
                  </a:lnTo>
                  <a:lnTo>
                    <a:pt x="678281" y="2600782"/>
                  </a:lnTo>
                  <a:lnTo>
                    <a:pt x="713498" y="2636139"/>
                  </a:lnTo>
                  <a:lnTo>
                    <a:pt x="754964" y="2665247"/>
                  </a:lnTo>
                  <a:lnTo>
                    <a:pt x="913612" y="2756839"/>
                  </a:lnTo>
                  <a:lnTo>
                    <a:pt x="961961" y="2781008"/>
                  </a:lnTo>
                  <a:lnTo>
                    <a:pt x="1012240" y="2799016"/>
                  </a:lnTo>
                  <a:lnTo>
                    <a:pt x="1063866" y="2810865"/>
                  </a:lnTo>
                  <a:lnTo>
                    <a:pt x="1116291" y="2816568"/>
                  </a:lnTo>
                  <a:lnTo>
                    <a:pt x="1167460" y="2816237"/>
                  </a:lnTo>
                  <a:lnTo>
                    <a:pt x="1218349" y="2810103"/>
                  </a:lnTo>
                  <a:lnTo>
                    <a:pt x="1268425" y="2798165"/>
                  </a:lnTo>
                  <a:lnTo>
                    <a:pt x="1317205" y="2780411"/>
                  </a:lnTo>
                  <a:lnTo>
                    <a:pt x="1364157" y="2756839"/>
                  </a:lnTo>
                  <a:lnTo>
                    <a:pt x="2090000" y="2337765"/>
                  </a:lnTo>
                  <a:lnTo>
                    <a:pt x="2130209" y="2311616"/>
                  </a:lnTo>
                  <a:lnTo>
                    <a:pt x="2167013" y="2281694"/>
                  </a:lnTo>
                  <a:lnTo>
                    <a:pt x="2200211" y="2248357"/>
                  </a:lnTo>
                  <a:lnTo>
                    <a:pt x="2229612" y="2211933"/>
                  </a:lnTo>
                  <a:lnTo>
                    <a:pt x="2255012" y="2172754"/>
                  </a:lnTo>
                  <a:lnTo>
                    <a:pt x="2276246" y="2131161"/>
                  </a:lnTo>
                  <a:lnTo>
                    <a:pt x="2293086" y="2087486"/>
                  </a:lnTo>
                  <a:lnTo>
                    <a:pt x="2305367" y="2042071"/>
                  </a:lnTo>
                  <a:lnTo>
                    <a:pt x="2312873" y="1995246"/>
                  </a:lnTo>
                  <a:lnTo>
                    <a:pt x="2315413" y="1947354"/>
                  </a:lnTo>
                  <a:lnTo>
                    <a:pt x="2315413" y="1020813"/>
                  </a:lnTo>
                  <a:close/>
                </a:path>
              </a:pathLst>
            </a:custGeom>
            <a:solidFill>
              <a:srgbClr val="12ABDB"/>
            </a:solidFill>
          </p:spPr>
          <p:txBody>
            <a:bodyPr wrap="square" lIns="0" tIns="0" rIns="0" bIns="0" rtlCol="0"/>
            <a:lstStyle/>
            <a:p>
              <a:endParaRPr/>
            </a:p>
          </p:txBody>
        </p:sp>
        <p:sp>
          <p:nvSpPr>
            <p:cNvPr id="173" name="object 23">
              <a:extLst>
                <a:ext uri="{FF2B5EF4-FFF2-40B4-BE49-F238E27FC236}">
                  <a16:creationId xmlns:a16="http://schemas.microsoft.com/office/drawing/2014/main" id="{25B6AD8B-8948-A6B2-DC84-16E08B9AECBB}"/>
                </a:ext>
              </a:extLst>
            </p:cNvPr>
            <p:cNvSpPr/>
            <p:nvPr/>
          </p:nvSpPr>
          <p:spPr>
            <a:xfrm>
              <a:off x="11227950" y="4240382"/>
              <a:ext cx="2441575" cy="1798955"/>
            </a:xfrm>
            <a:custGeom>
              <a:avLst/>
              <a:gdLst/>
              <a:ahLst/>
              <a:cxnLst/>
              <a:rect l="l" t="t" r="r" b="b"/>
              <a:pathLst>
                <a:path w="2441575" h="1798954">
                  <a:moveTo>
                    <a:pt x="659194" y="0"/>
                  </a:moveTo>
                  <a:lnTo>
                    <a:pt x="611675" y="2496"/>
                  </a:lnTo>
                  <a:lnTo>
                    <a:pt x="564554" y="9909"/>
                  </a:lnTo>
                  <a:lnTo>
                    <a:pt x="518225" y="22238"/>
                  </a:lnTo>
                  <a:lnTo>
                    <a:pt x="473085" y="39483"/>
                  </a:lnTo>
                  <a:lnTo>
                    <a:pt x="429526" y="61643"/>
                  </a:lnTo>
                  <a:lnTo>
                    <a:pt x="83201" y="261584"/>
                  </a:lnTo>
                  <a:lnTo>
                    <a:pt x="50755" y="274328"/>
                  </a:lnTo>
                  <a:lnTo>
                    <a:pt x="24535" y="279768"/>
                  </a:lnTo>
                  <a:lnTo>
                    <a:pt x="6848" y="288989"/>
                  </a:lnTo>
                  <a:lnTo>
                    <a:pt x="0" y="313070"/>
                  </a:lnTo>
                  <a:lnTo>
                    <a:pt x="1534" y="380694"/>
                  </a:lnTo>
                  <a:lnTo>
                    <a:pt x="9575" y="438418"/>
                  </a:lnTo>
                  <a:lnTo>
                    <a:pt x="25194" y="486175"/>
                  </a:lnTo>
                  <a:lnTo>
                    <a:pt x="49460" y="523896"/>
                  </a:lnTo>
                  <a:lnTo>
                    <a:pt x="83442" y="551513"/>
                  </a:lnTo>
                  <a:lnTo>
                    <a:pt x="843723" y="988798"/>
                  </a:lnTo>
                  <a:lnTo>
                    <a:pt x="877508" y="1014840"/>
                  </a:lnTo>
                  <a:lnTo>
                    <a:pt x="901653" y="1047161"/>
                  </a:lnTo>
                  <a:lnTo>
                    <a:pt x="916154" y="1083672"/>
                  </a:lnTo>
                  <a:lnTo>
                    <a:pt x="921009" y="1122282"/>
                  </a:lnTo>
                  <a:lnTo>
                    <a:pt x="916218" y="1160900"/>
                  </a:lnTo>
                  <a:lnTo>
                    <a:pt x="901778" y="1197436"/>
                  </a:lnTo>
                  <a:lnTo>
                    <a:pt x="877686" y="1229800"/>
                  </a:lnTo>
                  <a:lnTo>
                    <a:pt x="843942" y="1255900"/>
                  </a:lnTo>
                  <a:lnTo>
                    <a:pt x="708323" y="1255083"/>
                  </a:lnTo>
                  <a:lnTo>
                    <a:pt x="680420" y="1282071"/>
                  </a:lnTo>
                  <a:lnTo>
                    <a:pt x="659888" y="1318572"/>
                  </a:lnTo>
                  <a:lnTo>
                    <a:pt x="646807" y="1361871"/>
                  </a:lnTo>
                  <a:lnTo>
                    <a:pt x="641257" y="1409251"/>
                  </a:lnTo>
                  <a:lnTo>
                    <a:pt x="643318" y="1457998"/>
                  </a:lnTo>
                  <a:lnTo>
                    <a:pt x="653069" y="1505395"/>
                  </a:lnTo>
                  <a:lnTo>
                    <a:pt x="670591" y="1548726"/>
                  </a:lnTo>
                  <a:lnTo>
                    <a:pt x="695963" y="1585276"/>
                  </a:lnTo>
                  <a:lnTo>
                    <a:pt x="729265" y="1612329"/>
                  </a:lnTo>
                  <a:lnTo>
                    <a:pt x="948033" y="1737864"/>
                  </a:lnTo>
                  <a:lnTo>
                    <a:pt x="991606" y="1759886"/>
                  </a:lnTo>
                  <a:lnTo>
                    <a:pt x="1036746" y="1777000"/>
                  </a:lnTo>
                  <a:lnTo>
                    <a:pt x="1083059" y="1789205"/>
                  </a:lnTo>
                  <a:lnTo>
                    <a:pt x="1130152" y="1796503"/>
                  </a:lnTo>
                  <a:lnTo>
                    <a:pt x="1177632" y="1798894"/>
                  </a:lnTo>
                  <a:lnTo>
                    <a:pt x="1225106" y="1796378"/>
                  </a:lnTo>
                  <a:lnTo>
                    <a:pt x="1272179" y="1788955"/>
                  </a:lnTo>
                  <a:lnTo>
                    <a:pt x="1318460" y="1776628"/>
                  </a:lnTo>
                  <a:lnTo>
                    <a:pt x="1363553" y="1759394"/>
                  </a:lnTo>
                  <a:lnTo>
                    <a:pt x="1407067" y="1737257"/>
                  </a:lnTo>
                  <a:lnTo>
                    <a:pt x="1775349" y="1524635"/>
                  </a:lnTo>
                  <a:lnTo>
                    <a:pt x="1775746" y="1524865"/>
                  </a:lnTo>
                  <a:lnTo>
                    <a:pt x="2351677" y="1192352"/>
                  </a:lnTo>
                  <a:lnTo>
                    <a:pt x="2388048" y="1163426"/>
                  </a:lnTo>
                  <a:lnTo>
                    <a:pt x="2414128" y="1126666"/>
                  </a:lnTo>
                  <a:lnTo>
                    <a:pt x="2430959" y="1084579"/>
                  </a:lnTo>
                  <a:lnTo>
                    <a:pt x="2439581" y="1039675"/>
                  </a:lnTo>
                  <a:lnTo>
                    <a:pt x="2441038" y="994462"/>
                  </a:lnTo>
                  <a:lnTo>
                    <a:pt x="2436371" y="951449"/>
                  </a:lnTo>
                  <a:lnTo>
                    <a:pt x="2426624" y="913145"/>
                  </a:lnTo>
                  <a:lnTo>
                    <a:pt x="888957" y="61266"/>
                  </a:lnTo>
                  <a:lnTo>
                    <a:pt x="845364" y="39179"/>
                  </a:lnTo>
                  <a:lnTo>
                    <a:pt x="800197" y="22009"/>
                  </a:lnTo>
                  <a:lnTo>
                    <a:pt x="753850" y="9756"/>
                  </a:lnTo>
                  <a:lnTo>
                    <a:pt x="706717" y="2419"/>
                  </a:lnTo>
                  <a:lnTo>
                    <a:pt x="659194" y="0"/>
                  </a:lnTo>
                  <a:close/>
                </a:path>
              </a:pathLst>
            </a:custGeom>
            <a:solidFill>
              <a:srgbClr val="88D5ED"/>
            </a:solidFill>
          </p:spPr>
          <p:txBody>
            <a:bodyPr wrap="square" lIns="0" tIns="0" rIns="0" bIns="0" rtlCol="0"/>
            <a:lstStyle/>
            <a:p>
              <a:endParaRPr/>
            </a:p>
          </p:txBody>
        </p:sp>
        <p:sp>
          <p:nvSpPr>
            <p:cNvPr id="174" name="object 24">
              <a:extLst>
                <a:ext uri="{FF2B5EF4-FFF2-40B4-BE49-F238E27FC236}">
                  <a16:creationId xmlns:a16="http://schemas.microsoft.com/office/drawing/2014/main" id="{60F61DDB-84F2-169C-790C-AFF64CAEE909}"/>
                </a:ext>
              </a:extLst>
            </p:cNvPr>
            <p:cNvSpPr/>
            <p:nvPr/>
          </p:nvSpPr>
          <p:spPr>
            <a:xfrm>
              <a:off x="11227495" y="4159228"/>
              <a:ext cx="2435860" cy="1798955"/>
            </a:xfrm>
            <a:custGeom>
              <a:avLst/>
              <a:gdLst/>
              <a:ahLst/>
              <a:cxnLst/>
              <a:rect l="l" t="t" r="r" b="b"/>
              <a:pathLst>
                <a:path w="2435859" h="1798954">
                  <a:moveTo>
                    <a:pt x="659643" y="0"/>
                  </a:moveTo>
                  <a:lnTo>
                    <a:pt x="612123" y="2497"/>
                  </a:lnTo>
                  <a:lnTo>
                    <a:pt x="565002" y="9910"/>
                  </a:lnTo>
                  <a:lnTo>
                    <a:pt x="518673" y="22238"/>
                  </a:lnTo>
                  <a:lnTo>
                    <a:pt x="473532" y="39481"/>
                  </a:lnTo>
                  <a:lnTo>
                    <a:pt x="429973" y="61639"/>
                  </a:lnTo>
                  <a:lnTo>
                    <a:pt x="83649" y="261591"/>
                  </a:lnTo>
                  <a:lnTo>
                    <a:pt x="47023" y="289919"/>
                  </a:lnTo>
                  <a:lnTo>
                    <a:pt x="20874" y="325046"/>
                  </a:lnTo>
                  <a:lnTo>
                    <a:pt x="5200" y="364703"/>
                  </a:lnTo>
                  <a:lnTo>
                    <a:pt x="0" y="406621"/>
                  </a:lnTo>
                  <a:lnTo>
                    <a:pt x="5270" y="448529"/>
                  </a:lnTo>
                  <a:lnTo>
                    <a:pt x="21010" y="488160"/>
                  </a:lnTo>
                  <a:lnTo>
                    <a:pt x="47217" y="523243"/>
                  </a:lnTo>
                  <a:lnTo>
                    <a:pt x="83890" y="551509"/>
                  </a:lnTo>
                  <a:lnTo>
                    <a:pt x="844170" y="988794"/>
                  </a:lnTo>
                  <a:lnTo>
                    <a:pt x="877959" y="1014839"/>
                  </a:lnTo>
                  <a:lnTo>
                    <a:pt x="902105" y="1047163"/>
                  </a:lnTo>
                  <a:lnTo>
                    <a:pt x="916606" y="1083676"/>
                  </a:lnTo>
                  <a:lnTo>
                    <a:pt x="921461" y="1122286"/>
                  </a:lnTo>
                  <a:lnTo>
                    <a:pt x="916668" y="1160904"/>
                  </a:lnTo>
                  <a:lnTo>
                    <a:pt x="902227" y="1197438"/>
                  </a:lnTo>
                  <a:lnTo>
                    <a:pt x="878134" y="1229799"/>
                  </a:lnTo>
                  <a:lnTo>
                    <a:pt x="844390" y="1255896"/>
                  </a:lnTo>
                  <a:lnTo>
                    <a:pt x="729336" y="1322334"/>
                  </a:lnTo>
                  <a:lnTo>
                    <a:pt x="692690" y="1350677"/>
                  </a:lnTo>
                  <a:lnTo>
                    <a:pt x="666534" y="1385825"/>
                  </a:lnTo>
                  <a:lnTo>
                    <a:pt x="650866" y="1425505"/>
                  </a:lnTo>
                  <a:lnTo>
                    <a:pt x="645681" y="1467444"/>
                  </a:lnTo>
                  <a:lnTo>
                    <a:pt x="650978" y="1509370"/>
                  </a:lnTo>
                  <a:lnTo>
                    <a:pt x="666753" y="1549008"/>
                  </a:lnTo>
                  <a:lnTo>
                    <a:pt x="693002" y="1584088"/>
                  </a:lnTo>
                  <a:lnTo>
                    <a:pt x="729723" y="1612335"/>
                  </a:lnTo>
                  <a:lnTo>
                    <a:pt x="948481" y="1737871"/>
                  </a:lnTo>
                  <a:lnTo>
                    <a:pt x="992054" y="1759893"/>
                  </a:lnTo>
                  <a:lnTo>
                    <a:pt x="1037195" y="1777006"/>
                  </a:lnTo>
                  <a:lnTo>
                    <a:pt x="1083509" y="1789212"/>
                  </a:lnTo>
                  <a:lnTo>
                    <a:pt x="1130604" y="1796510"/>
                  </a:lnTo>
                  <a:lnTo>
                    <a:pt x="1178085" y="1798900"/>
                  </a:lnTo>
                  <a:lnTo>
                    <a:pt x="1225560" y="1796384"/>
                  </a:lnTo>
                  <a:lnTo>
                    <a:pt x="1272635" y="1788962"/>
                  </a:lnTo>
                  <a:lnTo>
                    <a:pt x="1318917" y="1776634"/>
                  </a:lnTo>
                  <a:lnTo>
                    <a:pt x="1364011" y="1759401"/>
                  </a:lnTo>
                  <a:lnTo>
                    <a:pt x="1407525" y="1737263"/>
                  </a:lnTo>
                  <a:lnTo>
                    <a:pt x="1775796" y="1524631"/>
                  </a:lnTo>
                  <a:lnTo>
                    <a:pt x="1776194" y="1524861"/>
                  </a:lnTo>
                  <a:lnTo>
                    <a:pt x="2352135" y="1192348"/>
                  </a:lnTo>
                  <a:lnTo>
                    <a:pt x="2388761" y="1164020"/>
                  </a:lnTo>
                  <a:lnTo>
                    <a:pt x="2414910" y="1128893"/>
                  </a:lnTo>
                  <a:lnTo>
                    <a:pt x="2430583" y="1089236"/>
                  </a:lnTo>
                  <a:lnTo>
                    <a:pt x="2435784" y="1047318"/>
                  </a:lnTo>
                  <a:lnTo>
                    <a:pt x="2430513" y="1005410"/>
                  </a:lnTo>
                  <a:lnTo>
                    <a:pt x="2414773" y="965779"/>
                  </a:lnTo>
                  <a:lnTo>
                    <a:pt x="2388566" y="930696"/>
                  </a:lnTo>
                  <a:lnTo>
                    <a:pt x="2351894" y="902430"/>
                  </a:lnTo>
                  <a:lnTo>
                    <a:pt x="889415" y="61262"/>
                  </a:lnTo>
                  <a:lnTo>
                    <a:pt x="845819" y="39175"/>
                  </a:lnTo>
                  <a:lnTo>
                    <a:pt x="800650" y="22006"/>
                  </a:lnTo>
                  <a:lnTo>
                    <a:pt x="754301" y="9754"/>
                  </a:lnTo>
                  <a:lnTo>
                    <a:pt x="707167" y="2418"/>
                  </a:lnTo>
                  <a:lnTo>
                    <a:pt x="659643" y="0"/>
                  </a:lnTo>
                  <a:close/>
                </a:path>
              </a:pathLst>
            </a:custGeom>
            <a:solidFill>
              <a:srgbClr val="F4F4F4"/>
            </a:solidFill>
          </p:spPr>
          <p:txBody>
            <a:bodyPr wrap="square" lIns="0" tIns="0" rIns="0" bIns="0" rtlCol="0"/>
            <a:lstStyle/>
            <a:p>
              <a:endParaRPr/>
            </a:p>
          </p:txBody>
        </p:sp>
        <p:pic>
          <p:nvPicPr>
            <p:cNvPr id="175" name="object 25">
              <a:extLst>
                <a:ext uri="{FF2B5EF4-FFF2-40B4-BE49-F238E27FC236}">
                  <a16:creationId xmlns:a16="http://schemas.microsoft.com/office/drawing/2014/main" id="{FAD2BCF5-CF8B-1269-D746-D061E318508C}"/>
                </a:ext>
              </a:extLst>
            </p:cNvPr>
            <p:cNvPicPr/>
            <p:nvPr/>
          </p:nvPicPr>
          <p:blipFill>
            <a:blip r:embed="rId9" cstate="print"/>
            <a:stretch>
              <a:fillRect/>
            </a:stretch>
          </p:blipFill>
          <p:spPr>
            <a:xfrm>
              <a:off x="12326836" y="4530302"/>
              <a:ext cx="465695" cy="283575"/>
            </a:xfrm>
            <a:prstGeom prst="rect">
              <a:avLst/>
            </a:prstGeom>
          </p:spPr>
        </p:pic>
        <p:sp>
          <p:nvSpPr>
            <p:cNvPr id="176" name="object 26">
              <a:extLst>
                <a:ext uri="{FF2B5EF4-FFF2-40B4-BE49-F238E27FC236}">
                  <a16:creationId xmlns:a16="http://schemas.microsoft.com/office/drawing/2014/main" id="{E554C960-7CC2-5617-E5D6-24C63C986C20}"/>
                </a:ext>
              </a:extLst>
            </p:cNvPr>
            <p:cNvSpPr/>
            <p:nvPr/>
          </p:nvSpPr>
          <p:spPr>
            <a:xfrm>
              <a:off x="12484043" y="4419719"/>
              <a:ext cx="198120" cy="280670"/>
            </a:xfrm>
            <a:custGeom>
              <a:avLst/>
              <a:gdLst/>
              <a:ahLst/>
              <a:cxnLst/>
              <a:rect l="l" t="t" r="r" b="b"/>
              <a:pathLst>
                <a:path w="198120" h="280670">
                  <a:moveTo>
                    <a:pt x="1528" y="0"/>
                  </a:moveTo>
                  <a:lnTo>
                    <a:pt x="0" y="150152"/>
                  </a:lnTo>
                  <a:lnTo>
                    <a:pt x="18581" y="196485"/>
                  </a:lnTo>
                  <a:lnTo>
                    <a:pt x="147848" y="275520"/>
                  </a:lnTo>
                  <a:lnTo>
                    <a:pt x="164441" y="280055"/>
                  </a:lnTo>
                  <a:lnTo>
                    <a:pt x="180117" y="275846"/>
                  </a:lnTo>
                  <a:lnTo>
                    <a:pt x="191831" y="264610"/>
                  </a:lnTo>
                  <a:lnTo>
                    <a:pt x="196538" y="248065"/>
                  </a:lnTo>
                  <a:lnTo>
                    <a:pt x="197878" y="116048"/>
                  </a:lnTo>
                  <a:lnTo>
                    <a:pt x="1528" y="0"/>
                  </a:lnTo>
                  <a:close/>
                </a:path>
              </a:pathLst>
            </a:custGeom>
            <a:solidFill>
              <a:srgbClr val="035A82"/>
            </a:solidFill>
          </p:spPr>
          <p:txBody>
            <a:bodyPr wrap="square" lIns="0" tIns="0" rIns="0" bIns="0" rtlCol="0"/>
            <a:lstStyle/>
            <a:p>
              <a:endParaRPr/>
            </a:p>
          </p:txBody>
        </p:sp>
        <p:sp>
          <p:nvSpPr>
            <p:cNvPr id="177" name="object 27">
              <a:extLst>
                <a:ext uri="{FF2B5EF4-FFF2-40B4-BE49-F238E27FC236}">
                  <a16:creationId xmlns:a16="http://schemas.microsoft.com/office/drawing/2014/main" id="{23D14E8F-A072-A008-A3F0-F6D8F892DF74}"/>
                </a:ext>
              </a:extLst>
            </p:cNvPr>
            <p:cNvSpPr/>
            <p:nvPr/>
          </p:nvSpPr>
          <p:spPr>
            <a:xfrm>
              <a:off x="12461829" y="4432544"/>
              <a:ext cx="198120" cy="280670"/>
            </a:xfrm>
            <a:custGeom>
              <a:avLst/>
              <a:gdLst/>
              <a:ahLst/>
              <a:cxnLst/>
              <a:rect l="l" t="t" r="r" b="b"/>
              <a:pathLst>
                <a:path w="198120" h="280670">
                  <a:moveTo>
                    <a:pt x="1528" y="0"/>
                  </a:moveTo>
                  <a:lnTo>
                    <a:pt x="0" y="150152"/>
                  </a:lnTo>
                  <a:lnTo>
                    <a:pt x="18581" y="196485"/>
                  </a:lnTo>
                  <a:lnTo>
                    <a:pt x="147848" y="275520"/>
                  </a:lnTo>
                  <a:lnTo>
                    <a:pt x="164440" y="280055"/>
                  </a:lnTo>
                  <a:lnTo>
                    <a:pt x="180113" y="275846"/>
                  </a:lnTo>
                  <a:lnTo>
                    <a:pt x="191827" y="264610"/>
                  </a:lnTo>
                  <a:lnTo>
                    <a:pt x="196538" y="248065"/>
                  </a:lnTo>
                  <a:lnTo>
                    <a:pt x="197878" y="116048"/>
                  </a:lnTo>
                  <a:lnTo>
                    <a:pt x="1528" y="0"/>
                  </a:lnTo>
                  <a:close/>
                </a:path>
              </a:pathLst>
            </a:custGeom>
            <a:solidFill>
              <a:srgbClr val="A2CDED"/>
            </a:solidFill>
          </p:spPr>
          <p:txBody>
            <a:bodyPr wrap="square" lIns="0" tIns="0" rIns="0" bIns="0" rtlCol="0"/>
            <a:lstStyle/>
            <a:p>
              <a:endParaRPr/>
            </a:p>
          </p:txBody>
        </p:sp>
        <p:sp>
          <p:nvSpPr>
            <p:cNvPr id="178" name="object 28">
              <a:extLst>
                <a:ext uri="{FF2B5EF4-FFF2-40B4-BE49-F238E27FC236}">
                  <a16:creationId xmlns:a16="http://schemas.microsoft.com/office/drawing/2014/main" id="{D378007C-B0D2-3738-7534-6B0C7E99DD77}"/>
                </a:ext>
              </a:extLst>
            </p:cNvPr>
            <p:cNvSpPr/>
            <p:nvPr/>
          </p:nvSpPr>
          <p:spPr>
            <a:xfrm>
              <a:off x="12149084" y="3568240"/>
              <a:ext cx="857250" cy="1144905"/>
            </a:xfrm>
            <a:custGeom>
              <a:avLst/>
              <a:gdLst/>
              <a:ahLst/>
              <a:cxnLst/>
              <a:rect l="l" t="t" r="r" b="b"/>
              <a:pathLst>
                <a:path w="857250" h="1144904">
                  <a:moveTo>
                    <a:pt x="92585" y="0"/>
                  </a:moveTo>
                  <a:lnTo>
                    <a:pt x="50152" y="12701"/>
                  </a:lnTo>
                  <a:lnTo>
                    <a:pt x="14901" y="38134"/>
                  </a:lnTo>
                  <a:lnTo>
                    <a:pt x="0" y="70420"/>
                  </a:lnTo>
                  <a:lnTo>
                    <a:pt x="34773" y="650078"/>
                  </a:lnTo>
                  <a:lnTo>
                    <a:pt x="51384" y="691504"/>
                  </a:lnTo>
                  <a:lnTo>
                    <a:pt x="726051" y="1140555"/>
                  </a:lnTo>
                  <a:lnTo>
                    <a:pt x="761917" y="1144708"/>
                  </a:lnTo>
                  <a:lnTo>
                    <a:pt x="803085" y="1128141"/>
                  </a:lnTo>
                  <a:lnTo>
                    <a:pt x="837075" y="1098842"/>
                  </a:lnTo>
                  <a:lnTo>
                    <a:pt x="851408" y="1064798"/>
                  </a:lnTo>
                  <a:lnTo>
                    <a:pt x="856989" y="516459"/>
                  </a:lnTo>
                  <a:lnTo>
                    <a:pt x="852569" y="480330"/>
                  </a:lnTo>
                  <a:lnTo>
                    <a:pt x="817692" y="418474"/>
                  </a:lnTo>
                  <a:lnTo>
                    <a:pt x="129032" y="5909"/>
                  </a:lnTo>
                  <a:lnTo>
                    <a:pt x="92585" y="0"/>
                  </a:lnTo>
                  <a:close/>
                </a:path>
              </a:pathLst>
            </a:custGeom>
            <a:solidFill>
              <a:srgbClr val="80B7D5"/>
            </a:solidFill>
          </p:spPr>
          <p:txBody>
            <a:bodyPr wrap="square" lIns="0" tIns="0" rIns="0" bIns="0" rtlCol="0"/>
            <a:lstStyle/>
            <a:p>
              <a:endParaRPr/>
            </a:p>
          </p:txBody>
        </p:sp>
        <p:sp>
          <p:nvSpPr>
            <p:cNvPr id="179" name="object 29">
              <a:extLst>
                <a:ext uri="{FF2B5EF4-FFF2-40B4-BE49-F238E27FC236}">
                  <a16:creationId xmlns:a16="http://schemas.microsoft.com/office/drawing/2014/main" id="{AEA158D3-FCBB-6702-89FC-0320618F5141}"/>
                </a:ext>
              </a:extLst>
            </p:cNvPr>
            <p:cNvSpPr/>
            <p:nvPr/>
          </p:nvSpPr>
          <p:spPr>
            <a:xfrm>
              <a:off x="12143606" y="3589353"/>
              <a:ext cx="821055" cy="1008380"/>
            </a:xfrm>
            <a:custGeom>
              <a:avLst/>
              <a:gdLst/>
              <a:ahLst/>
              <a:cxnLst/>
              <a:rect l="l" t="t" r="r" b="b"/>
              <a:pathLst>
                <a:path w="821054" h="1008379">
                  <a:moveTo>
                    <a:pt x="62909" y="0"/>
                  </a:moveTo>
                  <a:lnTo>
                    <a:pt x="34512" y="7622"/>
                  </a:lnTo>
                  <a:lnTo>
                    <a:pt x="13292" y="27977"/>
                  </a:lnTo>
                  <a:lnTo>
                    <a:pt x="4764" y="57954"/>
                  </a:lnTo>
                  <a:lnTo>
                    <a:pt x="0" y="525668"/>
                  </a:lnTo>
                  <a:lnTo>
                    <a:pt x="815954" y="1007905"/>
                  </a:lnTo>
                  <a:lnTo>
                    <a:pt x="820927" y="518768"/>
                  </a:lnTo>
                  <a:lnTo>
                    <a:pt x="816507" y="482639"/>
                  </a:lnTo>
                  <a:lnTo>
                    <a:pt x="781630" y="420782"/>
                  </a:lnTo>
                  <a:lnTo>
                    <a:pt x="92970" y="8218"/>
                  </a:lnTo>
                  <a:lnTo>
                    <a:pt x="62909" y="0"/>
                  </a:lnTo>
                  <a:close/>
                </a:path>
              </a:pathLst>
            </a:custGeom>
            <a:solidFill>
              <a:srgbClr val="402350"/>
            </a:solidFill>
          </p:spPr>
          <p:txBody>
            <a:bodyPr wrap="square" lIns="0" tIns="0" rIns="0" bIns="0" rtlCol="0"/>
            <a:lstStyle/>
            <a:p>
              <a:endParaRPr/>
            </a:p>
          </p:txBody>
        </p:sp>
        <p:pic>
          <p:nvPicPr>
            <p:cNvPr id="180" name="object 30">
              <a:extLst>
                <a:ext uri="{FF2B5EF4-FFF2-40B4-BE49-F238E27FC236}">
                  <a16:creationId xmlns:a16="http://schemas.microsoft.com/office/drawing/2014/main" id="{B9B4CBCE-79F4-F3D2-A573-E75700C97E40}"/>
                </a:ext>
              </a:extLst>
            </p:cNvPr>
            <p:cNvPicPr/>
            <p:nvPr/>
          </p:nvPicPr>
          <p:blipFill>
            <a:blip r:embed="rId10" cstate="print"/>
            <a:stretch>
              <a:fillRect/>
            </a:stretch>
          </p:blipFill>
          <p:spPr>
            <a:xfrm>
              <a:off x="12142320" y="4115026"/>
              <a:ext cx="817231" cy="599393"/>
            </a:xfrm>
            <a:prstGeom prst="rect">
              <a:avLst/>
            </a:prstGeom>
          </p:spPr>
        </p:pic>
        <p:pic>
          <p:nvPicPr>
            <p:cNvPr id="181" name="object 31">
              <a:extLst>
                <a:ext uri="{FF2B5EF4-FFF2-40B4-BE49-F238E27FC236}">
                  <a16:creationId xmlns:a16="http://schemas.microsoft.com/office/drawing/2014/main" id="{5C83BC4D-0F93-E445-2E4B-643A2D90681B}"/>
                </a:ext>
              </a:extLst>
            </p:cNvPr>
            <p:cNvPicPr/>
            <p:nvPr/>
          </p:nvPicPr>
          <p:blipFill>
            <a:blip r:embed="rId11" cstate="print"/>
            <a:stretch>
              <a:fillRect/>
            </a:stretch>
          </p:blipFill>
          <p:spPr>
            <a:xfrm>
              <a:off x="11754257" y="4700106"/>
              <a:ext cx="678269" cy="400872"/>
            </a:xfrm>
            <a:prstGeom prst="rect">
              <a:avLst/>
            </a:prstGeom>
          </p:spPr>
        </p:pic>
        <p:pic>
          <p:nvPicPr>
            <p:cNvPr id="182" name="object 32">
              <a:extLst>
                <a:ext uri="{FF2B5EF4-FFF2-40B4-BE49-F238E27FC236}">
                  <a16:creationId xmlns:a16="http://schemas.microsoft.com/office/drawing/2014/main" id="{200DF813-61E0-F89F-8E1D-9C7FBC63A4CB}"/>
                </a:ext>
              </a:extLst>
            </p:cNvPr>
            <p:cNvPicPr/>
            <p:nvPr/>
          </p:nvPicPr>
          <p:blipFill>
            <a:blip r:embed="rId12" cstate="print"/>
            <a:stretch>
              <a:fillRect/>
            </a:stretch>
          </p:blipFill>
          <p:spPr>
            <a:xfrm>
              <a:off x="11007678" y="3964121"/>
              <a:ext cx="2661482" cy="3051218"/>
            </a:xfrm>
            <a:prstGeom prst="rect">
              <a:avLst/>
            </a:prstGeom>
          </p:spPr>
        </p:pic>
        <p:pic>
          <p:nvPicPr>
            <p:cNvPr id="183" name="object 33">
              <a:extLst>
                <a:ext uri="{FF2B5EF4-FFF2-40B4-BE49-F238E27FC236}">
                  <a16:creationId xmlns:a16="http://schemas.microsoft.com/office/drawing/2014/main" id="{C6001C65-C463-480D-6A32-1FA1F13DC6C6}"/>
                </a:ext>
              </a:extLst>
            </p:cNvPr>
            <p:cNvPicPr/>
            <p:nvPr/>
          </p:nvPicPr>
          <p:blipFill>
            <a:blip r:embed="rId13" cstate="print"/>
            <a:stretch>
              <a:fillRect/>
            </a:stretch>
          </p:blipFill>
          <p:spPr>
            <a:xfrm>
              <a:off x="13410696" y="3437938"/>
              <a:ext cx="238673" cy="140680"/>
            </a:xfrm>
            <a:prstGeom prst="rect">
              <a:avLst/>
            </a:prstGeom>
          </p:spPr>
        </p:pic>
        <p:pic>
          <p:nvPicPr>
            <p:cNvPr id="184" name="object 34">
              <a:extLst>
                <a:ext uri="{FF2B5EF4-FFF2-40B4-BE49-F238E27FC236}">
                  <a16:creationId xmlns:a16="http://schemas.microsoft.com/office/drawing/2014/main" id="{5E0542A3-253E-A297-C762-14D602FC17A1}"/>
                </a:ext>
              </a:extLst>
            </p:cNvPr>
            <p:cNvPicPr/>
            <p:nvPr/>
          </p:nvPicPr>
          <p:blipFill>
            <a:blip r:embed="rId14" cstate="print"/>
            <a:stretch>
              <a:fillRect/>
            </a:stretch>
          </p:blipFill>
          <p:spPr>
            <a:xfrm>
              <a:off x="13999402" y="3261554"/>
              <a:ext cx="221641" cy="187916"/>
            </a:xfrm>
            <a:prstGeom prst="rect">
              <a:avLst/>
            </a:prstGeom>
          </p:spPr>
        </p:pic>
        <p:sp>
          <p:nvSpPr>
            <p:cNvPr id="185" name="object 35">
              <a:extLst>
                <a:ext uri="{FF2B5EF4-FFF2-40B4-BE49-F238E27FC236}">
                  <a16:creationId xmlns:a16="http://schemas.microsoft.com/office/drawing/2014/main" id="{10A54B25-EAEF-615B-F0E9-D001B58651E8}"/>
                </a:ext>
              </a:extLst>
            </p:cNvPr>
            <p:cNvSpPr/>
            <p:nvPr/>
          </p:nvSpPr>
          <p:spPr>
            <a:xfrm>
              <a:off x="14430278" y="1451850"/>
              <a:ext cx="671195" cy="878840"/>
            </a:xfrm>
            <a:custGeom>
              <a:avLst/>
              <a:gdLst/>
              <a:ahLst/>
              <a:cxnLst/>
              <a:rect l="l" t="t" r="r" b="b"/>
              <a:pathLst>
                <a:path w="671194" h="878839">
                  <a:moveTo>
                    <a:pt x="193483" y="0"/>
                  </a:moveTo>
                  <a:lnTo>
                    <a:pt x="139877" y="2303"/>
                  </a:lnTo>
                  <a:lnTo>
                    <a:pt x="96164" y="18895"/>
                  </a:lnTo>
                  <a:lnTo>
                    <a:pt x="56122" y="48087"/>
                  </a:lnTo>
                  <a:lnTo>
                    <a:pt x="24084" y="88643"/>
                  </a:lnTo>
                  <a:lnTo>
                    <a:pt x="4384" y="139325"/>
                  </a:lnTo>
                  <a:lnTo>
                    <a:pt x="0" y="180879"/>
                  </a:lnTo>
                  <a:lnTo>
                    <a:pt x="4562" y="223760"/>
                  </a:lnTo>
                  <a:lnTo>
                    <a:pt x="18776" y="263708"/>
                  </a:lnTo>
                  <a:lnTo>
                    <a:pt x="43346" y="296462"/>
                  </a:lnTo>
                  <a:lnTo>
                    <a:pt x="93402" y="317618"/>
                  </a:lnTo>
                  <a:lnTo>
                    <a:pt x="122088" y="320546"/>
                  </a:lnTo>
                  <a:lnTo>
                    <a:pt x="157500" y="329319"/>
                  </a:lnTo>
                  <a:lnTo>
                    <a:pt x="198140" y="349712"/>
                  </a:lnTo>
                  <a:lnTo>
                    <a:pt x="234695" y="378823"/>
                  </a:lnTo>
                  <a:lnTo>
                    <a:pt x="266794" y="414795"/>
                  </a:lnTo>
                  <a:lnTo>
                    <a:pt x="294068" y="455770"/>
                  </a:lnTo>
                  <a:lnTo>
                    <a:pt x="316148" y="499893"/>
                  </a:lnTo>
                  <a:lnTo>
                    <a:pt x="332662" y="545305"/>
                  </a:lnTo>
                  <a:lnTo>
                    <a:pt x="343243" y="590149"/>
                  </a:lnTo>
                  <a:lnTo>
                    <a:pt x="347305" y="644518"/>
                  </a:lnTo>
                  <a:lnTo>
                    <a:pt x="343576" y="683277"/>
                  </a:lnTo>
                  <a:lnTo>
                    <a:pt x="341683" y="716296"/>
                  </a:lnTo>
                  <a:lnTo>
                    <a:pt x="351253" y="753443"/>
                  </a:lnTo>
                  <a:lnTo>
                    <a:pt x="371919" y="788875"/>
                  </a:lnTo>
                  <a:lnTo>
                    <a:pt x="400999" y="821337"/>
                  </a:lnTo>
                  <a:lnTo>
                    <a:pt x="436367" y="848574"/>
                  </a:lnTo>
                  <a:lnTo>
                    <a:pt x="475897" y="868331"/>
                  </a:lnTo>
                  <a:lnTo>
                    <a:pt x="517462" y="878351"/>
                  </a:lnTo>
                  <a:lnTo>
                    <a:pt x="558938" y="876380"/>
                  </a:lnTo>
                  <a:lnTo>
                    <a:pt x="598198" y="860162"/>
                  </a:lnTo>
                  <a:lnTo>
                    <a:pt x="630452" y="830821"/>
                  </a:lnTo>
                  <a:lnTo>
                    <a:pt x="653735" y="792498"/>
                  </a:lnTo>
                  <a:lnTo>
                    <a:pt x="667447" y="749194"/>
                  </a:lnTo>
                  <a:lnTo>
                    <a:pt x="670987" y="704912"/>
                  </a:lnTo>
                  <a:lnTo>
                    <a:pt x="663756" y="663655"/>
                  </a:lnTo>
                  <a:lnTo>
                    <a:pt x="645254" y="630676"/>
                  </a:lnTo>
                  <a:lnTo>
                    <a:pt x="620653" y="609435"/>
                  </a:lnTo>
                  <a:lnTo>
                    <a:pt x="592895" y="586308"/>
                  </a:lnTo>
                  <a:lnTo>
                    <a:pt x="564922" y="547669"/>
                  </a:lnTo>
                  <a:lnTo>
                    <a:pt x="547978" y="502067"/>
                  </a:lnTo>
                  <a:lnTo>
                    <a:pt x="543892" y="462148"/>
                  </a:lnTo>
                  <a:lnTo>
                    <a:pt x="544078" y="425383"/>
                  </a:lnTo>
                  <a:lnTo>
                    <a:pt x="539947" y="389241"/>
                  </a:lnTo>
                  <a:lnTo>
                    <a:pt x="522913" y="351193"/>
                  </a:lnTo>
                  <a:lnTo>
                    <a:pt x="493578" y="320435"/>
                  </a:lnTo>
                  <a:lnTo>
                    <a:pt x="462634" y="303761"/>
                  </a:lnTo>
                  <a:lnTo>
                    <a:pt x="430500" y="285723"/>
                  </a:lnTo>
                  <a:lnTo>
                    <a:pt x="397597" y="250872"/>
                  </a:lnTo>
                  <a:lnTo>
                    <a:pt x="379382" y="215136"/>
                  </a:lnTo>
                  <a:lnTo>
                    <a:pt x="372452" y="184091"/>
                  </a:lnTo>
                  <a:lnTo>
                    <a:pt x="366585" y="152508"/>
                  </a:lnTo>
                  <a:lnTo>
                    <a:pt x="351557" y="115158"/>
                  </a:lnTo>
                  <a:lnTo>
                    <a:pt x="324684" y="76646"/>
                  </a:lnTo>
                  <a:lnTo>
                    <a:pt x="287983" y="41637"/>
                  </a:lnTo>
                  <a:lnTo>
                    <a:pt x="243551" y="14600"/>
                  </a:lnTo>
                  <a:lnTo>
                    <a:pt x="193483" y="0"/>
                  </a:lnTo>
                  <a:close/>
                </a:path>
              </a:pathLst>
            </a:custGeom>
            <a:solidFill>
              <a:srgbClr val="FF7E83"/>
            </a:solidFill>
          </p:spPr>
          <p:txBody>
            <a:bodyPr wrap="square" lIns="0" tIns="0" rIns="0" bIns="0" rtlCol="0"/>
            <a:lstStyle/>
            <a:p>
              <a:endParaRPr/>
            </a:p>
          </p:txBody>
        </p:sp>
        <p:sp>
          <p:nvSpPr>
            <p:cNvPr id="186" name="object 36">
              <a:extLst>
                <a:ext uri="{FF2B5EF4-FFF2-40B4-BE49-F238E27FC236}">
                  <a16:creationId xmlns:a16="http://schemas.microsoft.com/office/drawing/2014/main" id="{3EAFA5AC-DE04-F4A3-5BC1-E48B453B7B03}"/>
                </a:ext>
              </a:extLst>
            </p:cNvPr>
            <p:cNvSpPr/>
            <p:nvPr/>
          </p:nvSpPr>
          <p:spPr>
            <a:xfrm>
              <a:off x="14060208" y="1894680"/>
              <a:ext cx="550545" cy="1473835"/>
            </a:xfrm>
            <a:custGeom>
              <a:avLst/>
              <a:gdLst/>
              <a:ahLst/>
              <a:cxnLst/>
              <a:rect l="l" t="t" r="r" b="b"/>
              <a:pathLst>
                <a:path w="550544" h="1473835">
                  <a:moveTo>
                    <a:pt x="147739" y="1431188"/>
                  </a:moveTo>
                  <a:lnTo>
                    <a:pt x="99428" y="1208341"/>
                  </a:lnTo>
                  <a:lnTo>
                    <a:pt x="76771" y="1176832"/>
                  </a:lnTo>
                  <a:lnTo>
                    <a:pt x="58585" y="1169949"/>
                  </a:lnTo>
                  <a:lnTo>
                    <a:pt x="38417" y="1170559"/>
                  </a:lnTo>
                  <a:lnTo>
                    <a:pt x="20104" y="1178966"/>
                  </a:lnTo>
                  <a:lnTo>
                    <a:pt x="6896" y="1193241"/>
                  </a:lnTo>
                  <a:lnTo>
                    <a:pt x="0" y="1211440"/>
                  </a:lnTo>
                  <a:lnTo>
                    <a:pt x="635" y="1231582"/>
                  </a:lnTo>
                  <a:lnTo>
                    <a:pt x="48310" y="1434287"/>
                  </a:lnTo>
                  <a:lnTo>
                    <a:pt x="81013" y="1470583"/>
                  </a:lnTo>
                  <a:lnTo>
                    <a:pt x="97663" y="1473415"/>
                  </a:lnTo>
                  <a:lnTo>
                    <a:pt x="101511" y="1473415"/>
                  </a:lnTo>
                  <a:lnTo>
                    <a:pt x="140855" y="1449374"/>
                  </a:lnTo>
                  <a:lnTo>
                    <a:pt x="147739" y="1431188"/>
                  </a:lnTo>
                  <a:close/>
                </a:path>
                <a:path w="550544" h="1473835">
                  <a:moveTo>
                    <a:pt x="550240" y="51371"/>
                  </a:moveTo>
                  <a:lnTo>
                    <a:pt x="546722" y="32245"/>
                  </a:lnTo>
                  <a:lnTo>
                    <a:pt x="536295" y="15824"/>
                  </a:lnTo>
                  <a:lnTo>
                    <a:pt x="519798" y="4254"/>
                  </a:lnTo>
                  <a:lnTo>
                    <a:pt x="500100" y="0"/>
                  </a:lnTo>
                  <a:lnTo>
                    <a:pt x="480961" y="3505"/>
                  </a:lnTo>
                  <a:lnTo>
                    <a:pt x="464553" y="13944"/>
                  </a:lnTo>
                  <a:lnTo>
                    <a:pt x="452996" y="30441"/>
                  </a:lnTo>
                  <a:lnTo>
                    <a:pt x="421259" y="101828"/>
                  </a:lnTo>
                  <a:lnTo>
                    <a:pt x="393382" y="161912"/>
                  </a:lnTo>
                  <a:lnTo>
                    <a:pt x="368554" y="212775"/>
                  </a:lnTo>
                  <a:lnTo>
                    <a:pt x="345935" y="256463"/>
                  </a:lnTo>
                  <a:lnTo>
                    <a:pt x="324688" y="295033"/>
                  </a:lnTo>
                  <a:lnTo>
                    <a:pt x="303987" y="330542"/>
                  </a:lnTo>
                  <a:lnTo>
                    <a:pt x="282994" y="365061"/>
                  </a:lnTo>
                  <a:lnTo>
                    <a:pt x="239483" y="435102"/>
                  </a:lnTo>
                  <a:lnTo>
                    <a:pt x="216090" y="473240"/>
                  </a:lnTo>
                  <a:lnTo>
                    <a:pt x="190119" y="516572"/>
                  </a:lnTo>
                  <a:lnTo>
                    <a:pt x="160985" y="566547"/>
                  </a:lnTo>
                  <a:lnTo>
                    <a:pt x="154597" y="585660"/>
                  </a:lnTo>
                  <a:lnTo>
                    <a:pt x="155994" y="605053"/>
                  </a:lnTo>
                  <a:lnTo>
                    <a:pt x="179692" y="635825"/>
                  </a:lnTo>
                  <a:lnTo>
                    <a:pt x="204927" y="642581"/>
                  </a:lnTo>
                  <a:lnTo>
                    <a:pt x="217906" y="640892"/>
                  </a:lnTo>
                  <a:lnTo>
                    <a:pt x="230022" y="635965"/>
                  </a:lnTo>
                  <a:lnTo>
                    <a:pt x="240601" y="627976"/>
                  </a:lnTo>
                  <a:lnTo>
                    <a:pt x="248970" y="617105"/>
                  </a:lnTo>
                  <a:lnTo>
                    <a:pt x="277495" y="568172"/>
                  </a:lnTo>
                  <a:lnTo>
                    <a:pt x="302971" y="525678"/>
                  </a:lnTo>
                  <a:lnTo>
                    <a:pt x="325958" y="488200"/>
                  </a:lnTo>
                  <a:lnTo>
                    <a:pt x="366890" y="422338"/>
                  </a:lnTo>
                  <a:lnTo>
                    <a:pt x="386054" y="390982"/>
                  </a:lnTo>
                  <a:lnTo>
                    <a:pt x="424408" y="324523"/>
                  </a:lnTo>
                  <a:lnTo>
                    <a:pt x="444703" y="286613"/>
                  </a:lnTo>
                  <a:lnTo>
                    <a:pt x="466458" y="243713"/>
                  </a:lnTo>
                  <a:lnTo>
                    <a:pt x="490220" y="194424"/>
                  </a:lnTo>
                  <a:lnTo>
                    <a:pt x="516547" y="137337"/>
                  </a:lnTo>
                  <a:lnTo>
                    <a:pt x="545985" y="71069"/>
                  </a:lnTo>
                  <a:lnTo>
                    <a:pt x="550240" y="51371"/>
                  </a:lnTo>
                  <a:close/>
                </a:path>
              </a:pathLst>
            </a:custGeom>
            <a:solidFill>
              <a:srgbClr val="FFC1A9"/>
            </a:solidFill>
          </p:spPr>
          <p:txBody>
            <a:bodyPr wrap="square" lIns="0" tIns="0" rIns="0" bIns="0" rtlCol="0"/>
            <a:lstStyle/>
            <a:p>
              <a:endParaRPr/>
            </a:p>
          </p:txBody>
        </p:sp>
        <p:pic>
          <p:nvPicPr>
            <p:cNvPr id="187" name="object 37">
              <a:extLst>
                <a:ext uri="{FF2B5EF4-FFF2-40B4-BE49-F238E27FC236}">
                  <a16:creationId xmlns:a16="http://schemas.microsoft.com/office/drawing/2014/main" id="{FD0AF8BB-5236-6E3D-A367-87059ADA15F5}"/>
                </a:ext>
              </a:extLst>
            </p:cNvPr>
            <p:cNvPicPr/>
            <p:nvPr/>
          </p:nvPicPr>
          <p:blipFill>
            <a:blip r:embed="rId15" cstate="print"/>
            <a:stretch>
              <a:fillRect/>
            </a:stretch>
          </p:blipFill>
          <p:spPr>
            <a:xfrm>
              <a:off x="14232415" y="1811097"/>
              <a:ext cx="710299" cy="1140582"/>
            </a:xfrm>
            <a:prstGeom prst="rect">
              <a:avLst/>
            </a:prstGeom>
          </p:spPr>
        </p:pic>
        <p:sp>
          <p:nvSpPr>
            <p:cNvPr id="188" name="object 38">
              <a:extLst>
                <a:ext uri="{FF2B5EF4-FFF2-40B4-BE49-F238E27FC236}">
                  <a16:creationId xmlns:a16="http://schemas.microsoft.com/office/drawing/2014/main" id="{45CE9E15-B6E8-5923-0448-2CCD5CC67809}"/>
                </a:ext>
              </a:extLst>
            </p:cNvPr>
            <p:cNvSpPr/>
            <p:nvPr/>
          </p:nvSpPr>
          <p:spPr>
            <a:xfrm>
              <a:off x="13989025" y="2552401"/>
              <a:ext cx="557530" cy="629920"/>
            </a:xfrm>
            <a:custGeom>
              <a:avLst/>
              <a:gdLst/>
              <a:ahLst/>
              <a:cxnLst/>
              <a:rect l="l" t="t" r="r" b="b"/>
              <a:pathLst>
                <a:path w="557530" h="629919">
                  <a:moveTo>
                    <a:pt x="557149" y="274751"/>
                  </a:moveTo>
                  <a:lnTo>
                    <a:pt x="549783" y="225945"/>
                  </a:lnTo>
                  <a:lnTo>
                    <a:pt x="530225" y="171958"/>
                  </a:lnTo>
                  <a:lnTo>
                    <a:pt x="499033" y="116509"/>
                  </a:lnTo>
                  <a:lnTo>
                    <a:pt x="460006" y="67157"/>
                  </a:lnTo>
                  <a:lnTo>
                    <a:pt x="418566" y="30124"/>
                  </a:lnTo>
                  <a:lnTo>
                    <a:pt x="377850" y="7150"/>
                  </a:lnTo>
                  <a:lnTo>
                    <a:pt x="340931" y="0"/>
                  </a:lnTo>
                  <a:lnTo>
                    <a:pt x="312877" y="9740"/>
                  </a:lnTo>
                  <a:lnTo>
                    <a:pt x="289420" y="7797"/>
                  </a:lnTo>
                  <a:lnTo>
                    <a:pt x="243103" y="4406"/>
                  </a:lnTo>
                  <a:lnTo>
                    <a:pt x="193281" y="4749"/>
                  </a:lnTo>
                  <a:lnTo>
                    <a:pt x="142875" y="13106"/>
                  </a:lnTo>
                  <a:lnTo>
                    <a:pt x="94843" y="33743"/>
                  </a:lnTo>
                  <a:lnTo>
                    <a:pt x="52133" y="70980"/>
                  </a:lnTo>
                  <a:lnTo>
                    <a:pt x="20510" y="124917"/>
                  </a:lnTo>
                  <a:lnTo>
                    <a:pt x="3251" y="194437"/>
                  </a:lnTo>
                  <a:lnTo>
                    <a:pt x="0" y="235470"/>
                  </a:lnTo>
                  <a:lnTo>
                    <a:pt x="355" y="280911"/>
                  </a:lnTo>
                  <a:lnTo>
                    <a:pt x="4292" y="330936"/>
                  </a:lnTo>
                  <a:lnTo>
                    <a:pt x="11823" y="385711"/>
                  </a:lnTo>
                  <a:lnTo>
                    <a:pt x="22961" y="445414"/>
                  </a:lnTo>
                  <a:lnTo>
                    <a:pt x="37693" y="510209"/>
                  </a:lnTo>
                  <a:lnTo>
                    <a:pt x="56019" y="580275"/>
                  </a:lnTo>
                  <a:lnTo>
                    <a:pt x="80581" y="616343"/>
                  </a:lnTo>
                  <a:lnTo>
                    <a:pt x="121170" y="629907"/>
                  </a:lnTo>
                  <a:lnTo>
                    <a:pt x="127152" y="629907"/>
                  </a:lnTo>
                  <a:lnTo>
                    <a:pt x="163220" y="615302"/>
                  </a:lnTo>
                  <a:lnTo>
                    <a:pt x="188315" y="571004"/>
                  </a:lnTo>
                  <a:lnTo>
                    <a:pt x="161645" y="446163"/>
                  </a:lnTo>
                  <a:lnTo>
                    <a:pt x="145808" y="365798"/>
                  </a:lnTo>
                  <a:lnTo>
                    <a:pt x="137439" y="301396"/>
                  </a:lnTo>
                  <a:lnTo>
                    <a:pt x="135051" y="251193"/>
                  </a:lnTo>
                  <a:lnTo>
                    <a:pt x="137198" y="213436"/>
                  </a:lnTo>
                  <a:lnTo>
                    <a:pt x="149212" y="168351"/>
                  </a:lnTo>
                  <a:lnTo>
                    <a:pt x="201472" y="139801"/>
                  </a:lnTo>
                  <a:lnTo>
                    <a:pt x="236131" y="139611"/>
                  </a:lnTo>
                  <a:lnTo>
                    <a:pt x="277634" y="142582"/>
                  </a:lnTo>
                  <a:lnTo>
                    <a:pt x="300736" y="144475"/>
                  </a:lnTo>
                  <a:lnTo>
                    <a:pt x="313778" y="180441"/>
                  </a:lnTo>
                  <a:lnTo>
                    <a:pt x="344970" y="235877"/>
                  </a:lnTo>
                  <a:lnTo>
                    <a:pt x="384009" y="285242"/>
                  </a:lnTo>
                  <a:lnTo>
                    <a:pt x="425437" y="322275"/>
                  </a:lnTo>
                  <a:lnTo>
                    <a:pt x="466166" y="345236"/>
                  </a:lnTo>
                  <a:lnTo>
                    <a:pt x="503072" y="352399"/>
                  </a:lnTo>
                  <a:lnTo>
                    <a:pt x="533095" y="341985"/>
                  </a:lnTo>
                  <a:lnTo>
                    <a:pt x="551776" y="314667"/>
                  </a:lnTo>
                  <a:lnTo>
                    <a:pt x="557149" y="274751"/>
                  </a:lnTo>
                  <a:close/>
                </a:path>
              </a:pathLst>
            </a:custGeom>
            <a:solidFill>
              <a:srgbClr val="035A82"/>
            </a:solidFill>
          </p:spPr>
          <p:txBody>
            <a:bodyPr wrap="square" lIns="0" tIns="0" rIns="0" bIns="0" rtlCol="0"/>
            <a:lstStyle/>
            <a:p>
              <a:endParaRPr/>
            </a:p>
          </p:txBody>
        </p:sp>
        <p:sp>
          <p:nvSpPr>
            <p:cNvPr id="189" name="object 39">
              <a:extLst>
                <a:ext uri="{FF2B5EF4-FFF2-40B4-BE49-F238E27FC236}">
                  <a16:creationId xmlns:a16="http://schemas.microsoft.com/office/drawing/2014/main" id="{F1B609DF-963D-33F7-1E86-E0FD6CF54402}"/>
                </a:ext>
              </a:extLst>
            </p:cNvPr>
            <p:cNvSpPr/>
            <p:nvPr/>
          </p:nvSpPr>
          <p:spPr>
            <a:xfrm>
              <a:off x="13539672" y="3266907"/>
              <a:ext cx="195580" cy="269240"/>
            </a:xfrm>
            <a:custGeom>
              <a:avLst/>
              <a:gdLst/>
              <a:ahLst/>
              <a:cxnLst/>
              <a:rect l="l" t="t" r="r" b="b"/>
              <a:pathLst>
                <a:path w="195580" h="269239">
                  <a:moveTo>
                    <a:pt x="150304" y="0"/>
                  </a:moveTo>
                  <a:lnTo>
                    <a:pt x="113546" y="10323"/>
                  </a:lnTo>
                  <a:lnTo>
                    <a:pt x="6196" y="193317"/>
                  </a:lnTo>
                  <a:lnTo>
                    <a:pt x="0" y="212487"/>
                  </a:lnTo>
                  <a:lnTo>
                    <a:pt x="1584" y="231873"/>
                  </a:lnTo>
                  <a:lnTo>
                    <a:pt x="25588" y="262403"/>
                  </a:lnTo>
                  <a:lnTo>
                    <a:pt x="50383" y="268906"/>
                  </a:lnTo>
                  <a:lnTo>
                    <a:pt x="63482" y="267189"/>
                  </a:lnTo>
                  <a:lnTo>
                    <a:pt x="94675" y="243001"/>
                  </a:lnTo>
                  <a:lnTo>
                    <a:pt x="188882" y="75278"/>
                  </a:lnTo>
                  <a:lnTo>
                    <a:pt x="195078" y="56108"/>
                  </a:lnTo>
                  <a:lnTo>
                    <a:pt x="193493" y="36722"/>
                  </a:lnTo>
                  <a:lnTo>
                    <a:pt x="184751" y="19342"/>
                  </a:lnTo>
                  <a:lnTo>
                    <a:pt x="169479" y="6191"/>
                  </a:lnTo>
                  <a:lnTo>
                    <a:pt x="150304" y="0"/>
                  </a:lnTo>
                  <a:close/>
                </a:path>
              </a:pathLst>
            </a:custGeom>
            <a:solidFill>
              <a:srgbClr val="FFC1A9"/>
            </a:solidFill>
          </p:spPr>
          <p:txBody>
            <a:bodyPr wrap="square" lIns="0" tIns="0" rIns="0" bIns="0" rtlCol="0"/>
            <a:lstStyle/>
            <a:p>
              <a:endParaRPr/>
            </a:p>
          </p:txBody>
        </p:sp>
        <p:sp>
          <p:nvSpPr>
            <p:cNvPr id="190" name="object 40">
              <a:extLst>
                <a:ext uri="{FF2B5EF4-FFF2-40B4-BE49-F238E27FC236}">
                  <a16:creationId xmlns:a16="http://schemas.microsoft.com/office/drawing/2014/main" id="{73357DF6-067B-3596-E2EC-F7D55A7B15C8}"/>
                </a:ext>
              </a:extLst>
            </p:cNvPr>
            <p:cNvSpPr/>
            <p:nvPr/>
          </p:nvSpPr>
          <p:spPr>
            <a:xfrm>
              <a:off x="13616678" y="2708165"/>
              <a:ext cx="848994" cy="676910"/>
            </a:xfrm>
            <a:custGeom>
              <a:avLst/>
              <a:gdLst/>
              <a:ahLst/>
              <a:cxnLst/>
              <a:rect l="l" t="t" r="r" b="b"/>
              <a:pathLst>
                <a:path w="848994" h="676910">
                  <a:moveTo>
                    <a:pt x="787432" y="0"/>
                  </a:moveTo>
                  <a:lnTo>
                    <a:pt x="690806" y="24485"/>
                  </a:lnTo>
                  <a:lnTo>
                    <a:pt x="624226" y="46071"/>
                  </a:lnTo>
                  <a:lnTo>
                    <a:pt x="552154" y="72461"/>
                  </a:lnTo>
                  <a:lnTo>
                    <a:pt x="514583" y="87944"/>
                  </a:lnTo>
                  <a:lnTo>
                    <a:pt x="476270" y="105213"/>
                  </a:lnTo>
                  <a:lnTo>
                    <a:pt x="437423" y="124462"/>
                  </a:lnTo>
                  <a:lnTo>
                    <a:pt x="398254" y="145888"/>
                  </a:lnTo>
                  <a:lnTo>
                    <a:pt x="358972" y="169683"/>
                  </a:lnTo>
                  <a:lnTo>
                    <a:pt x="319788" y="196045"/>
                  </a:lnTo>
                  <a:lnTo>
                    <a:pt x="280911" y="225167"/>
                  </a:lnTo>
                  <a:lnTo>
                    <a:pt x="242551" y="257244"/>
                  </a:lnTo>
                  <a:lnTo>
                    <a:pt x="204919" y="292473"/>
                  </a:lnTo>
                  <a:lnTo>
                    <a:pt x="168225" y="331047"/>
                  </a:lnTo>
                  <a:lnTo>
                    <a:pt x="132679" y="373161"/>
                  </a:lnTo>
                  <a:lnTo>
                    <a:pt x="98490" y="419011"/>
                  </a:lnTo>
                  <a:lnTo>
                    <a:pt x="65869" y="468792"/>
                  </a:lnTo>
                  <a:lnTo>
                    <a:pt x="35026" y="522698"/>
                  </a:lnTo>
                  <a:lnTo>
                    <a:pt x="6172" y="580925"/>
                  </a:lnTo>
                  <a:lnTo>
                    <a:pt x="0" y="607065"/>
                  </a:lnTo>
                  <a:lnTo>
                    <a:pt x="4189" y="632657"/>
                  </a:lnTo>
                  <a:lnTo>
                    <a:pt x="39375" y="670639"/>
                  </a:lnTo>
                  <a:lnTo>
                    <a:pt x="67594" y="676848"/>
                  </a:lnTo>
                  <a:lnTo>
                    <a:pt x="86401" y="674176"/>
                  </a:lnTo>
                  <a:lnTo>
                    <a:pt x="103671" y="666437"/>
                  </a:lnTo>
                  <a:lnTo>
                    <a:pt x="118279" y="654050"/>
                  </a:lnTo>
                  <a:lnTo>
                    <a:pt x="129100" y="637436"/>
                  </a:lnTo>
                  <a:lnTo>
                    <a:pt x="158465" y="578719"/>
                  </a:lnTo>
                  <a:lnTo>
                    <a:pt x="189947" y="525190"/>
                  </a:lnTo>
                  <a:lnTo>
                    <a:pt x="223318" y="476555"/>
                  </a:lnTo>
                  <a:lnTo>
                    <a:pt x="258350" y="432518"/>
                  </a:lnTo>
                  <a:lnTo>
                    <a:pt x="294816" y="392785"/>
                  </a:lnTo>
                  <a:lnTo>
                    <a:pt x="332487" y="357061"/>
                  </a:lnTo>
                  <a:lnTo>
                    <a:pt x="371135" y="325051"/>
                  </a:lnTo>
                  <a:lnTo>
                    <a:pt x="410534" y="296460"/>
                  </a:lnTo>
                  <a:lnTo>
                    <a:pt x="450454" y="270992"/>
                  </a:lnTo>
                  <a:lnTo>
                    <a:pt x="490668" y="248354"/>
                  </a:lnTo>
                  <a:lnTo>
                    <a:pt x="530948" y="228251"/>
                  </a:lnTo>
                  <a:lnTo>
                    <a:pt x="571067" y="210386"/>
                  </a:lnTo>
                  <a:lnTo>
                    <a:pt x="610796" y="194466"/>
                  </a:lnTo>
                  <a:lnTo>
                    <a:pt x="649907" y="180195"/>
                  </a:lnTo>
                  <a:lnTo>
                    <a:pt x="688173" y="167279"/>
                  </a:lnTo>
                  <a:lnTo>
                    <a:pt x="725367" y="155423"/>
                  </a:lnTo>
                  <a:lnTo>
                    <a:pt x="801456" y="131870"/>
                  </a:lnTo>
                  <a:lnTo>
                    <a:pt x="824968" y="118873"/>
                  </a:lnTo>
                  <a:lnTo>
                    <a:pt x="841107" y="98573"/>
                  </a:lnTo>
                  <a:lnTo>
                    <a:pt x="848455" y="73702"/>
                  </a:lnTo>
                  <a:lnTo>
                    <a:pt x="845591" y="46993"/>
                  </a:lnTo>
                  <a:lnTo>
                    <a:pt x="832597" y="23483"/>
                  </a:lnTo>
                  <a:lnTo>
                    <a:pt x="812302" y="7347"/>
                  </a:lnTo>
                  <a:lnTo>
                    <a:pt x="787432" y="0"/>
                  </a:lnTo>
                  <a:close/>
                </a:path>
              </a:pathLst>
            </a:custGeom>
            <a:solidFill>
              <a:srgbClr val="035A82"/>
            </a:solidFill>
          </p:spPr>
          <p:txBody>
            <a:bodyPr wrap="square" lIns="0" tIns="0" rIns="0" bIns="0" rtlCol="0"/>
            <a:lstStyle/>
            <a:p>
              <a:endParaRPr/>
            </a:p>
          </p:txBody>
        </p:sp>
        <p:pic>
          <p:nvPicPr>
            <p:cNvPr id="191" name="object 41">
              <a:extLst>
                <a:ext uri="{FF2B5EF4-FFF2-40B4-BE49-F238E27FC236}">
                  <a16:creationId xmlns:a16="http://schemas.microsoft.com/office/drawing/2014/main" id="{1DDEF021-2809-FE15-69AA-19EC3A6C991B}"/>
                </a:ext>
              </a:extLst>
            </p:cNvPr>
            <p:cNvPicPr/>
            <p:nvPr/>
          </p:nvPicPr>
          <p:blipFill>
            <a:blip r:embed="rId16" cstate="print"/>
            <a:stretch>
              <a:fillRect/>
            </a:stretch>
          </p:blipFill>
          <p:spPr>
            <a:xfrm>
              <a:off x="14553391" y="1841998"/>
              <a:ext cx="224994" cy="131540"/>
            </a:xfrm>
            <a:prstGeom prst="rect">
              <a:avLst/>
            </a:prstGeom>
          </p:spPr>
        </p:pic>
        <p:sp>
          <p:nvSpPr>
            <p:cNvPr id="192" name="object 42">
              <a:extLst>
                <a:ext uri="{FF2B5EF4-FFF2-40B4-BE49-F238E27FC236}">
                  <a16:creationId xmlns:a16="http://schemas.microsoft.com/office/drawing/2014/main" id="{BCC85209-73D2-6E82-B69E-35D239DE6A61}"/>
                </a:ext>
              </a:extLst>
            </p:cNvPr>
            <p:cNvSpPr/>
            <p:nvPr/>
          </p:nvSpPr>
          <p:spPr>
            <a:xfrm>
              <a:off x="14347584" y="1505235"/>
              <a:ext cx="548640" cy="1092835"/>
            </a:xfrm>
            <a:custGeom>
              <a:avLst/>
              <a:gdLst/>
              <a:ahLst/>
              <a:cxnLst/>
              <a:rect l="l" t="t" r="r" b="b"/>
              <a:pathLst>
                <a:path w="548640" h="1092835">
                  <a:moveTo>
                    <a:pt x="398868" y="150304"/>
                  </a:moveTo>
                  <a:lnTo>
                    <a:pt x="390613" y="102019"/>
                  </a:lnTo>
                  <a:lnTo>
                    <a:pt x="368681" y="58966"/>
                  </a:lnTo>
                  <a:lnTo>
                    <a:pt x="336499" y="26593"/>
                  </a:lnTo>
                  <a:lnTo>
                    <a:pt x="297065" y="6426"/>
                  </a:lnTo>
                  <a:lnTo>
                    <a:pt x="253390" y="0"/>
                  </a:lnTo>
                  <a:lnTo>
                    <a:pt x="208483" y="8864"/>
                  </a:lnTo>
                  <a:lnTo>
                    <a:pt x="168440" y="32461"/>
                  </a:lnTo>
                  <a:lnTo>
                    <a:pt x="138328" y="67068"/>
                  </a:lnTo>
                  <a:lnTo>
                    <a:pt x="119570" y="109461"/>
                  </a:lnTo>
                  <a:lnTo>
                    <a:pt x="113614" y="156425"/>
                  </a:lnTo>
                  <a:lnTo>
                    <a:pt x="121856" y="204711"/>
                  </a:lnTo>
                  <a:lnTo>
                    <a:pt x="143802" y="247764"/>
                  </a:lnTo>
                  <a:lnTo>
                    <a:pt x="175983" y="280149"/>
                  </a:lnTo>
                  <a:lnTo>
                    <a:pt x="215417" y="300304"/>
                  </a:lnTo>
                  <a:lnTo>
                    <a:pt x="233692" y="302996"/>
                  </a:lnTo>
                  <a:lnTo>
                    <a:pt x="257111" y="397865"/>
                  </a:lnTo>
                  <a:lnTo>
                    <a:pt x="264007" y="413651"/>
                  </a:lnTo>
                  <a:lnTo>
                    <a:pt x="275323" y="425831"/>
                  </a:lnTo>
                  <a:lnTo>
                    <a:pt x="289839" y="433666"/>
                  </a:lnTo>
                  <a:lnTo>
                    <a:pt x="306336" y="436448"/>
                  </a:lnTo>
                  <a:lnTo>
                    <a:pt x="310362" y="436448"/>
                  </a:lnTo>
                  <a:lnTo>
                    <a:pt x="349808" y="411937"/>
                  </a:lnTo>
                  <a:lnTo>
                    <a:pt x="356501" y="393674"/>
                  </a:lnTo>
                  <a:lnTo>
                    <a:pt x="355650" y="373545"/>
                  </a:lnTo>
                  <a:lnTo>
                    <a:pt x="332778" y="280898"/>
                  </a:lnTo>
                  <a:lnTo>
                    <a:pt x="344030" y="274269"/>
                  </a:lnTo>
                  <a:lnTo>
                    <a:pt x="374142" y="239661"/>
                  </a:lnTo>
                  <a:lnTo>
                    <a:pt x="392899" y="197256"/>
                  </a:lnTo>
                  <a:lnTo>
                    <a:pt x="398868" y="150304"/>
                  </a:lnTo>
                  <a:close/>
                </a:path>
                <a:path w="548640" h="1092835">
                  <a:moveTo>
                    <a:pt x="548055" y="768832"/>
                  </a:moveTo>
                  <a:lnTo>
                    <a:pt x="544918" y="713117"/>
                  </a:lnTo>
                  <a:lnTo>
                    <a:pt x="537387" y="652424"/>
                  </a:lnTo>
                  <a:lnTo>
                    <a:pt x="525487" y="586600"/>
                  </a:lnTo>
                  <a:lnTo>
                    <a:pt x="503720" y="554443"/>
                  </a:lnTo>
                  <a:lnTo>
                    <a:pt x="485736" y="547039"/>
                  </a:lnTo>
                  <a:lnTo>
                    <a:pt x="465569" y="547128"/>
                  </a:lnTo>
                  <a:lnTo>
                    <a:pt x="447027" y="555015"/>
                  </a:lnTo>
                  <a:lnTo>
                    <a:pt x="433412" y="568909"/>
                  </a:lnTo>
                  <a:lnTo>
                    <a:pt x="426021" y="586892"/>
                  </a:lnTo>
                  <a:lnTo>
                    <a:pt x="426097" y="607034"/>
                  </a:lnTo>
                  <a:lnTo>
                    <a:pt x="438048" y="674573"/>
                  </a:lnTo>
                  <a:lnTo>
                    <a:pt x="444766" y="735444"/>
                  </a:lnTo>
                  <a:lnTo>
                    <a:pt x="446239" y="789584"/>
                  </a:lnTo>
                  <a:lnTo>
                    <a:pt x="442480" y="836942"/>
                  </a:lnTo>
                  <a:lnTo>
                    <a:pt x="433501" y="877481"/>
                  </a:lnTo>
                  <a:lnTo>
                    <a:pt x="399859" y="937844"/>
                  </a:lnTo>
                  <a:lnTo>
                    <a:pt x="341630" y="974356"/>
                  </a:lnTo>
                  <a:lnTo>
                    <a:pt x="301548" y="984872"/>
                  </a:lnTo>
                  <a:lnTo>
                    <a:pt x="253580" y="990307"/>
                  </a:lnTo>
                  <a:lnTo>
                    <a:pt x="197256" y="990688"/>
                  </a:lnTo>
                  <a:lnTo>
                    <a:pt x="132130" y="986091"/>
                  </a:lnTo>
                  <a:lnTo>
                    <a:pt x="57772" y="976553"/>
                  </a:lnTo>
                  <a:lnTo>
                    <a:pt x="37642" y="977557"/>
                  </a:lnTo>
                  <a:lnTo>
                    <a:pt x="20066" y="985888"/>
                  </a:lnTo>
                  <a:lnTo>
                    <a:pt x="6908" y="1000213"/>
                  </a:lnTo>
                  <a:lnTo>
                    <a:pt x="0" y="1019136"/>
                  </a:lnTo>
                  <a:lnTo>
                    <a:pt x="990" y="1039253"/>
                  </a:lnTo>
                  <a:lnTo>
                    <a:pt x="23647" y="1070000"/>
                  </a:lnTo>
                  <a:lnTo>
                    <a:pt x="86995" y="1083132"/>
                  </a:lnTo>
                  <a:lnTo>
                    <a:pt x="131826" y="1088199"/>
                  </a:lnTo>
                  <a:lnTo>
                    <a:pt x="176618" y="1091590"/>
                  </a:lnTo>
                  <a:lnTo>
                    <a:pt x="220954" y="1092822"/>
                  </a:lnTo>
                  <a:lnTo>
                    <a:pt x="269709" y="1091044"/>
                  </a:lnTo>
                  <a:lnTo>
                    <a:pt x="316661" y="1085215"/>
                  </a:lnTo>
                  <a:lnTo>
                    <a:pt x="361162" y="1074661"/>
                  </a:lnTo>
                  <a:lnTo>
                    <a:pt x="402551" y="1058684"/>
                  </a:lnTo>
                  <a:lnTo>
                    <a:pt x="440207" y="1036586"/>
                  </a:lnTo>
                  <a:lnTo>
                    <a:pt x="473481" y="1007681"/>
                  </a:lnTo>
                  <a:lnTo>
                    <a:pt x="516255" y="945172"/>
                  </a:lnTo>
                  <a:lnTo>
                    <a:pt x="530898" y="907745"/>
                  </a:lnTo>
                  <a:lnTo>
                    <a:pt x="541058" y="865987"/>
                  </a:lnTo>
                  <a:lnTo>
                    <a:pt x="546773" y="819734"/>
                  </a:lnTo>
                  <a:lnTo>
                    <a:pt x="548055" y="768832"/>
                  </a:lnTo>
                  <a:close/>
                </a:path>
              </a:pathLst>
            </a:custGeom>
            <a:solidFill>
              <a:srgbClr val="FFC1A9"/>
            </a:solidFill>
          </p:spPr>
          <p:txBody>
            <a:bodyPr wrap="square" lIns="0" tIns="0" rIns="0" bIns="0" rtlCol="0"/>
            <a:lstStyle/>
            <a:p>
              <a:endParaRPr/>
            </a:p>
          </p:txBody>
        </p:sp>
        <p:sp>
          <p:nvSpPr>
            <p:cNvPr id="193" name="object 43">
              <a:extLst>
                <a:ext uri="{FF2B5EF4-FFF2-40B4-BE49-F238E27FC236}">
                  <a16:creationId xmlns:a16="http://schemas.microsoft.com/office/drawing/2014/main" id="{F004E99C-5418-A40B-8B99-DF65DAF9C355}"/>
                </a:ext>
              </a:extLst>
            </p:cNvPr>
            <p:cNvSpPr/>
            <p:nvPr/>
          </p:nvSpPr>
          <p:spPr>
            <a:xfrm>
              <a:off x="14447941" y="1475135"/>
              <a:ext cx="332740" cy="275590"/>
            </a:xfrm>
            <a:custGeom>
              <a:avLst/>
              <a:gdLst/>
              <a:ahLst/>
              <a:cxnLst/>
              <a:rect l="l" t="t" r="r" b="b"/>
              <a:pathLst>
                <a:path w="332740" h="275589">
                  <a:moveTo>
                    <a:pt x="140555" y="0"/>
                  </a:moveTo>
                  <a:lnTo>
                    <a:pt x="90384" y="11774"/>
                  </a:lnTo>
                  <a:lnTo>
                    <a:pt x="50623" y="37029"/>
                  </a:lnTo>
                  <a:lnTo>
                    <a:pt x="18711" y="71127"/>
                  </a:lnTo>
                  <a:lnTo>
                    <a:pt x="39" y="107586"/>
                  </a:lnTo>
                  <a:lnTo>
                    <a:pt x="0" y="139927"/>
                  </a:lnTo>
                  <a:lnTo>
                    <a:pt x="17608" y="160050"/>
                  </a:lnTo>
                  <a:lnTo>
                    <a:pt x="46527" y="171871"/>
                  </a:lnTo>
                  <a:lnTo>
                    <a:pt x="80087" y="176706"/>
                  </a:lnTo>
                  <a:lnTo>
                    <a:pt x="111619" y="175874"/>
                  </a:lnTo>
                  <a:lnTo>
                    <a:pt x="135871" y="170655"/>
                  </a:lnTo>
                  <a:lnTo>
                    <a:pt x="151711" y="163932"/>
                  </a:lnTo>
                  <a:lnTo>
                    <a:pt x="164541" y="158731"/>
                  </a:lnTo>
                  <a:lnTo>
                    <a:pt x="179764" y="158084"/>
                  </a:lnTo>
                  <a:lnTo>
                    <a:pt x="218497" y="180760"/>
                  </a:lnTo>
                  <a:lnTo>
                    <a:pt x="246466" y="221669"/>
                  </a:lnTo>
                  <a:lnTo>
                    <a:pt x="269640" y="260154"/>
                  </a:lnTo>
                  <a:lnTo>
                    <a:pt x="293991" y="275556"/>
                  </a:lnTo>
                  <a:lnTo>
                    <a:pt x="327123" y="230212"/>
                  </a:lnTo>
                  <a:lnTo>
                    <a:pt x="332734" y="168767"/>
                  </a:lnTo>
                  <a:lnTo>
                    <a:pt x="321777" y="126617"/>
                  </a:lnTo>
                  <a:lnTo>
                    <a:pt x="300980" y="87346"/>
                  </a:lnTo>
                  <a:lnTo>
                    <a:pt x="272470" y="53275"/>
                  </a:lnTo>
                  <a:lnTo>
                    <a:pt x="238369" y="26726"/>
                  </a:lnTo>
                  <a:lnTo>
                    <a:pt x="184956" y="4600"/>
                  </a:lnTo>
                  <a:lnTo>
                    <a:pt x="140555" y="0"/>
                  </a:lnTo>
                  <a:close/>
                </a:path>
              </a:pathLst>
            </a:custGeom>
            <a:solidFill>
              <a:srgbClr val="FF7E83"/>
            </a:solidFill>
          </p:spPr>
          <p:txBody>
            <a:bodyPr wrap="square" lIns="0" tIns="0" rIns="0" bIns="0" rtlCol="0"/>
            <a:lstStyle/>
            <a:p>
              <a:endParaRPr/>
            </a:p>
          </p:txBody>
        </p:sp>
        <p:pic>
          <p:nvPicPr>
            <p:cNvPr id="194" name="object 44">
              <a:extLst>
                <a:ext uri="{FF2B5EF4-FFF2-40B4-BE49-F238E27FC236}">
                  <a16:creationId xmlns:a16="http://schemas.microsoft.com/office/drawing/2014/main" id="{BE93A536-3912-1E71-CBB2-092DB03869C8}"/>
                </a:ext>
              </a:extLst>
            </p:cNvPr>
            <p:cNvPicPr/>
            <p:nvPr/>
          </p:nvPicPr>
          <p:blipFill>
            <a:blip r:embed="rId17" cstate="print"/>
            <a:stretch>
              <a:fillRect/>
            </a:stretch>
          </p:blipFill>
          <p:spPr>
            <a:xfrm>
              <a:off x="14007772" y="2301531"/>
              <a:ext cx="514832" cy="258746"/>
            </a:xfrm>
            <a:prstGeom prst="rect">
              <a:avLst/>
            </a:prstGeom>
          </p:spPr>
        </p:pic>
        <p:sp>
          <p:nvSpPr>
            <p:cNvPr id="195" name="object 45">
              <a:extLst>
                <a:ext uri="{FF2B5EF4-FFF2-40B4-BE49-F238E27FC236}">
                  <a16:creationId xmlns:a16="http://schemas.microsoft.com/office/drawing/2014/main" id="{D92AAF89-15FE-640E-5B97-2849BD7DE978}"/>
                </a:ext>
              </a:extLst>
            </p:cNvPr>
            <p:cNvSpPr/>
            <p:nvPr/>
          </p:nvSpPr>
          <p:spPr>
            <a:xfrm>
              <a:off x="14174889" y="2348811"/>
              <a:ext cx="347980" cy="212090"/>
            </a:xfrm>
            <a:custGeom>
              <a:avLst/>
              <a:gdLst/>
              <a:ahLst/>
              <a:cxnLst/>
              <a:rect l="l" t="t" r="r" b="b"/>
              <a:pathLst>
                <a:path w="347980" h="212089">
                  <a:moveTo>
                    <a:pt x="219878" y="0"/>
                  </a:moveTo>
                  <a:lnTo>
                    <a:pt x="0" y="41726"/>
                  </a:lnTo>
                  <a:lnTo>
                    <a:pt x="126750" y="211470"/>
                  </a:lnTo>
                  <a:lnTo>
                    <a:pt x="347717" y="178015"/>
                  </a:lnTo>
                  <a:lnTo>
                    <a:pt x="219878" y="0"/>
                  </a:lnTo>
                  <a:close/>
                </a:path>
              </a:pathLst>
            </a:custGeom>
            <a:solidFill>
              <a:srgbClr val="12ABDB"/>
            </a:solidFill>
          </p:spPr>
          <p:txBody>
            <a:bodyPr wrap="square" lIns="0" tIns="0" rIns="0" bIns="0" rtlCol="0"/>
            <a:lstStyle/>
            <a:p>
              <a:endParaRPr/>
            </a:p>
          </p:txBody>
        </p:sp>
        <p:sp>
          <p:nvSpPr>
            <p:cNvPr id="196" name="object 46">
              <a:extLst>
                <a:ext uri="{FF2B5EF4-FFF2-40B4-BE49-F238E27FC236}">
                  <a16:creationId xmlns:a16="http://schemas.microsoft.com/office/drawing/2014/main" id="{117FBA37-6C50-5C26-7E8B-CAD955080C8F}"/>
                </a:ext>
              </a:extLst>
            </p:cNvPr>
            <p:cNvSpPr/>
            <p:nvPr/>
          </p:nvSpPr>
          <p:spPr>
            <a:xfrm>
              <a:off x="14940190" y="6563444"/>
              <a:ext cx="4173854" cy="2457450"/>
            </a:xfrm>
            <a:custGeom>
              <a:avLst/>
              <a:gdLst/>
              <a:ahLst/>
              <a:cxnLst/>
              <a:rect l="l" t="t" r="r" b="b"/>
              <a:pathLst>
                <a:path w="4173855" h="2457450">
                  <a:moveTo>
                    <a:pt x="2088377" y="0"/>
                  </a:moveTo>
                  <a:lnTo>
                    <a:pt x="2047832" y="1421"/>
                  </a:lnTo>
                  <a:lnTo>
                    <a:pt x="2007446" y="5795"/>
                  </a:lnTo>
                  <a:lnTo>
                    <a:pt x="1967389" y="13122"/>
                  </a:lnTo>
                  <a:lnTo>
                    <a:pt x="1927827" y="23402"/>
                  </a:lnTo>
                  <a:lnTo>
                    <a:pt x="1867676" y="45266"/>
                  </a:lnTo>
                  <a:lnTo>
                    <a:pt x="1809747" y="74269"/>
                  </a:lnTo>
                  <a:lnTo>
                    <a:pt x="95276" y="1061150"/>
                  </a:lnTo>
                  <a:lnTo>
                    <a:pt x="46380" y="1101158"/>
                  </a:lnTo>
                  <a:lnTo>
                    <a:pt x="14911" y="1151713"/>
                  </a:lnTo>
                  <a:lnTo>
                    <a:pt x="0" y="1227943"/>
                  </a:lnTo>
                  <a:lnTo>
                    <a:pt x="6259" y="1275005"/>
                  </a:lnTo>
                  <a:lnTo>
                    <a:pt x="24149" y="1319477"/>
                  </a:lnTo>
                  <a:lnTo>
                    <a:pt x="53678" y="1358872"/>
                  </a:lnTo>
                  <a:lnTo>
                    <a:pt x="94857" y="1390701"/>
                  </a:lnTo>
                  <a:lnTo>
                    <a:pt x="1806763" y="2382032"/>
                  </a:lnTo>
                  <a:lnTo>
                    <a:pt x="1850609" y="2404893"/>
                  </a:lnTo>
                  <a:lnTo>
                    <a:pt x="1895849" y="2423611"/>
                  </a:lnTo>
                  <a:lnTo>
                    <a:pt x="1942205" y="2438184"/>
                  </a:lnTo>
                  <a:lnTo>
                    <a:pt x="1989400" y="2448612"/>
                  </a:lnTo>
                  <a:lnTo>
                    <a:pt x="2037156" y="2454894"/>
                  </a:lnTo>
                  <a:lnTo>
                    <a:pt x="2085195" y="2457031"/>
                  </a:lnTo>
                  <a:lnTo>
                    <a:pt x="2133240" y="2455021"/>
                  </a:lnTo>
                  <a:lnTo>
                    <a:pt x="2181012" y="2448865"/>
                  </a:lnTo>
                  <a:lnTo>
                    <a:pt x="2228235" y="2438561"/>
                  </a:lnTo>
                  <a:lnTo>
                    <a:pt x="2274629" y="2424110"/>
                  </a:lnTo>
                  <a:lnTo>
                    <a:pt x="2319918" y="2405512"/>
                  </a:lnTo>
                  <a:lnTo>
                    <a:pt x="2363824" y="2382765"/>
                  </a:lnTo>
                  <a:lnTo>
                    <a:pt x="4078285" y="1395873"/>
                  </a:lnTo>
                  <a:lnTo>
                    <a:pt x="4119950" y="1363745"/>
                  </a:lnTo>
                  <a:lnTo>
                    <a:pt x="4149731" y="1323877"/>
                  </a:lnTo>
                  <a:lnTo>
                    <a:pt x="4167626" y="1278843"/>
                  </a:lnTo>
                  <a:lnTo>
                    <a:pt x="4173633" y="1231219"/>
                  </a:lnTo>
                  <a:lnTo>
                    <a:pt x="4173476" y="1222528"/>
                  </a:lnTo>
                  <a:lnTo>
                    <a:pt x="4165073" y="1174121"/>
                  </a:lnTo>
                  <a:lnTo>
                    <a:pt x="4146630" y="1132728"/>
                  </a:lnTo>
                  <a:lnTo>
                    <a:pt x="4117846" y="1096100"/>
                  </a:lnTo>
                  <a:lnTo>
                    <a:pt x="4078714" y="1066323"/>
                  </a:lnTo>
                  <a:lnTo>
                    <a:pt x="2366808" y="74992"/>
                  </a:lnTo>
                  <a:lnTo>
                    <a:pt x="2306566" y="44836"/>
                  </a:lnTo>
                  <a:lnTo>
                    <a:pt x="2243912" y="22407"/>
                  </a:lnTo>
                  <a:lnTo>
                    <a:pt x="2205562" y="12660"/>
                  </a:lnTo>
                  <a:lnTo>
                    <a:pt x="2166757" y="5667"/>
                  </a:lnTo>
                  <a:lnTo>
                    <a:pt x="2127646" y="1442"/>
                  </a:lnTo>
                  <a:lnTo>
                    <a:pt x="2088377" y="0"/>
                  </a:lnTo>
                  <a:close/>
                </a:path>
              </a:pathLst>
            </a:custGeom>
            <a:solidFill>
              <a:srgbClr val="80B8D6">
                <a:alpha val="14999"/>
              </a:srgbClr>
            </a:solidFill>
          </p:spPr>
          <p:txBody>
            <a:bodyPr wrap="square" lIns="0" tIns="0" rIns="0" bIns="0" rtlCol="0"/>
            <a:lstStyle/>
            <a:p>
              <a:endParaRPr/>
            </a:p>
          </p:txBody>
        </p:sp>
        <p:sp>
          <p:nvSpPr>
            <p:cNvPr id="197" name="object 47">
              <a:extLst>
                <a:ext uri="{FF2B5EF4-FFF2-40B4-BE49-F238E27FC236}">
                  <a16:creationId xmlns:a16="http://schemas.microsoft.com/office/drawing/2014/main" id="{1BD90171-F1BB-6696-C2B3-110442971C63}"/>
                </a:ext>
              </a:extLst>
            </p:cNvPr>
            <p:cNvSpPr/>
            <p:nvPr/>
          </p:nvSpPr>
          <p:spPr>
            <a:xfrm>
              <a:off x="14941372" y="6392893"/>
              <a:ext cx="4174490" cy="1664335"/>
            </a:xfrm>
            <a:custGeom>
              <a:avLst/>
              <a:gdLst/>
              <a:ahLst/>
              <a:cxnLst/>
              <a:rect l="l" t="t" r="r" b="b"/>
              <a:pathLst>
                <a:path w="4174490" h="1664334">
                  <a:moveTo>
                    <a:pt x="4174261" y="5422"/>
                  </a:moveTo>
                  <a:lnTo>
                    <a:pt x="2085848" y="1207554"/>
                  </a:lnTo>
                  <a:lnTo>
                    <a:pt x="558" y="0"/>
                  </a:lnTo>
                  <a:lnTo>
                    <a:pt x="0" y="432536"/>
                  </a:lnTo>
                  <a:lnTo>
                    <a:pt x="5880" y="480174"/>
                  </a:lnTo>
                  <a:lnTo>
                    <a:pt x="23660" y="525246"/>
                  </a:lnTo>
                  <a:lnTo>
                    <a:pt x="53340" y="565188"/>
                  </a:lnTo>
                  <a:lnTo>
                    <a:pt x="94919" y="597433"/>
                  </a:lnTo>
                  <a:lnTo>
                    <a:pt x="1806829" y="1588757"/>
                  </a:lnTo>
                  <a:lnTo>
                    <a:pt x="1850669" y="1611630"/>
                  </a:lnTo>
                  <a:lnTo>
                    <a:pt x="1895906" y="1630349"/>
                  </a:lnTo>
                  <a:lnTo>
                    <a:pt x="1942261" y="1644916"/>
                  </a:lnTo>
                  <a:lnTo>
                    <a:pt x="1989467" y="1655343"/>
                  </a:lnTo>
                  <a:lnTo>
                    <a:pt x="2037219" y="1661617"/>
                  </a:lnTo>
                  <a:lnTo>
                    <a:pt x="2085251" y="1663750"/>
                  </a:lnTo>
                  <a:lnTo>
                    <a:pt x="2133295" y="1661744"/>
                  </a:lnTo>
                  <a:lnTo>
                    <a:pt x="2181072" y="1655584"/>
                  </a:lnTo>
                  <a:lnTo>
                    <a:pt x="2228291" y="1645285"/>
                  </a:lnTo>
                  <a:lnTo>
                    <a:pt x="2274684" y="1630832"/>
                  </a:lnTo>
                  <a:lnTo>
                    <a:pt x="2319972" y="1612226"/>
                  </a:lnTo>
                  <a:lnTo>
                    <a:pt x="2363889" y="1589481"/>
                  </a:lnTo>
                  <a:lnTo>
                    <a:pt x="4078351" y="602589"/>
                  </a:lnTo>
                  <a:lnTo>
                    <a:pt x="4120019" y="570471"/>
                  </a:lnTo>
                  <a:lnTo>
                    <a:pt x="4149801" y="530593"/>
                  </a:lnTo>
                  <a:lnTo>
                    <a:pt x="4167695" y="485571"/>
                  </a:lnTo>
                  <a:lnTo>
                    <a:pt x="4173702" y="437946"/>
                  </a:lnTo>
                  <a:lnTo>
                    <a:pt x="4174261" y="5422"/>
                  </a:lnTo>
                  <a:close/>
                </a:path>
              </a:pathLst>
            </a:custGeom>
            <a:solidFill>
              <a:srgbClr val="058DB8"/>
            </a:solidFill>
          </p:spPr>
          <p:txBody>
            <a:bodyPr wrap="square" lIns="0" tIns="0" rIns="0" bIns="0" rtlCol="0"/>
            <a:lstStyle/>
            <a:p>
              <a:endParaRPr/>
            </a:p>
          </p:txBody>
        </p:sp>
        <p:sp>
          <p:nvSpPr>
            <p:cNvPr id="198" name="object 48">
              <a:extLst>
                <a:ext uri="{FF2B5EF4-FFF2-40B4-BE49-F238E27FC236}">
                  <a16:creationId xmlns:a16="http://schemas.microsoft.com/office/drawing/2014/main" id="{25F7A341-3255-FF16-84FE-879AF30CFCDE}"/>
                </a:ext>
              </a:extLst>
            </p:cNvPr>
            <p:cNvSpPr/>
            <p:nvPr/>
          </p:nvSpPr>
          <p:spPr>
            <a:xfrm>
              <a:off x="14943085" y="5167087"/>
              <a:ext cx="4171950" cy="2457450"/>
            </a:xfrm>
            <a:custGeom>
              <a:avLst/>
              <a:gdLst/>
              <a:ahLst/>
              <a:cxnLst/>
              <a:rect l="l" t="t" r="r" b="b"/>
              <a:pathLst>
                <a:path w="4171950" h="2457450">
                  <a:moveTo>
                    <a:pt x="2087293" y="0"/>
                  </a:moveTo>
                  <a:lnTo>
                    <a:pt x="2039249" y="2010"/>
                  </a:lnTo>
                  <a:lnTo>
                    <a:pt x="1991477" y="8166"/>
                  </a:lnTo>
                  <a:lnTo>
                    <a:pt x="1944256" y="18470"/>
                  </a:lnTo>
                  <a:lnTo>
                    <a:pt x="1897863" y="32921"/>
                  </a:lnTo>
                  <a:lnTo>
                    <a:pt x="1852576" y="51520"/>
                  </a:lnTo>
                  <a:lnTo>
                    <a:pt x="1808672" y="74267"/>
                  </a:lnTo>
                  <a:lnTo>
                    <a:pt x="94201" y="1061158"/>
                  </a:lnTo>
                  <a:lnTo>
                    <a:pt x="56581" y="1089287"/>
                  </a:lnTo>
                  <a:lnTo>
                    <a:pt x="28348" y="1123757"/>
                  </a:lnTo>
                  <a:lnTo>
                    <a:pt x="9506" y="1162760"/>
                  </a:lnTo>
                  <a:lnTo>
                    <a:pt x="55" y="1204487"/>
                  </a:lnTo>
                  <a:lnTo>
                    <a:pt x="0" y="1247131"/>
                  </a:lnTo>
                  <a:lnTo>
                    <a:pt x="9341" y="1288884"/>
                  </a:lnTo>
                  <a:lnTo>
                    <a:pt x="28082" y="1327936"/>
                  </a:lnTo>
                  <a:lnTo>
                    <a:pt x="56224" y="1362481"/>
                  </a:lnTo>
                  <a:lnTo>
                    <a:pt x="93771" y="1390708"/>
                  </a:lnTo>
                  <a:lnTo>
                    <a:pt x="1805677" y="2382040"/>
                  </a:lnTo>
                  <a:lnTo>
                    <a:pt x="1849523" y="2404901"/>
                  </a:lnTo>
                  <a:lnTo>
                    <a:pt x="1894763" y="2423618"/>
                  </a:lnTo>
                  <a:lnTo>
                    <a:pt x="1941120" y="2438190"/>
                  </a:lnTo>
                  <a:lnTo>
                    <a:pt x="1988315" y="2448617"/>
                  </a:lnTo>
                  <a:lnTo>
                    <a:pt x="2036071" y="2454898"/>
                  </a:lnTo>
                  <a:lnTo>
                    <a:pt x="2084110" y="2457033"/>
                  </a:lnTo>
                  <a:lnTo>
                    <a:pt x="2132155" y="2455022"/>
                  </a:lnTo>
                  <a:lnTo>
                    <a:pt x="2179927" y="2448865"/>
                  </a:lnTo>
                  <a:lnTo>
                    <a:pt x="2227149" y="2438560"/>
                  </a:lnTo>
                  <a:lnTo>
                    <a:pt x="2273544" y="2424108"/>
                  </a:lnTo>
                  <a:lnTo>
                    <a:pt x="2318833" y="2405509"/>
                  </a:lnTo>
                  <a:lnTo>
                    <a:pt x="2362739" y="2382762"/>
                  </a:lnTo>
                  <a:lnTo>
                    <a:pt x="4077200" y="1395871"/>
                  </a:lnTo>
                  <a:lnTo>
                    <a:pt x="4114820" y="1367742"/>
                  </a:lnTo>
                  <a:lnTo>
                    <a:pt x="4143052" y="1333272"/>
                  </a:lnTo>
                  <a:lnTo>
                    <a:pt x="4161895" y="1294269"/>
                  </a:lnTo>
                  <a:lnTo>
                    <a:pt x="4171345" y="1252542"/>
                  </a:lnTo>
                  <a:lnTo>
                    <a:pt x="4171401" y="1209898"/>
                  </a:lnTo>
                  <a:lnTo>
                    <a:pt x="4162060" y="1168145"/>
                  </a:lnTo>
                  <a:lnTo>
                    <a:pt x="4143319" y="1129093"/>
                  </a:lnTo>
                  <a:lnTo>
                    <a:pt x="4115176" y="1094548"/>
                  </a:lnTo>
                  <a:lnTo>
                    <a:pt x="4077629" y="1066320"/>
                  </a:lnTo>
                  <a:lnTo>
                    <a:pt x="2365734" y="74989"/>
                  </a:lnTo>
                  <a:lnTo>
                    <a:pt x="2321885" y="52130"/>
                  </a:lnTo>
                  <a:lnTo>
                    <a:pt x="2276643" y="33414"/>
                  </a:lnTo>
                  <a:lnTo>
                    <a:pt x="2230285" y="18843"/>
                  </a:lnTo>
                  <a:lnTo>
                    <a:pt x="2183089" y="8417"/>
                  </a:lnTo>
                  <a:lnTo>
                    <a:pt x="2135333" y="2135"/>
                  </a:lnTo>
                  <a:lnTo>
                    <a:pt x="2087293" y="0"/>
                  </a:lnTo>
                  <a:close/>
                </a:path>
              </a:pathLst>
            </a:custGeom>
            <a:solidFill>
              <a:srgbClr val="F4F4F4"/>
            </a:solidFill>
          </p:spPr>
          <p:txBody>
            <a:bodyPr wrap="square" lIns="0" tIns="0" rIns="0" bIns="0" rtlCol="0"/>
            <a:lstStyle/>
            <a:p>
              <a:endParaRPr/>
            </a:p>
          </p:txBody>
        </p:sp>
        <p:sp>
          <p:nvSpPr>
            <p:cNvPr id="199" name="object 49">
              <a:extLst>
                <a:ext uri="{FF2B5EF4-FFF2-40B4-BE49-F238E27FC236}">
                  <a16:creationId xmlns:a16="http://schemas.microsoft.com/office/drawing/2014/main" id="{43D8C4CB-A678-6D55-5EE2-F9CE923B3F8E}"/>
                </a:ext>
              </a:extLst>
            </p:cNvPr>
            <p:cNvSpPr/>
            <p:nvPr/>
          </p:nvSpPr>
          <p:spPr>
            <a:xfrm>
              <a:off x="17349280" y="5131364"/>
              <a:ext cx="450850" cy="1324610"/>
            </a:xfrm>
            <a:custGeom>
              <a:avLst/>
              <a:gdLst/>
              <a:ahLst/>
              <a:cxnLst/>
              <a:rect l="l" t="t" r="r" b="b"/>
              <a:pathLst>
                <a:path w="450850" h="1324610">
                  <a:moveTo>
                    <a:pt x="445808" y="1180426"/>
                  </a:moveTo>
                  <a:lnTo>
                    <a:pt x="386816" y="1077950"/>
                  </a:lnTo>
                  <a:lnTo>
                    <a:pt x="380352" y="1076198"/>
                  </a:lnTo>
                  <a:lnTo>
                    <a:pt x="141490" y="1213688"/>
                  </a:lnTo>
                  <a:lnTo>
                    <a:pt x="139750" y="1220165"/>
                  </a:lnTo>
                  <a:lnTo>
                    <a:pt x="198742" y="1322641"/>
                  </a:lnTo>
                  <a:lnTo>
                    <a:pt x="205219" y="1324381"/>
                  </a:lnTo>
                  <a:lnTo>
                    <a:pt x="439051" y="1189786"/>
                  </a:lnTo>
                  <a:lnTo>
                    <a:pt x="444080" y="1186891"/>
                  </a:lnTo>
                  <a:lnTo>
                    <a:pt x="445808" y="1180426"/>
                  </a:lnTo>
                  <a:close/>
                </a:path>
                <a:path w="450850" h="1324610">
                  <a:moveTo>
                    <a:pt x="450824" y="142976"/>
                  </a:moveTo>
                  <a:lnTo>
                    <a:pt x="352488" y="95986"/>
                  </a:lnTo>
                  <a:lnTo>
                    <a:pt x="352628" y="444"/>
                  </a:lnTo>
                  <a:lnTo>
                    <a:pt x="508" y="0"/>
                  </a:lnTo>
                  <a:lnTo>
                    <a:pt x="0" y="400431"/>
                  </a:lnTo>
                  <a:lnTo>
                    <a:pt x="253707" y="400761"/>
                  </a:lnTo>
                  <a:lnTo>
                    <a:pt x="253479" y="580605"/>
                  </a:lnTo>
                  <a:lnTo>
                    <a:pt x="450253" y="580859"/>
                  </a:lnTo>
                  <a:lnTo>
                    <a:pt x="450824" y="142976"/>
                  </a:lnTo>
                  <a:close/>
                </a:path>
              </a:pathLst>
            </a:custGeom>
            <a:solidFill>
              <a:srgbClr val="464563"/>
            </a:solidFill>
          </p:spPr>
          <p:txBody>
            <a:bodyPr wrap="square" lIns="0" tIns="0" rIns="0" bIns="0" rtlCol="0"/>
            <a:lstStyle/>
            <a:p>
              <a:endParaRPr/>
            </a:p>
          </p:txBody>
        </p:sp>
        <p:pic>
          <p:nvPicPr>
            <p:cNvPr id="200" name="object 50">
              <a:extLst>
                <a:ext uri="{FF2B5EF4-FFF2-40B4-BE49-F238E27FC236}">
                  <a16:creationId xmlns:a16="http://schemas.microsoft.com/office/drawing/2014/main" id="{0878F4D6-D2CA-AAA9-7422-A1FB8D89BD1F}"/>
                </a:ext>
              </a:extLst>
            </p:cNvPr>
            <p:cNvPicPr/>
            <p:nvPr/>
          </p:nvPicPr>
          <p:blipFill>
            <a:blip r:embed="rId18" cstate="print"/>
            <a:stretch>
              <a:fillRect/>
            </a:stretch>
          </p:blipFill>
          <p:spPr>
            <a:xfrm>
              <a:off x="17602771" y="5613702"/>
              <a:ext cx="196768" cy="196768"/>
            </a:xfrm>
            <a:prstGeom prst="rect">
              <a:avLst/>
            </a:prstGeom>
          </p:spPr>
        </p:pic>
        <p:sp>
          <p:nvSpPr>
            <p:cNvPr id="201" name="object 51">
              <a:extLst>
                <a:ext uri="{FF2B5EF4-FFF2-40B4-BE49-F238E27FC236}">
                  <a16:creationId xmlns:a16="http://schemas.microsoft.com/office/drawing/2014/main" id="{9C9EB07C-C92D-2F38-BB78-A6B64AB3BAA8}"/>
                </a:ext>
              </a:extLst>
            </p:cNvPr>
            <p:cNvSpPr/>
            <p:nvPr/>
          </p:nvSpPr>
          <p:spPr>
            <a:xfrm>
              <a:off x="17603234" y="5721538"/>
              <a:ext cx="196215" cy="610235"/>
            </a:xfrm>
            <a:custGeom>
              <a:avLst/>
              <a:gdLst/>
              <a:ahLst/>
              <a:cxnLst/>
              <a:rect l="l" t="t" r="r" b="b"/>
              <a:pathLst>
                <a:path w="196215" h="610235">
                  <a:moveTo>
                    <a:pt x="0" y="0"/>
                  </a:moveTo>
                  <a:lnTo>
                    <a:pt x="60354" y="572506"/>
                  </a:lnTo>
                  <a:lnTo>
                    <a:pt x="86880" y="607303"/>
                  </a:lnTo>
                  <a:lnTo>
                    <a:pt x="102174" y="610190"/>
                  </a:lnTo>
                  <a:lnTo>
                    <a:pt x="117661" y="607271"/>
                  </a:lnTo>
                  <a:lnTo>
                    <a:pt x="130613" y="599189"/>
                  </a:lnTo>
                  <a:lnTo>
                    <a:pt x="139843" y="587030"/>
                  </a:lnTo>
                  <a:lnTo>
                    <a:pt x="144163" y="571877"/>
                  </a:lnTo>
                  <a:lnTo>
                    <a:pt x="195816" y="251"/>
                  </a:lnTo>
                  <a:lnTo>
                    <a:pt x="0" y="0"/>
                  </a:lnTo>
                  <a:close/>
                </a:path>
              </a:pathLst>
            </a:custGeom>
            <a:solidFill>
              <a:srgbClr val="464563"/>
            </a:solidFill>
          </p:spPr>
          <p:txBody>
            <a:bodyPr wrap="square" lIns="0" tIns="0" rIns="0" bIns="0" rtlCol="0"/>
            <a:lstStyle/>
            <a:p>
              <a:endParaRPr/>
            </a:p>
          </p:txBody>
        </p:sp>
        <p:pic>
          <p:nvPicPr>
            <p:cNvPr id="202" name="object 52">
              <a:extLst>
                <a:ext uri="{FF2B5EF4-FFF2-40B4-BE49-F238E27FC236}">
                  <a16:creationId xmlns:a16="http://schemas.microsoft.com/office/drawing/2014/main" id="{BCC87194-F309-4F00-6031-E7DBD1805353}"/>
                </a:ext>
              </a:extLst>
            </p:cNvPr>
            <p:cNvPicPr/>
            <p:nvPr/>
          </p:nvPicPr>
          <p:blipFill>
            <a:blip r:embed="rId19" cstate="print"/>
            <a:stretch>
              <a:fillRect/>
            </a:stretch>
          </p:blipFill>
          <p:spPr>
            <a:xfrm>
              <a:off x="17602774" y="5613698"/>
              <a:ext cx="196768" cy="196768"/>
            </a:xfrm>
            <a:prstGeom prst="rect">
              <a:avLst/>
            </a:prstGeom>
          </p:spPr>
        </p:pic>
        <p:sp>
          <p:nvSpPr>
            <p:cNvPr id="203" name="object 53">
              <a:extLst>
                <a:ext uri="{FF2B5EF4-FFF2-40B4-BE49-F238E27FC236}">
                  <a16:creationId xmlns:a16="http://schemas.microsoft.com/office/drawing/2014/main" id="{5E29CF8F-86C3-C071-9848-5CC3E532B3B4}"/>
                </a:ext>
              </a:extLst>
            </p:cNvPr>
            <p:cNvSpPr/>
            <p:nvPr/>
          </p:nvSpPr>
          <p:spPr>
            <a:xfrm>
              <a:off x="17338295" y="5090000"/>
              <a:ext cx="306070" cy="1264920"/>
            </a:xfrm>
            <a:custGeom>
              <a:avLst/>
              <a:gdLst/>
              <a:ahLst/>
              <a:cxnLst/>
              <a:rect l="l" t="t" r="r" b="b"/>
              <a:pathLst>
                <a:path w="306069" h="1264920">
                  <a:moveTo>
                    <a:pt x="201637" y="254"/>
                  </a:moveTo>
                  <a:lnTo>
                    <a:pt x="4876" y="0"/>
                  </a:lnTo>
                  <a:lnTo>
                    <a:pt x="4178" y="531622"/>
                  </a:lnTo>
                  <a:lnTo>
                    <a:pt x="200952" y="531876"/>
                  </a:lnTo>
                  <a:lnTo>
                    <a:pt x="201637" y="254"/>
                  </a:lnTo>
                  <a:close/>
                </a:path>
                <a:path w="306069" h="1264920">
                  <a:moveTo>
                    <a:pt x="306070" y="1120419"/>
                  </a:moveTo>
                  <a:lnTo>
                    <a:pt x="247091" y="1017943"/>
                  </a:lnTo>
                  <a:lnTo>
                    <a:pt x="240601" y="1016190"/>
                  </a:lnTo>
                  <a:lnTo>
                    <a:pt x="6769" y="1150797"/>
                  </a:lnTo>
                  <a:lnTo>
                    <a:pt x="1752" y="1153680"/>
                  </a:lnTo>
                  <a:lnTo>
                    <a:pt x="0" y="1160157"/>
                  </a:lnTo>
                  <a:lnTo>
                    <a:pt x="58991" y="1262634"/>
                  </a:lnTo>
                  <a:lnTo>
                    <a:pt x="65468" y="1264386"/>
                  </a:lnTo>
                  <a:lnTo>
                    <a:pt x="304317" y="1126883"/>
                  </a:lnTo>
                  <a:lnTo>
                    <a:pt x="306070" y="1120419"/>
                  </a:lnTo>
                  <a:close/>
                </a:path>
              </a:pathLst>
            </a:custGeom>
            <a:solidFill>
              <a:srgbClr val="464563"/>
            </a:solidFill>
          </p:spPr>
          <p:txBody>
            <a:bodyPr wrap="square" lIns="0" tIns="0" rIns="0" bIns="0" rtlCol="0"/>
            <a:lstStyle/>
            <a:p>
              <a:endParaRPr/>
            </a:p>
          </p:txBody>
        </p:sp>
        <p:pic>
          <p:nvPicPr>
            <p:cNvPr id="204" name="object 54">
              <a:extLst>
                <a:ext uri="{FF2B5EF4-FFF2-40B4-BE49-F238E27FC236}">
                  <a16:creationId xmlns:a16="http://schemas.microsoft.com/office/drawing/2014/main" id="{E4A7DDCC-0659-7CC3-7728-54FC04C0A2A0}"/>
                </a:ext>
              </a:extLst>
            </p:cNvPr>
            <p:cNvPicPr/>
            <p:nvPr/>
          </p:nvPicPr>
          <p:blipFill>
            <a:blip r:embed="rId20" cstate="print"/>
            <a:stretch>
              <a:fillRect/>
            </a:stretch>
          </p:blipFill>
          <p:spPr>
            <a:xfrm>
              <a:off x="17342480" y="5523358"/>
              <a:ext cx="196768" cy="196768"/>
            </a:xfrm>
            <a:prstGeom prst="rect">
              <a:avLst/>
            </a:prstGeom>
          </p:spPr>
        </p:pic>
        <p:sp>
          <p:nvSpPr>
            <p:cNvPr id="205" name="object 55">
              <a:extLst>
                <a:ext uri="{FF2B5EF4-FFF2-40B4-BE49-F238E27FC236}">
                  <a16:creationId xmlns:a16="http://schemas.microsoft.com/office/drawing/2014/main" id="{EDA60403-CFA5-9BB7-3B62-D758CC2454BA}"/>
                </a:ext>
              </a:extLst>
            </p:cNvPr>
            <p:cNvSpPr/>
            <p:nvPr/>
          </p:nvSpPr>
          <p:spPr>
            <a:xfrm>
              <a:off x="17346448" y="5612939"/>
              <a:ext cx="248920" cy="617220"/>
            </a:xfrm>
            <a:custGeom>
              <a:avLst/>
              <a:gdLst/>
              <a:ahLst/>
              <a:cxnLst/>
              <a:rect l="l" t="t" r="r" b="b"/>
              <a:pathLst>
                <a:path w="248919" h="617220">
                  <a:moveTo>
                    <a:pt x="192392" y="0"/>
                  </a:moveTo>
                  <a:lnTo>
                    <a:pt x="0" y="36438"/>
                  </a:lnTo>
                  <a:lnTo>
                    <a:pt x="166560" y="587489"/>
                  </a:lnTo>
                  <a:lnTo>
                    <a:pt x="173737" y="601307"/>
                  </a:lnTo>
                  <a:lnTo>
                    <a:pt x="185037" y="611313"/>
                  </a:lnTo>
                  <a:lnTo>
                    <a:pt x="199135" y="616706"/>
                  </a:lnTo>
                  <a:lnTo>
                    <a:pt x="214705" y="616682"/>
                  </a:lnTo>
                  <a:lnTo>
                    <a:pt x="229367" y="610909"/>
                  </a:lnTo>
                  <a:lnTo>
                    <a:pt x="240575" y="600541"/>
                  </a:lnTo>
                  <a:lnTo>
                    <a:pt x="247363" y="586868"/>
                  </a:lnTo>
                  <a:lnTo>
                    <a:pt x="248767" y="571176"/>
                  </a:lnTo>
                  <a:lnTo>
                    <a:pt x="192392" y="0"/>
                  </a:lnTo>
                  <a:close/>
                </a:path>
              </a:pathLst>
            </a:custGeom>
            <a:solidFill>
              <a:srgbClr val="464563"/>
            </a:solidFill>
          </p:spPr>
          <p:txBody>
            <a:bodyPr wrap="square" lIns="0" tIns="0" rIns="0" bIns="0" rtlCol="0"/>
            <a:lstStyle/>
            <a:p>
              <a:endParaRPr/>
            </a:p>
          </p:txBody>
        </p:sp>
        <p:pic>
          <p:nvPicPr>
            <p:cNvPr id="206" name="object 56">
              <a:extLst>
                <a:ext uri="{FF2B5EF4-FFF2-40B4-BE49-F238E27FC236}">
                  <a16:creationId xmlns:a16="http://schemas.microsoft.com/office/drawing/2014/main" id="{6D2B73B8-C40E-8AFF-8CA5-538DF1833EBC}"/>
                </a:ext>
              </a:extLst>
            </p:cNvPr>
            <p:cNvPicPr/>
            <p:nvPr/>
          </p:nvPicPr>
          <p:blipFill>
            <a:blip r:embed="rId21" cstate="print"/>
            <a:stretch>
              <a:fillRect/>
            </a:stretch>
          </p:blipFill>
          <p:spPr>
            <a:xfrm>
              <a:off x="17344201" y="5525079"/>
              <a:ext cx="193334" cy="193323"/>
            </a:xfrm>
            <a:prstGeom prst="rect">
              <a:avLst/>
            </a:prstGeom>
          </p:spPr>
        </p:pic>
        <p:sp>
          <p:nvSpPr>
            <p:cNvPr id="207" name="object 57">
              <a:extLst>
                <a:ext uri="{FF2B5EF4-FFF2-40B4-BE49-F238E27FC236}">
                  <a16:creationId xmlns:a16="http://schemas.microsoft.com/office/drawing/2014/main" id="{562EA132-E333-27FC-3718-914DD5316B28}"/>
                </a:ext>
              </a:extLst>
            </p:cNvPr>
            <p:cNvSpPr/>
            <p:nvPr/>
          </p:nvSpPr>
          <p:spPr>
            <a:xfrm>
              <a:off x="15522430" y="5499563"/>
              <a:ext cx="2837815" cy="1662430"/>
            </a:xfrm>
            <a:custGeom>
              <a:avLst/>
              <a:gdLst/>
              <a:ahLst/>
              <a:cxnLst/>
              <a:rect l="l" t="t" r="r" b="b"/>
              <a:pathLst>
                <a:path w="2837815" h="1662429">
                  <a:moveTo>
                    <a:pt x="1058969" y="56"/>
                  </a:moveTo>
                  <a:lnTo>
                    <a:pt x="1014577" y="0"/>
                  </a:lnTo>
                  <a:lnTo>
                    <a:pt x="970913" y="9144"/>
                  </a:lnTo>
                  <a:lnTo>
                    <a:pt x="929454" y="27492"/>
                  </a:lnTo>
                  <a:lnTo>
                    <a:pt x="39712" y="539644"/>
                  </a:lnTo>
                  <a:lnTo>
                    <a:pt x="9956" y="569633"/>
                  </a:lnTo>
                  <a:lnTo>
                    <a:pt x="0" y="608224"/>
                  </a:lnTo>
                  <a:lnTo>
                    <a:pt x="9854" y="646841"/>
                  </a:lnTo>
                  <a:lnTo>
                    <a:pt x="39534" y="676907"/>
                  </a:lnTo>
                  <a:lnTo>
                    <a:pt x="1693337" y="1634584"/>
                  </a:lnTo>
                  <a:lnTo>
                    <a:pt x="1734745" y="1653037"/>
                  </a:lnTo>
                  <a:lnTo>
                    <a:pt x="1778383" y="1662293"/>
                  </a:lnTo>
                  <a:lnTo>
                    <a:pt x="1822774" y="1662351"/>
                  </a:lnTo>
                  <a:lnTo>
                    <a:pt x="1866437" y="1653210"/>
                  </a:lnTo>
                  <a:lnTo>
                    <a:pt x="1907896" y="1634867"/>
                  </a:lnTo>
                  <a:lnTo>
                    <a:pt x="2797638" y="1122715"/>
                  </a:lnTo>
                  <a:lnTo>
                    <a:pt x="2827398" y="1092725"/>
                  </a:lnTo>
                  <a:lnTo>
                    <a:pt x="2837354" y="1054131"/>
                  </a:lnTo>
                  <a:lnTo>
                    <a:pt x="2827497" y="1015514"/>
                  </a:lnTo>
                  <a:lnTo>
                    <a:pt x="2797816" y="985452"/>
                  </a:lnTo>
                  <a:lnTo>
                    <a:pt x="1144024" y="27764"/>
                  </a:lnTo>
                  <a:lnTo>
                    <a:pt x="1102610" y="9312"/>
                  </a:lnTo>
                  <a:lnTo>
                    <a:pt x="1058969" y="56"/>
                  </a:lnTo>
                  <a:close/>
                </a:path>
              </a:pathLst>
            </a:custGeom>
            <a:solidFill>
              <a:srgbClr val="80B8D6">
                <a:alpha val="29998"/>
              </a:srgbClr>
            </a:solidFill>
          </p:spPr>
          <p:txBody>
            <a:bodyPr wrap="square" lIns="0" tIns="0" rIns="0" bIns="0" rtlCol="0"/>
            <a:lstStyle/>
            <a:p>
              <a:endParaRPr/>
            </a:p>
          </p:txBody>
        </p:sp>
        <p:pic>
          <p:nvPicPr>
            <p:cNvPr id="208" name="object 58">
              <a:extLst>
                <a:ext uri="{FF2B5EF4-FFF2-40B4-BE49-F238E27FC236}">
                  <a16:creationId xmlns:a16="http://schemas.microsoft.com/office/drawing/2014/main" id="{95D1D47F-57AA-EB69-300F-EFA166906516}"/>
                </a:ext>
              </a:extLst>
            </p:cNvPr>
            <p:cNvPicPr/>
            <p:nvPr/>
          </p:nvPicPr>
          <p:blipFill>
            <a:blip r:embed="rId22" cstate="print"/>
            <a:stretch>
              <a:fillRect/>
            </a:stretch>
          </p:blipFill>
          <p:spPr>
            <a:xfrm>
              <a:off x="15522941" y="5086724"/>
              <a:ext cx="2837515" cy="1675096"/>
            </a:xfrm>
            <a:prstGeom prst="rect">
              <a:avLst/>
            </a:prstGeom>
          </p:spPr>
        </p:pic>
        <p:sp>
          <p:nvSpPr>
            <p:cNvPr id="209" name="object 59">
              <a:extLst>
                <a:ext uri="{FF2B5EF4-FFF2-40B4-BE49-F238E27FC236}">
                  <a16:creationId xmlns:a16="http://schemas.microsoft.com/office/drawing/2014/main" id="{2E0AD276-306F-C084-1D17-3342C2400028}"/>
                </a:ext>
              </a:extLst>
            </p:cNvPr>
            <p:cNvSpPr/>
            <p:nvPr/>
          </p:nvSpPr>
          <p:spPr>
            <a:xfrm>
              <a:off x="15523153" y="4941218"/>
              <a:ext cx="2837815" cy="1662430"/>
            </a:xfrm>
            <a:custGeom>
              <a:avLst/>
              <a:gdLst/>
              <a:ahLst/>
              <a:cxnLst/>
              <a:rect l="l" t="t" r="r" b="b"/>
              <a:pathLst>
                <a:path w="2837815" h="1662429">
                  <a:moveTo>
                    <a:pt x="1058969" y="56"/>
                  </a:moveTo>
                  <a:lnTo>
                    <a:pt x="1014577" y="0"/>
                  </a:lnTo>
                  <a:lnTo>
                    <a:pt x="970913" y="9144"/>
                  </a:lnTo>
                  <a:lnTo>
                    <a:pt x="929454" y="27492"/>
                  </a:lnTo>
                  <a:lnTo>
                    <a:pt x="39712" y="539644"/>
                  </a:lnTo>
                  <a:lnTo>
                    <a:pt x="9956" y="569633"/>
                  </a:lnTo>
                  <a:lnTo>
                    <a:pt x="0" y="608224"/>
                  </a:lnTo>
                  <a:lnTo>
                    <a:pt x="9854" y="646841"/>
                  </a:lnTo>
                  <a:lnTo>
                    <a:pt x="39534" y="676907"/>
                  </a:lnTo>
                  <a:lnTo>
                    <a:pt x="1693337" y="1634595"/>
                  </a:lnTo>
                  <a:lnTo>
                    <a:pt x="1734745" y="1653043"/>
                  </a:lnTo>
                  <a:lnTo>
                    <a:pt x="1778383" y="1662296"/>
                  </a:lnTo>
                  <a:lnTo>
                    <a:pt x="1822774" y="1662352"/>
                  </a:lnTo>
                  <a:lnTo>
                    <a:pt x="1866437" y="1653210"/>
                  </a:lnTo>
                  <a:lnTo>
                    <a:pt x="1907896" y="1634867"/>
                  </a:lnTo>
                  <a:lnTo>
                    <a:pt x="2797638" y="1122715"/>
                  </a:lnTo>
                  <a:lnTo>
                    <a:pt x="2827398" y="1092725"/>
                  </a:lnTo>
                  <a:lnTo>
                    <a:pt x="2837354" y="1054131"/>
                  </a:lnTo>
                  <a:lnTo>
                    <a:pt x="2827497" y="1015514"/>
                  </a:lnTo>
                  <a:lnTo>
                    <a:pt x="2797816" y="985452"/>
                  </a:lnTo>
                  <a:lnTo>
                    <a:pt x="1144024" y="27764"/>
                  </a:lnTo>
                  <a:lnTo>
                    <a:pt x="1102610" y="9312"/>
                  </a:lnTo>
                  <a:lnTo>
                    <a:pt x="1058969" y="56"/>
                  </a:lnTo>
                  <a:close/>
                </a:path>
              </a:pathLst>
            </a:custGeom>
            <a:solidFill>
              <a:srgbClr val="F4F4F4"/>
            </a:solidFill>
          </p:spPr>
          <p:txBody>
            <a:bodyPr wrap="square" lIns="0" tIns="0" rIns="0" bIns="0" rtlCol="0"/>
            <a:lstStyle/>
            <a:p>
              <a:endParaRPr/>
            </a:p>
          </p:txBody>
        </p:sp>
        <p:pic>
          <p:nvPicPr>
            <p:cNvPr id="210" name="object 60">
              <a:extLst>
                <a:ext uri="{FF2B5EF4-FFF2-40B4-BE49-F238E27FC236}">
                  <a16:creationId xmlns:a16="http://schemas.microsoft.com/office/drawing/2014/main" id="{60FC2215-3752-85D2-CC2F-F568191630B0}"/>
                </a:ext>
              </a:extLst>
            </p:cNvPr>
            <p:cNvPicPr/>
            <p:nvPr/>
          </p:nvPicPr>
          <p:blipFill>
            <a:blip r:embed="rId23" cstate="print"/>
            <a:stretch>
              <a:fillRect/>
            </a:stretch>
          </p:blipFill>
          <p:spPr>
            <a:xfrm>
              <a:off x="15785669" y="5084379"/>
              <a:ext cx="2162600" cy="1274720"/>
            </a:xfrm>
            <a:prstGeom prst="rect">
              <a:avLst/>
            </a:prstGeom>
          </p:spPr>
        </p:pic>
        <p:sp>
          <p:nvSpPr>
            <p:cNvPr id="211" name="object 61">
              <a:extLst>
                <a:ext uri="{FF2B5EF4-FFF2-40B4-BE49-F238E27FC236}">
                  <a16:creationId xmlns:a16="http://schemas.microsoft.com/office/drawing/2014/main" id="{2227F0C8-AD7B-3EBD-A818-2F3222553AB6}"/>
                </a:ext>
              </a:extLst>
            </p:cNvPr>
            <p:cNvSpPr/>
            <p:nvPr/>
          </p:nvSpPr>
          <p:spPr>
            <a:xfrm>
              <a:off x="16404857" y="5176602"/>
              <a:ext cx="880110" cy="920750"/>
            </a:xfrm>
            <a:custGeom>
              <a:avLst/>
              <a:gdLst/>
              <a:ahLst/>
              <a:cxnLst/>
              <a:rect l="l" t="t" r="r" b="b"/>
              <a:pathLst>
                <a:path w="880109" h="920750">
                  <a:moveTo>
                    <a:pt x="774712" y="254076"/>
                  </a:moveTo>
                  <a:lnTo>
                    <a:pt x="335978" y="0"/>
                  </a:lnTo>
                  <a:lnTo>
                    <a:pt x="0" y="193395"/>
                  </a:lnTo>
                  <a:lnTo>
                    <a:pt x="438746" y="447459"/>
                  </a:lnTo>
                  <a:lnTo>
                    <a:pt x="774712" y="254076"/>
                  </a:lnTo>
                  <a:close/>
                </a:path>
                <a:path w="880109" h="920750">
                  <a:moveTo>
                    <a:pt x="880008" y="768210"/>
                  </a:moveTo>
                  <a:lnTo>
                    <a:pt x="534454" y="568109"/>
                  </a:lnTo>
                  <a:lnTo>
                    <a:pt x="269849" y="720420"/>
                  </a:lnTo>
                  <a:lnTo>
                    <a:pt x="615403" y="920534"/>
                  </a:lnTo>
                  <a:lnTo>
                    <a:pt x="880008" y="768210"/>
                  </a:lnTo>
                  <a:close/>
                </a:path>
              </a:pathLst>
            </a:custGeom>
            <a:solidFill>
              <a:srgbClr val="035A82"/>
            </a:solidFill>
          </p:spPr>
          <p:txBody>
            <a:bodyPr wrap="square" lIns="0" tIns="0" rIns="0" bIns="0" rtlCol="0"/>
            <a:lstStyle/>
            <a:p>
              <a:endParaRPr/>
            </a:p>
          </p:txBody>
        </p:sp>
        <p:pic>
          <p:nvPicPr>
            <p:cNvPr id="212" name="object 62">
              <a:extLst>
                <a:ext uri="{FF2B5EF4-FFF2-40B4-BE49-F238E27FC236}">
                  <a16:creationId xmlns:a16="http://schemas.microsoft.com/office/drawing/2014/main" id="{32B30884-351F-D5F3-2530-CD2894916A7F}"/>
                </a:ext>
              </a:extLst>
            </p:cNvPr>
            <p:cNvPicPr/>
            <p:nvPr/>
          </p:nvPicPr>
          <p:blipFill>
            <a:blip r:embed="rId24" cstate="print"/>
            <a:stretch>
              <a:fillRect/>
            </a:stretch>
          </p:blipFill>
          <p:spPr>
            <a:xfrm>
              <a:off x="17078596" y="4817514"/>
              <a:ext cx="192598" cy="277203"/>
            </a:xfrm>
            <a:prstGeom prst="rect">
              <a:avLst/>
            </a:prstGeom>
          </p:spPr>
        </p:pic>
        <p:sp>
          <p:nvSpPr>
            <p:cNvPr id="213" name="object 63">
              <a:extLst>
                <a:ext uri="{FF2B5EF4-FFF2-40B4-BE49-F238E27FC236}">
                  <a16:creationId xmlns:a16="http://schemas.microsoft.com/office/drawing/2014/main" id="{2F2A5ECF-D2B1-F791-134C-57B3A6C943D9}"/>
                </a:ext>
              </a:extLst>
            </p:cNvPr>
            <p:cNvSpPr/>
            <p:nvPr/>
          </p:nvSpPr>
          <p:spPr>
            <a:xfrm>
              <a:off x="16884400" y="5002044"/>
              <a:ext cx="295910" cy="339090"/>
            </a:xfrm>
            <a:custGeom>
              <a:avLst/>
              <a:gdLst/>
              <a:ahLst/>
              <a:cxnLst/>
              <a:rect l="l" t="t" r="r" b="b"/>
              <a:pathLst>
                <a:path w="295909" h="339089">
                  <a:moveTo>
                    <a:pt x="204328" y="0"/>
                  </a:moveTo>
                  <a:lnTo>
                    <a:pt x="0" y="309519"/>
                  </a:lnTo>
                  <a:lnTo>
                    <a:pt x="35621" y="338900"/>
                  </a:lnTo>
                  <a:lnTo>
                    <a:pt x="295634" y="75327"/>
                  </a:lnTo>
                  <a:lnTo>
                    <a:pt x="204328" y="0"/>
                  </a:lnTo>
                  <a:close/>
                </a:path>
              </a:pathLst>
            </a:custGeom>
            <a:solidFill>
              <a:srgbClr val="B94F17"/>
            </a:solidFill>
          </p:spPr>
          <p:txBody>
            <a:bodyPr wrap="square" lIns="0" tIns="0" rIns="0" bIns="0" rtlCol="0"/>
            <a:lstStyle/>
            <a:p>
              <a:endParaRPr/>
            </a:p>
          </p:txBody>
        </p:sp>
        <p:pic>
          <p:nvPicPr>
            <p:cNvPr id="214" name="object 64">
              <a:extLst>
                <a:ext uri="{FF2B5EF4-FFF2-40B4-BE49-F238E27FC236}">
                  <a16:creationId xmlns:a16="http://schemas.microsoft.com/office/drawing/2014/main" id="{970F426D-CF32-D9AF-1042-FF73E4EAA578}"/>
                </a:ext>
              </a:extLst>
            </p:cNvPr>
            <p:cNvPicPr/>
            <p:nvPr/>
          </p:nvPicPr>
          <p:blipFill>
            <a:blip r:embed="rId25" cstate="print"/>
            <a:stretch>
              <a:fillRect/>
            </a:stretch>
          </p:blipFill>
          <p:spPr>
            <a:xfrm>
              <a:off x="17078869" y="4976038"/>
              <a:ext cx="118404" cy="118404"/>
            </a:xfrm>
            <a:prstGeom prst="rect">
              <a:avLst/>
            </a:prstGeom>
          </p:spPr>
        </p:pic>
        <p:pic>
          <p:nvPicPr>
            <p:cNvPr id="215" name="object 65">
              <a:extLst>
                <a:ext uri="{FF2B5EF4-FFF2-40B4-BE49-F238E27FC236}">
                  <a16:creationId xmlns:a16="http://schemas.microsoft.com/office/drawing/2014/main" id="{2B10C538-29B6-DF68-7C2B-EA30932636D0}"/>
                </a:ext>
              </a:extLst>
            </p:cNvPr>
            <p:cNvPicPr/>
            <p:nvPr/>
          </p:nvPicPr>
          <p:blipFill>
            <a:blip r:embed="rId26" cstate="print"/>
            <a:stretch>
              <a:fillRect/>
            </a:stretch>
          </p:blipFill>
          <p:spPr>
            <a:xfrm>
              <a:off x="16863759" y="5262038"/>
              <a:ext cx="100562" cy="100565"/>
            </a:xfrm>
            <a:prstGeom prst="rect">
              <a:avLst/>
            </a:prstGeom>
          </p:spPr>
        </p:pic>
        <p:sp>
          <p:nvSpPr>
            <p:cNvPr id="216" name="object 66">
              <a:extLst>
                <a:ext uri="{FF2B5EF4-FFF2-40B4-BE49-F238E27FC236}">
                  <a16:creationId xmlns:a16="http://schemas.microsoft.com/office/drawing/2014/main" id="{C82E0739-7698-3000-1AED-428C5BA7C003}"/>
                </a:ext>
              </a:extLst>
            </p:cNvPr>
            <p:cNvSpPr/>
            <p:nvPr/>
          </p:nvSpPr>
          <p:spPr>
            <a:xfrm>
              <a:off x="17116274" y="4679469"/>
              <a:ext cx="215265" cy="297815"/>
            </a:xfrm>
            <a:custGeom>
              <a:avLst/>
              <a:gdLst/>
              <a:ahLst/>
              <a:cxnLst/>
              <a:rect l="l" t="t" r="r" b="b"/>
              <a:pathLst>
                <a:path w="215265" h="297814">
                  <a:moveTo>
                    <a:pt x="79471" y="0"/>
                  </a:moveTo>
                  <a:lnTo>
                    <a:pt x="2478" y="212527"/>
                  </a:lnTo>
                  <a:lnTo>
                    <a:pt x="0" y="236023"/>
                  </a:lnTo>
                  <a:lnTo>
                    <a:pt x="8169" y="258903"/>
                  </a:lnTo>
                  <a:lnTo>
                    <a:pt x="25449" y="278594"/>
                  </a:lnTo>
                  <a:lnTo>
                    <a:pt x="50299" y="292525"/>
                  </a:lnTo>
                  <a:lnTo>
                    <a:pt x="78303" y="297743"/>
                  </a:lnTo>
                  <a:lnTo>
                    <a:pt x="104185" y="293688"/>
                  </a:lnTo>
                  <a:lnTo>
                    <a:pt x="125115" y="281350"/>
                  </a:lnTo>
                  <a:lnTo>
                    <a:pt x="138265" y="261719"/>
                  </a:lnTo>
                  <a:lnTo>
                    <a:pt x="215257" y="49192"/>
                  </a:lnTo>
                  <a:lnTo>
                    <a:pt x="79471" y="0"/>
                  </a:lnTo>
                  <a:close/>
                </a:path>
              </a:pathLst>
            </a:custGeom>
            <a:solidFill>
              <a:srgbClr val="035A82"/>
            </a:solidFill>
          </p:spPr>
          <p:txBody>
            <a:bodyPr wrap="square" lIns="0" tIns="0" rIns="0" bIns="0" rtlCol="0"/>
            <a:lstStyle/>
            <a:p>
              <a:endParaRPr/>
            </a:p>
          </p:txBody>
        </p:sp>
        <p:sp>
          <p:nvSpPr>
            <p:cNvPr id="217" name="object 67">
              <a:extLst>
                <a:ext uri="{FF2B5EF4-FFF2-40B4-BE49-F238E27FC236}">
                  <a16:creationId xmlns:a16="http://schemas.microsoft.com/office/drawing/2014/main" id="{B1D13127-8045-90E7-A423-7FA7391E0C84}"/>
                </a:ext>
              </a:extLst>
            </p:cNvPr>
            <p:cNvSpPr/>
            <p:nvPr/>
          </p:nvSpPr>
          <p:spPr>
            <a:xfrm>
              <a:off x="16981744" y="4246111"/>
              <a:ext cx="346075" cy="346075"/>
            </a:xfrm>
            <a:custGeom>
              <a:avLst/>
              <a:gdLst/>
              <a:ahLst/>
              <a:cxnLst/>
              <a:rect l="l" t="t" r="r" b="b"/>
              <a:pathLst>
                <a:path w="346075" h="346075">
                  <a:moveTo>
                    <a:pt x="173415" y="0"/>
                  </a:moveTo>
                  <a:lnTo>
                    <a:pt x="127455" y="6118"/>
                  </a:lnTo>
                  <a:lnTo>
                    <a:pt x="84745" y="24151"/>
                  </a:lnTo>
                  <a:lnTo>
                    <a:pt x="49488" y="51814"/>
                  </a:lnTo>
                  <a:lnTo>
                    <a:pt x="22841" y="87084"/>
                  </a:lnTo>
                  <a:lnTo>
                    <a:pt x="5959" y="127939"/>
                  </a:lnTo>
                  <a:lnTo>
                    <a:pt x="0" y="172355"/>
                  </a:lnTo>
                  <a:lnTo>
                    <a:pt x="6119" y="218310"/>
                  </a:lnTo>
                  <a:lnTo>
                    <a:pt x="24152" y="261025"/>
                  </a:lnTo>
                  <a:lnTo>
                    <a:pt x="51815" y="296285"/>
                  </a:lnTo>
                  <a:lnTo>
                    <a:pt x="87085" y="322934"/>
                  </a:lnTo>
                  <a:lnTo>
                    <a:pt x="127939" y="339817"/>
                  </a:lnTo>
                  <a:lnTo>
                    <a:pt x="172356" y="345777"/>
                  </a:lnTo>
                  <a:lnTo>
                    <a:pt x="218311" y="339658"/>
                  </a:lnTo>
                  <a:lnTo>
                    <a:pt x="261022" y="321624"/>
                  </a:lnTo>
                  <a:lnTo>
                    <a:pt x="296281" y="293961"/>
                  </a:lnTo>
                  <a:lnTo>
                    <a:pt x="322931" y="258691"/>
                  </a:lnTo>
                  <a:lnTo>
                    <a:pt x="339815" y="217837"/>
                  </a:lnTo>
                  <a:lnTo>
                    <a:pt x="345777" y="173421"/>
                  </a:lnTo>
                  <a:lnTo>
                    <a:pt x="339658" y="127465"/>
                  </a:lnTo>
                  <a:lnTo>
                    <a:pt x="321625" y="84754"/>
                  </a:lnTo>
                  <a:lnTo>
                    <a:pt x="293962" y="49495"/>
                  </a:lnTo>
                  <a:lnTo>
                    <a:pt x="258691" y="22845"/>
                  </a:lnTo>
                  <a:lnTo>
                    <a:pt x="217835" y="5961"/>
                  </a:lnTo>
                  <a:lnTo>
                    <a:pt x="173415" y="0"/>
                  </a:lnTo>
                  <a:close/>
                </a:path>
              </a:pathLst>
            </a:custGeom>
            <a:solidFill>
              <a:srgbClr val="B94F17"/>
            </a:solidFill>
          </p:spPr>
          <p:txBody>
            <a:bodyPr wrap="square" lIns="0" tIns="0" rIns="0" bIns="0" rtlCol="0"/>
            <a:lstStyle/>
            <a:p>
              <a:endParaRPr/>
            </a:p>
          </p:txBody>
        </p:sp>
        <p:sp>
          <p:nvSpPr>
            <p:cNvPr id="218" name="object 68">
              <a:extLst>
                <a:ext uri="{FF2B5EF4-FFF2-40B4-BE49-F238E27FC236}">
                  <a16:creationId xmlns:a16="http://schemas.microsoft.com/office/drawing/2014/main" id="{C6B09C45-360A-6F4C-41B2-B565B7992031}"/>
                </a:ext>
              </a:extLst>
            </p:cNvPr>
            <p:cNvSpPr/>
            <p:nvPr/>
          </p:nvSpPr>
          <p:spPr>
            <a:xfrm>
              <a:off x="17172518" y="4530419"/>
              <a:ext cx="674370" cy="871855"/>
            </a:xfrm>
            <a:custGeom>
              <a:avLst/>
              <a:gdLst/>
              <a:ahLst/>
              <a:cxnLst/>
              <a:rect l="l" t="t" r="r" b="b"/>
              <a:pathLst>
                <a:path w="674369" h="871854">
                  <a:moveTo>
                    <a:pt x="284155" y="0"/>
                  </a:moveTo>
                  <a:lnTo>
                    <a:pt x="235811" y="2246"/>
                  </a:lnTo>
                  <a:lnTo>
                    <a:pt x="190129" y="11064"/>
                  </a:lnTo>
                  <a:lnTo>
                    <a:pt x="151785" y="25070"/>
                  </a:lnTo>
                  <a:lnTo>
                    <a:pt x="114005" y="45830"/>
                  </a:lnTo>
                  <a:lnTo>
                    <a:pt x="78687" y="72509"/>
                  </a:lnTo>
                  <a:lnTo>
                    <a:pt x="47729" y="104270"/>
                  </a:lnTo>
                  <a:lnTo>
                    <a:pt x="23030" y="140278"/>
                  </a:lnTo>
                  <a:lnTo>
                    <a:pt x="6487" y="179697"/>
                  </a:lnTo>
                  <a:lnTo>
                    <a:pt x="0" y="221690"/>
                  </a:lnTo>
                  <a:lnTo>
                    <a:pt x="5465" y="265422"/>
                  </a:lnTo>
                  <a:lnTo>
                    <a:pt x="25964" y="339200"/>
                  </a:lnTo>
                  <a:lnTo>
                    <a:pt x="48720" y="412371"/>
                  </a:lnTo>
                  <a:lnTo>
                    <a:pt x="88061" y="528656"/>
                  </a:lnTo>
                  <a:lnTo>
                    <a:pt x="158319" y="731775"/>
                  </a:lnTo>
                  <a:lnTo>
                    <a:pt x="673842" y="871278"/>
                  </a:lnTo>
                  <a:lnTo>
                    <a:pt x="468309" y="116683"/>
                  </a:lnTo>
                  <a:lnTo>
                    <a:pt x="448441" y="73498"/>
                  </a:lnTo>
                  <a:lnTo>
                    <a:pt x="417306" y="41074"/>
                  </a:lnTo>
                  <a:lnTo>
                    <a:pt x="377689" y="18576"/>
                  </a:lnTo>
                  <a:lnTo>
                    <a:pt x="332377" y="5163"/>
                  </a:lnTo>
                  <a:lnTo>
                    <a:pt x="284155" y="0"/>
                  </a:lnTo>
                  <a:close/>
                </a:path>
              </a:pathLst>
            </a:custGeom>
            <a:solidFill>
              <a:srgbClr val="82C6DB"/>
            </a:solidFill>
          </p:spPr>
          <p:txBody>
            <a:bodyPr wrap="square" lIns="0" tIns="0" rIns="0" bIns="0" rtlCol="0"/>
            <a:lstStyle/>
            <a:p>
              <a:endParaRPr/>
            </a:p>
          </p:txBody>
        </p:sp>
        <p:pic>
          <p:nvPicPr>
            <p:cNvPr id="219" name="object 69">
              <a:extLst>
                <a:ext uri="{FF2B5EF4-FFF2-40B4-BE49-F238E27FC236}">
                  <a16:creationId xmlns:a16="http://schemas.microsoft.com/office/drawing/2014/main" id="{CEAC0812-4163-55F7-41C4-DDABE7FA65E0}"/>
                </a:ext>
              </a:extLst>
            </p:cNvPr>
            <p:cNvPicPr/>
            <p:nvPr/>
          </p:nvPicPr>
          <p:blipFill>
            <a:blip r:embed="rId27" cstate="print"/>
            <a:stretch>
              <a:fillRect/>
            </a:stretch>
          </p:blipFill>
          <p:spPr>
            <a:xfrm>
              <a:off x="17169240" y="4446863"/>
              <a:ext cx="227056" cy="226451"/>
            </a:xfrm>
            <a:prstGeom prst="rect">
              <a:avLst/>
            </a:prstGeom>
          </p:spPr>
        </p:pic>
        <p:pic>
          <p:nvPicPr>
            <p:cNvPr id="220" name="object 70">
              <a:extLst>
                <a:ext uri="{FF2B5EF4-FFF2-40B4-BE49-F238E27FC236}">
                  <a16:creationId xmlns:a16="http://schemas.microsoft.com/office/drawing/2014/main" id="{ECEAE263-9092-98AA-E28F-9CF8584A43C1}"/>
                </a:ext>
              </a:extLst>
            </p:cNvPr>
            <p:cNvPicPr/>
            <p:nvPr/>
          </p:nvPicPr>
          <p:blipFill>
            <a:blip r:embed="rId28" cstate="print"/>
            <a:stretch>
              <a:fillRect/>
            </a:stretch>
          </p:blipFill>
          <p:spPr>
            <a:xfrm>
              <a:off x="17555062" y="4988876"/>
              <a:ext cx="135116" cy="273970"/>
            </a:xfrm>
            <a:prstGeom prst="rect">
              <a:avLst/>
            </a:prstGeom>
          </p:spPr>
        </p:pic>
        <p:sp>
          <p:nvSpPr>
            <p:cNvPr id="221" name="object 71">
              <a:extLst>
                <a:ext uri="{FF2B5EF4-FFF2-40B4-BE49-F238E27FC236}">
                  <a16:creationId xmlns:a16="http://schemas.microsoft.com/office/drawing/2014/main" id="{F7BFC5F3-2711-122E-8E37-33BA6A54B571}"/>
                </a:ext>
              </a:extLst>
            </p:cNvPr>
            <p:cNvSpPr/>
            <p:nvPr/>
          </p:nvSpPr>
          <p:spPr>
            <a:xfrm>
              <a:off x="17525249" y="5195552"/>
              <a:ext cx="161925" cy="379095"/>
            </a:xfrm>
            <a:custGeom>
              <a:avLst/>
              <a:gdLst/>
              <a:ahLst/>
              <a:cxnLst/>
              <a:rect l="l" t="t" r="r" b="b"/>
              <a:pathLst>
                <a:path w="161925" h="379095">
                  <a:moveTo>
                    <a:pt x="46710" y="0"/>
                  </a:moveTo>
                  <a:lnTo>
                    <a:pt x="0" y="367925"/>
                  </a:lnTo>
                  <a:lnTo>
                    <a:pt x="44930" y="378574"/>
                  </a:lnTo>
                  <a:lnTo>
                    <a:pt x="161890" y="27287"/>
                  </a:lnTo>
                  <a:lnTo>
                    <a:pt x="46710" y="0"/>
                  </a:lnTo>
                  <a:close/>
                </a:path>
              </a:pathLst>
            </a:custGeom>
            <a:solidFill>
              <a:srgbClr val="B94F17"/>
            </a:solidFill>
          </p:spPr>
          <p:txBody>
            <a:bodyPr wrap="square" lIns="0" tIns="0" rIns="0" bIns="0" rtlCol="0"/>
            <a:lstStyle/>
            <a:p>
              <a:endParaRPr/>
            </a:p>
          </p:txBody>
        </p:sp>
        <p:pic>
          <p:nvPicPr>
            <p:cNvPr id="222" name="object 72">
              <a:extLst>
                <a:ext uri="{FF2B5EF4-FFF2-40B4-BE49-F238E27FC236}">
                  <a16:creationId xmlns:a16="http://schemas.microsoft.com/office/drawing/2014/main" id="{B26EA627-5679-260E-BC2A-D42778A0BFB7}"/>
                </a:ext>
              </a:extLst>
            </p:cNvPr>
            <p:cNvPicPr/>
            <p:nvPr/>
          </p:nvPicPr>
          <p:blipFill>
            <a:blip r:embed="rId29" cstate="print"/>
            <a:stretch>
              <a:fillRect/>
            </a:stretch>
          </p:blipFill>
          <p:spPr>
            <a:xfrm>
              <a:off x="17572229" y="5144898"/>
              <a:ext cx="117321" cy="117320"/>
            </a:xfrm>
            <a:prstGeom prst="rect">
              <a:avLst/>
            </a:prstGeom>
          </p:spPr>
        </p:pic>
        <p:pic>
          <p:nvPicPr>
            <p:cNvPr id="223" name="object 73">
              <a:extLst>
                <a:ext uri="{FF2B5EF4-FFF2-40B4-BE49-F238E27FC236}">
                  <a16:creationId xmlns:a16="http://schemas.microsoft.com/office/drawing/2014/main" id="{39A484E2-A83E-E0F1-F827-4E7DF5281739}"/>
                </a:ext>
              </a:extLst>
            </p:cNvPr>
            <p:cNvPicPr/>
            <p:nvPr/>
          </p:nvPicPr>
          <p:blipFill>
            <a:blip r:embed="rId30" cstate="print"/>
            <a:stretch>
              <a:fillRect/>
            </a:stretch>
          </p:blipFill>
          <p:spPr>
            <a:xfrm>
              <a:off x="17501589" y="5500490"/>
              <a:ext cx="101172" cy="101174"/>
            </a:xfrm>
            <a:prstGeom prst="rect">
              <a:avLst/>
            </a:prstGeom>
          </p:spPr>
        </p:pic>
        <p:sp>
          <p:nvSpPr>
            <p:cNvPr id="224" name="object 74">
              <a:extLst>
                <a:ext uri="{FF2B5EF4-FFF2-40B4-BE49-F238E27FC236}">
                  <a16:creationId xmlns:a16="http://schemas.microsoft.com/office/drawing/2014/main" id="{6475A838-E1C4-4CE8-D81B-76BDECACAA1C}"/>
                </a:ext>
              </a:extLst>
            </p:cNvPr>
            <p:cNvSpPr/>
            <p:nvPr/>
          </p:nvSpPr>
          <p:spPr>
            <a:xfrm>
              <a:off x="17510350" y="4710740"/>
              <a:ext cx="184150" cy="423545"/>
            </a:xfrm>
            <a:custGeom>
              <a:avLst/>
              <a:gdLst/>
              <a:ahLst/>
              <a:cxnLst/>
              <a:rect l="l" t="t" r="r" b="b"/>
              <a:pathLst>
                <a:path w="184150" h="423545">
                  <a:moveTo>
                    <a:pt x="63621" y="0"/>
                  </a:moveTo>
                  <a:lnTo>
                    <a:pt x="35870" y="8957"/>
                  </a:lnTo>
                  <a:lnTo>
                    <a:pt x="14600" y="27355"/>
                  </a:lnTo>
                  <a:lnTo>
                    <a:pt x="1934" y="52466"/>
                  </a:lnTo>
                  <a:lnTo>
                    <a:pt x="0" y="81568"/>
                  </a:lnTo>
                  <a:lnTo>
                    <a:pt x="39967" y="372805"/>
                  </a:lnTo>
                  <a:lnTo>
                    <a:pt x="48117" y="394986"/>
                  </a:lnTo>
                  <a:lnTo>
                    <a:pt x="65550" y="411911"/>
                  </a:lnTo>
                  <a:lnTo>
                    <a:pt x="89748" y="421953"/>
                  </a:lnTo>
                  <a:lnTo>
                    <a:pt x="118195" y="423484"/>
                  </a:lnTo>
                  <a:lnTo>
                    <a:pt x="145623" y="415804"/>
                  </a:lnTo>
                  <a:lnTo>
                    <a:pt x="167056" y="400740"/>
                  </a:lnTo>
                  <a:lnTo>
                    <a:pt x="180390" y="380428"/>
                  </a:lnTo>
                  <a:lnTo>
                    <a:pt x="183523" y="357004"/>
                  </a:lnTo>
                  <a:lnTo>
                    <a:pt x="143032" y="61935"/>
                  </a:lnTo>
                  <a:lnTo>
                    <a:pt x="133847" y="35306"/>
                  </a:lnTo>
                  <a:lnTo>
                    <a:pt x="115911" y="14829"/>
                  </a:lnTo>
                  <a:lnTo>
                    <a:pt x="91682" y="2421"/>
                  </a:lnTo>
                  <a:lnTo>
                    <a:pt x="63621" y="0"/>
                  </a:lnTo>
                  <a:close/>
                </a:path>
              </a:pathLst>
            </a:custGeom>
            <a:solidFill>
              <a:srgbClr val="035A82"/>
            </a:solidFill>
          </p:spPr>
          <p:txBody>
            <a:bodyPr wrap="square" lIns="0" tIns="0" rIns="0" bIns="0" rtlCol="0"/>
            <a:lstStyle/>
            <a:p>
              <a:endParaRPr/>
            </a:p>
          </p:txBody>
        </p:sp>
        <p:sp>
          <p:nvSpPr>
            <p:cNvPr id="225" name="object 75">
              <a:extLst>
                <a:ext uri="{FF2B5EF4-FFF2-40B4-BE49-F238E27FC236}">
                  <a16:creationId xmlns:a16="http://schemas.microsoft.com/office/drawing/2014/main" id="{036712D1-4C98-D0C1-BDE2-EC5DFBD20FDD}"/>
                </a:ext>
              </a:extLst>
            </p:cNvPr>
            <p:cNvSpPr/>
            <p:nvPr/>
          </p:nvSpPr>
          <p:spPr>
            <a:xfrm>
              <a:off x="16943362" y="4233171"/>
              <a:ext cx="403860" cy="267970"/>
            </a:xfrm>
            <a:custGeom>
              <a:avLst/>
              <a:gdLst/>
              <a:ahLst/>
              <a:cxnLst/>
              <a:rect l="l" t="t" r="r" b="b"/>
              <a:pathLst>
                <a:path w="403859" h="267970">
                  <a:moveTo>
                    <a:pt x="224902" y="0"/>
                  </a:moveTo>
                  <a:lnTo>
                    <a:pt x="180555" y="1985"/>
                  </a:lnTo>
                  <a:lnTo>
                    <a:pt x="136624" y="14588"/>
                  </a:lnTo>
                  <a:lnTo>
                    <a:pt x="93743" y="39381"/>
                  </a:lnTo>
                  <a:lnTo>
                    <a:pt x="59626" y="72146"/>
                  </a:lnTo>
                  <a:lnTo>
                    <a:pt x="33286" y="110489"/>
                  </a:lnTo>
                  <a:lnTo>
                    <a:pt x="13739" y="152018"/>
                  </a:lnTo>
                  <a:lnTo>
                    <a:pt x="0" y="194342"/>
                  </a:lnTo>
                  <a:lnTo>
                    <a:pt x="278" y="226472"/>
                  </a:lnTo>
                  <a:lnTo>
                    <a:pt x="15911" y="252422"/>
                  </a:lnTo>
                  <a:lnTo>
                    <a:pt x="42164" y="267553"/>
                  </a:lnTo>
                  <a:lnTo>
                    <a:pt x="74301" y="267230"/>
                  </a:lnTo>
                  <a:lnTo>
                    <a:pt x="254829" y="215514"/>
                  </a:lnTo>
                  <a:lnTo>
                    <a:pt x="259701" y="198094"/>
                  </a:lnTo>
                  <a:lnTo>
                    <a:pt x="269774" y="183193"/>
                  </a:lnTo>
                  <a:lnTo>
                    <a:pt x="284311" y="172121"/>
                  </a:lnTo>
                  <a:lnTo>
                    <a:pt x="302577" y="166186"/>
                  </a:lnTo>
                  <a:lnTo>
                    <a:pt x="320281" y="166490"/>
                  </a:lnTo>
                  <a:lnTo>
                    <a:pt x="360900" y="197159"/>
                  </a:lnTo>
                  <a:lnTo>
                    <a:pt x="366437" y="224338"/>
                  </a:lnTo>
                  <a:lnTo>
                    <a:pt x="365297" y="233137"/>
                  </a:lnTo>
                  <a:lnTo>
                    <a:pt x="397757" y="238320"/>
                  </a:lnTo>
                  <a:lnTo>
                    <a:pt x="402816" y="210839"/>
                  </a:lnTo>
                  <a:lnTo>
                    <a:pt x="403788" y="182535"/>
                  </a:lnTo>
                  <a:lnTo>
                    <a:pt x="400425" y="153805"/>
                  </a:lnTo>
                  <a:lnTo>
                    <a:pt x="371939" y="84353"/>
                  </a:lnTo>
                  <a:lnTo>
                    <a:pt x="343185" y="50808"/>
                  </a:lnTo>
                  <a:lnTo>
                    <a:pt x="307943" y="25104"/>
                  </a:lnTo>
                  <a:lnTo>
                    <a:pt x="267941" y="7937"/>
                  </a:lnTo>
                  <a:lnTo>
                    <a:pt x="224902" y="0"/>
                  </a:lnTo>
                  <a:close/>
                </a:path>
              </a:pathLst>
            </a:custGeom>
            <a:solidFill>
              <a:srgbClr val="464563"/>
            </a:solidFill>
          </p:spPr>
          <p:txBody>
            <a:bodyPr wrap="square" lIns="0" tIns="0" rIns="0" bIns="0" rtlCol="0"/>
            <a:lstStyle/>
            <a:p>
              <a:endParaRPr/>
            </a:p>
          </p:txBody>
        </p:sp>
      </p:grpSp>
      <p:sp>
        <p:nvSpPr>
          <p:cNvPr id="12" name="Marcador de pie de página 11">
            <a:extLst>
              <a:ext uri="{FF2B5EF4-FFF2-40B4-BE49-F238E27FC236}">
                <a16:creationId xmlns:a16="http://schemas.microsoft.com/office/drawing/2014/main" id="{1ACC5C5B-5E0C-897F-54C9-1D842CC0A6D9}"/>
              </a:ext>
            </a:extLst>
          </p:cNvPr>
          <p:cNvSpPr>
            <a:spLocks noGrp="1"/>
          </p:cNvSpPr>
          <p:nvPr>
            <p:ph type="ftr" sz="quarter" idx="10"/>
          </p:nvPr>
        </p:nvSpPr>
        <p:spPr>
          <a:xfrm>
            <a:off x="16376651" y="10759212"/>
            <a:ext cx="3233768" cy="238988"/>
          </a:xfrm>
          <a:prstGeom prst="rect">
            <a:avLst/>
          </a:prstGeom>
        </p:spPr>
        <p:txBody>
          <a:bodyPr/>
          <a:lstStyle>
            <a:lvl1pPr>
              <a:defRPr>
                <a:solidFill>
                  <a:schemeClr val="bg1"/>
                </a:solidFill>
              </a:defRPr>
            </a:lvl1pPr>
          </a:lstStyle>
          <a:p>
            <a:pPr marL="26034">
              <a:spcBef>
                <a:spcPts val="30"/>
              </a:spcBef>
            </a:pPr>
            <a:r>
              <a:rPr lang="es-ES" dirty="0"/>
              <a:t>Public © 2023 Sogeti. </a:t>
            </a:r>
            <a:r>
              <a:rPr lang="es-ES" dirty="0" err="1"/>
              <a:t>All</a:t>
            </a:r>
            <a:r>
              <a:rPr lang="es-ES" dirty="0"/>
              <a:t> rights </a:t>
            </a:r>
            <a:r>
              <a:rPr lang="es-ES" dirty="0" err="1"/>
              <a:t>reserved</a:t>
            </a:r>
            <a:endParaRPr lang="es-ES" spc="-10" dirty="0"/>
          </a:p>
        </p:txBody>
      </p:sp>
      <p:sp>
        <p:nvSpPr>
          <p:cNvPr id="3" name="CuadroTexto 2">
            <a:extLst>
              <a:ext uri="{FF2B5EF4-FFF2-40B4-BE49-F238E27FC236}">
                <a16:creationId xmlns:a16="http://schemas.microsoft.com/office/drawing/2014/main" id="{ECF87B06-FEE7-9E0C-A16B-42D52006C092}"/>
              </a:ext>
            </a:extLst>
          </p:cNvPr>
          <p:cNvSpPr txBox="1"/>
          <p:nvPr userDrawn="1"/>
        </p:nvSpPr>
        <p:spPr>
          <a:xfrm>
            <a:off x="755650" y="10845800"/>
            <a:ext cx="7772400" cy="292388"/>
          </a:xfrm>
          <a:prstGeom prst="rect">
            <a:avLst/>
          </a:prstGeom>
          <a:noFill/>
        </p:spPr>
        <p:txBody>
          <a:bodyPr wrap="square" rtlCol="0">
            <a:spAutoFit/>
          </a:bodyPr>
          <a:lstStyle/>
          <a:p>
            <a:r>
              <a:rPr lang="es-ES" sz="1300" b="0" i="0" dirty="0">
                <a:solidFill>
                  <a:schemeClr val="bg1"/>
                </a:solidFill>
                <a:latin typeface="Ubuntu Medium" panose="020B0504030602030204" pitchFamily="34" charset="0"/>
              </a:rPr>
              <a:t>#FlourishingDigitalBusinessWithQuality </a:t>
            </a:r>
            <a:r>
              <a:rPr lang="es-ES" sz="1300" b="1" i="0" dirty="0">
                <a:solidFill>
                  <a:schemeClr val="bg1"/>
                </a:solidFill>
                <a:latin typeface="Ubuntu" panose="020B0504030602030204" pitchFamily="34" charset="0"/>
              </a:rPr>
              <a:t> ·</a:t>
            </a:r>
            <a:r>
              <a:rPr lang="es-ES" sz="1300" b="0" i="0" dirty="0">
                <a:solidFill>
                  <a:schemeClr val="bg1"/>
                </a:solidFill>
                <a:latin typeface="Ubuntu Medium" panose="020B0504030602030204" pitchFamily="34" charset="0"/>
              </a:rPr>
              <a:t>   </a:t>
            </a:r>
            <a:r>
              <a:rPr lang="es-ES" sz="1300" b="0" i="0" dirty="0" err="1">
                <a:solidFill>
                  <a:schemeClr val="bg1"/>
                </a:solidFill>
                <a:latin typeface="Ubuntu Medium" panose="020B0504030602030204" pitchFamily="34" charset="0"/>
              </a:rPr>
              <a:t>by</a:t>
            </a:r>
            <a:r>
              <a:rPr lang="es-ES" sz="1300" b="0" i="0" dirty="0">
                <a:solidFill>
                  <a:schemeClr val="bg1"/>
                </a:solidFill>
                <a:latin typeface="Ubuntu Medium" panose="020B0504030602030204" pitchFamily="34" charset="0"/>
              </a:rPr>
              <a:t> </a:t>
            </a:r>
            <a:r>
              <a:rPr lang="es-ES" sz="1300" b="1" i="0" dirty="0">
                <a:solidFill>
                  <a:schemeClr val="bg1"/>
                </a:solidFill>
                <a:latin typeface="Ubuntu" panose="020B0504030602030204" pitchFamily="34" charset="0"/>
              </a:rPr>
              <a:t>Sogeti España</a:t>
            </a:r>
          </a:p>
        </p:txBody>
      </p:sp>
      <p:sp>
        <p:nvSpPr>
          <p:cNvPr id="4" name="Forma libre 3">
            <a:extLst>
              <a:ext uri="{FF2B5EF4-FFF2-40B4-BE49-F238E27FC236}">
                <a16:creationId xmlns:a16="http://schemas.microsoft.com/office/drawing/2014/main" id="{24D20E41-6C1D-E750-BABB-0E257BE2470C}"/>
              </a:ext>
            </a:extLst>
          </p:cNvPr>
          <p:cNvSpPr/>
          <p:nvPr userDrawn="1"/>
        </p:nvSpPr>
        <p:spPr>
          <a:xfrm flipV="1">
            <a:off x="755650" y="10384024"/>
            <a:ext cx="2362200" cy="385576"/>
          </a:xfrm>
          <a:custGeom>
            <a:avLst/>
            <a:gdLst/>
            <a:ahLst/>
            <a:cxnLst/>
            <a:rect l="l" t="t" r="r" b="b"/>
            <a:pathLst>
              <a:path w="4876802" h="796029">
                <a:moveTo>
                  <a:pt x="2572782" y="405299"/>
                </a:moveTo>
                <a:cubicBezTo>
                  <a:pt x="2589609" y="405299"/>
                  <a:pt x="2601809" y="398820"/>
                  <a:pt x="2609382" y="385863"/>
                </a:cubicBezTo>
                <a:cubicBezTo>
                  <a:pt x="2616954" y="372906"/>
                  <a:pt x="2620740" y="355826"/>
                  <a:pt x="2620740" y="334623"/>
                </a:cubicBezTo>
                <a:cubicBezTo>
                  <a:pt x="2620740" y="313420"/>
                  <a:pt x="2616618" y="296256"/>
                  <a:pt x="2608372" y="283131"/>
                </a:cubicBezTo>
                <a:cubicBezTo>
                  <a:pt x="2600126" y="270006"/>
                  <a:pt x="2587927" y="263443"/>
                  <a:pt x="2571772" y="263443"/>
                </a:cubicBezTo>
                <a:cubicBezTo>
                  <a:pt x="2554945" y="263443"/>
                  <a:pt x="2542744" y="270006"/>
                  <a:pt x="2535172" y="283131"/>
                </a:cubicBezTo>
                <a:cubicBezTo>
                  <a:pt x="2527600" y="296256"/>
                  <a:pt x="2523814" y="313420"/>
                  <a:pt x="2523814" y="334623"/>
                </a:cubicBezTo>
                <a:cubicBezTo>
                  <a:pt x="2523814" y="355826"/>
                  <a:pt x="2527937" y="372906"/>
                  <a:pt x="2536182" y="385863"/>
                </a:cubicBezTo>
                <a:cubicBezTo>
                  <a:pt x="2544428" y="398820"/>
                  <a:pt x="2556628" y="405299"/>
                  <a:pt x="2572782" y="405299"/>
                </a:cubicBezTo>
                <a:close/>
                <a:moveTo>
                  <a:pt x="1810782" y="405299"/>
                </a:moveTo>
                <a:cubicBezTo>
                  <a:pt x="1827610" y="405299"/>
                  <a:pt x="1839810" y="398820"/>
                  <a:pt x="1847382" y="385863"/>
                </a:cubicBezTo>
                <a:cubicBezTo>
                  <a:pt x="1854954" y="372906"/>
                  <a:pt x="1858740" y="355826"/>
                  <a:pt x="1858740" y="334623"/>
                </a:cubicBezTo>
                <a:cubicBezTo>
                  <a:pt x="1858740" y="313420"/>
                  <a:pt x="1854618" y="296256"/>
                  <a:pt x="1846372" y="283131"/>
                </a:cubicBezTo>
                <a:cubicBezTo>
                  <a:pt x="1838127" y="270006"/>
                  <a:pt x="1825927" y="263443"/>
                  <a:pt x="1809772" y="263443"/>
                </a:cubicBezTo>
                <a:cubicBezTo>
                  <a:pt x="1792945" y="263443"/>
                  <a:pt x="1780745" y="270006"/>
                  <a:pt x="1773173" y="283131"/>
                </a:cubicBezTo>
                <a:cubicBezTo>
                  <a:pt x="1765600" y="296256"/>
                  <a:pt x="1761814" y="313420"/>
                  <a:pt x="1761814" y="334623"/>
                </a:cubicBezTo>
                <a:cubicBezTo>
                  <a:pt x="1761814" y="355826"/>
                  <a:pt x="1765937" y="372906"/>
                  <a:pt x="1774182" y="385863"/>
                </a:cubicBezTo>
                <a:cubicBezTo>
                  <a:pt x="1782428" y="398820"/>
                  <a:pt x="1794628" y="405299"/>
                  <a:pt x="1810782" y="405299"/>
                </a:cubicBezTo>
                <a:close/>
                <a:moveTo>
                  <a:pt x="810657" y="405299"/>
                </a:moveTo>
                <a:cubicBezTo>
                  <a:pt x="827485" y="405299"/>
                  <a:pt x="839684" y="398820"/>
                  <a:pt x="847257" y="385863"/>
                </a:cubicBezTo>
                <a:cubicBezTo>
                  <a:pt x="854829" y="372906"/>
                  <a:pt x="858615" y="355826"/>
                  <a:pt x="858616" y="334623"/>
                </a:cubicBezTo>
                <a:cubicBezTo>
                  <a:pt x="858615" y="313420"/>
                  <a:pt x="854493" y="296256"/>
                  <a:pt x="846247" y="283131"/>
                </a:cubicBezTo>
                <a:cubicBezTo>
                  <a:pt x="838002" y="270006"/>
                  <a:pt x="825802" y="263443"/>
                  <a:pt x="809647" y="263443"/>
                </a:cubicBezTo>
                <a:cubicBezTo>
                  <a:pt x="792820" y="263443"/>
                  <a:pt x="780620" y="270006"/>
                  <a:pt x="773048" y="283131"/>
                </a:cubicBezTo>
                <a:cubicBezTo>
                  <a:pt x="765475" y="296256"/>
                  <a:pt x="761689" y="313420"/>
                  <a:pt x="761689" y="334623"/>
                </a:cubicBezTo>
                <a:cubicBezTo>
                  <a:pt x="761689" y="355826"/>
                  <a:pt x="765812" y="372906"/>
                  <a:pt x="774057" y="385863"/>
                </a:cubicBezTo>
                <a:cubicBezTo>
                  <a:pt x="782303" y="398820"/>
                  <a:pt x="794503" y="405299"/>
                  <a:pt x="810657" y="405299"/>
                </a:cubicBezTo>
                <a:close/>
                <a:moveTo>
                  <a:pt x="3325256" y="411861"/>
                </a:moveTo>
                <a:cubicBezTo>
                  <a:pt x="3316506" y="411861"/>
                  <a:pt x="3309608" y="408496"/>
                  <a:pt x="3304560" y="401765"/>
                </a:cubicBezTo>
                <a:cubicBezTo>
                  <a:pt x="3299512" y="395034"/>
                  <a:pt x="3296988" y="387125"/>
                  <a:pt x="3296988" y="378038"/>
                </a:cubicBezTo>
                <a:cubicBezTo>
                  <a:pt x="3296988" y="368951"/>
                  <a:pt x="3299512" y="361126"/>
                  <a:pt x="3304560" y="354564"/>
                </a:cubicBezTo>
                <a:cubicBezTo>
                  <a:pt x="3309608" y="348001"/>
                  <a:pt x="3316506" y="344720"/>
                  <a:pt x="3325256" y="344720"/>
                </a:cubicBezTo>
                <a:cubicBezTo>
                  <a:pt x="3333334" y="344720"/>
                  <a:pt x="3339980" y="348001"/>
                  <a:pt x="3345198" y="354564"/>
                </a:cubicBezTo>
                <a:cubicBezTo>
                  <a:pt x="3350414" y="361126"/>
                  <a:pt x="3353022" y="368951"/>
                  <a:pt x="3353022" y="378038"/>
                </a:cubicBezTo>
                <a:cubicBezTo>
                  <a:pt x="3353022" y="387125"/>
                  <a:pt x="3350414" y="395034"/>
                  <a:pt x="3345198" y="401765"/>
                </a:cubicBezTo>
                <a:cubicBezTo>
                  <a:pt x="3339980" y="408496"/>
                  <a:pt x="3333334" y="411861"/>
                  <a:pt x="3325256" y="411861"/>
                </a:cubicBezTo>
                <a:close/>
                <a:moveTo>
                  <a:pt x="2207070" y="453257"/>
                </a:moveTo>
                <a:lnTo>
                  <a:pt x="2207070" y="401765"/>
                </a:lnTo>
                <a:lnTo>
                  <a:pt x="2272697" y="401765"/>
                </a:lnTo>
                <a:lnTo>
                  <a:pt x="2272697" y="314430"/>
                </a:lnTo>
                <a:cubicBezTo>
                  <a:pt x="2272697" y="297939"/>
                  <a:pt x="2274043" y="283299"/>
                  <a:pt x="2276735" y="270510"/>
                </a:cubicBezTo>
                <a:cubicBezTo>
                  <a:pt x="2279428" y="257721"/>
                  <a:pt x="2284055" y="246868"/>
                  <a:pt x="2290618" y="237949"/>
                </a:cubicBezTo>
                <a:cubicBezTo>
                  <a:pt x="2297181" y="229031"/>
                  <a:pt x="2305931" y="222215"/>
                  <a:pt x="2316869" y="217504"/>
                </a:cubicBezTo>
                <a:cubicBezTo>
                  <a:pt x="2327807" y="212792"/>
                  <a:pt x="2341353" y="210436"/>
                  <a:pt x="2357508" y="210436"/>
                </a:cubicBezTo>
                <a:cubicBezTo>
                  <a:pt x="2366931" y="210436"/>
                  <a:pt x="2377280" y="211530"/>
                  <a:pt x="2388554" y="213718"/>
                </a:cubicBezTo>
                <a:cubicBezTo>
                  <a:pt x="2399829" y="215905"/>
                  <a:pt x="2411860" y="220028"/>
                  <a:pt x="2424649" y="226086"/>
                </a:cubicBezTo>
                <a:lnTo>
                  <a:pt x="2416572" y="276063"/>
                </a:lnTo>
                <a:cubicBezTo>
                  <a:pt x="2406475" y="271352"/>
                  <a:pt x="2397388" y="268239"/>
                  <a:pt x="2389312" y="266724"/>
                </a:cubicBezTo>
                <a:cubicBezTo>
                  <a:pt x="2381234" y="265210"/>
                  <a:pt x="2374335" y="264452"/>
                  <a:pt x="2368614" y="264452"/>
                </a:cubicBezTo>
                <a:cubicBezTo>
                  <a:pt x="2356498" y="264452"/>
                  <a:pt x="2347832" y="267902"/>
                  <a:pt x="2342615" y="274801"/>
                </a:cubicBezTo>
                <a:cubicBezTo>
                  <a:pt x="2337398" y="281701"/>
                  <a:pt x="2334790" y="292218"/>
                  <a:pt x="2334790" y="306353"/>
                </a:cubicBezTo>
                <a:lnTo>
                  <a:pt x="2334790" y="453257"/>
                </a:lnTo>
                <a:close/>
                <a:moveTo>
                  <a:pt x="1088092" y="457800"/>
                </a:moveTo>
                <a:cubicBezTo>
                  <a:pt x="1064870" y="457800"/>
                  <a:pt x="1044593" y="455949"/>
                  <a:pt x="1027260" y="452247"/>
                </a:cubicBezTo>
                <a:cubicBezTo>
                  <a:pt x="1009928" y="448545"/>
                  <a:pt x="993016" y="443665"/>
                  <a:pt x="976526" y="437607"/>
                </a:cubicBezTo>
                <a:lnTo>
                  <a:pt x="976526" y="215989"/>
                </a:lnTo>
                <a:lnTo>
                  <a:pt x="1039124" y="215989"/>
                </a:lnTo>
                <a:lnTo>
                  <a:pt x="1039124" y="392173"/>
                </a:lnTo>
                <a:cubicBezTo>
                  <a:pt x="1047874" y="394529"/>
                  <a:pt x="1056456" y="396128"/>
                  <a:pt x="1064870" y="396969"/>
                </a:cubicBezTo>
                <a:cubicBezTo>
                  <a:pt x="1073284" y="397810"/>
                  <a:pt x="1081866" y="398231"/>
                  <a:pt x="1090616" y="398231"/>
                </a:cubicBezTo>
                <a:cubicBezTo>
                  <a:pt x="1094318" y="398231"/>
                  <a:pt x="1098861" y="398063"/>
                  <a:pt x="1104246" y="397726"/>
                </a:cubicBezTo>
                <a:cubicBezTo>
                  <a:pt x="1109631" y="397390"/>
                  <a:pt x="1115184" y="396801"/>
                  <a:pt x="1120905" y="395959"/>
                </a:cubicBezTo>
                <a:cubicBezTo>
                  <a:pt x="1126627" y="395118"/>
                  <a:pt x="1132264" y="394192"/>
                  <a:pt x="1137817" y="393183"/>
                </a:cubicBezTo>
                <a:cubicBezTo>
                  <a:pt x="1143370" y="392173"/>
                  <a:pt x="1148166" y="391164"/>
                  <a:pt x="1152205" y="390154"/>
                </a:cubicBezTo>
                <a:lnTo>
                  <a:pt x="1163311" y="447704"/>
                </a:lnTo>
                <a:cubicBezTo>
                  <a:pt x="1157589" y="449723"/>
                  <a:pt x="1151111" y="451322"/>
                  <a:pt x="1143875" y="452500"/>
                </a:cubicBezTo>
                <a:cubicBezTo>
                  <a:pt x="1136639" y="453678"/>
                  <a:pt x="1129487" y="454687"/>
                  <a:pt x="1122420" y="455529"/>
                </a:cubicBezTo>
                <a:cubicBezTo>
                  <a:pt x="1115352" y="456370"/>
                  <a:pt x="1108706" y="456959"/>
                  <a:pt x="1102479" y="457296"/>
                </a:cubicBezTo>
                <a:cubicBezTo>
                  <a:pt x="1096253" y="457632"/>
                  <a:pt x="1091457" y="457800"/>
                  <a:pt x="1088092" y="457800"/>
                </a:cubicBezTo>
                <a:close/>
                <a:moveTo>
                  <a:pt x="2572782" y="459315"/>
                </a:moveTo>
                <a:cubicBezTo>
                  <a:pt x="2556628" y="459315"/>
                  <a:pt x="2541651" y="456370"/>
                  <a:pt x="2527852" y="450480"/>
                </a:cubicBezTo>
                <a:cubicBezTo>
                  <a:pt x="2514054" y="444591"/>
                  <a:pt x="2502190" y="436177"/>
                  <a:pt x="2492262" y="425239"/>
                </a:cubicBezTo>
                <a:cubicBezTo>
                  <a:pt x="2482334" y="414301"/>
                  <a:pt x="2474594" y="401176"/>
                  <a:pt x="2469040" y="385863"/>
                </a:cubicBezTo>
                <a:cubicBezTo>
                  <a:pt x="2463487" y="370550"/>
                  <a:pt x="2460711" y="353638"/>
                  <a:pt x="2460711" y="335128"/>
                </a:cubicBezTo>
                <a:cubicBezTo>
                  <a:pt x="2460711" y="316281"/>
                  <a:pt x="2463403" y="299201"/>
                  <a:pt x="2468788" y="283888"/>
                </a:cubicBezTo>
                <a:cubicBezTo>
                  <a:pt x="2474173" y="268575"/>
                  <a:pt x="2481829" y="255366"/>
                  <a:pt x="2491758" y="244259"/>
                </a:cubicBezTo>
                <a:cubicBezTo>
                  <a:pt x="2501686" y="233153"/>
                  <a:pt x="2513465" y="224571"/>
                  <a:pt x="2527095" y="218513"/>
                </a:cubicBezTo>
                <a:cubicBezTo>
                  <a:pt x="2540726" y="212455"/>
                  <a:pt x="2555954" y="209427"/>
                  <a:pt x="2572782" y="209427"/>
                </a:cubicBezTo>
                <a:cubicBezTo>
                  <a:pt x="2589609" y="209427"/>
                  <a:pt x="2604838" y="212455"/>
                  <a:pt x="2618468" y="218513"/>
                </a:cubicBezTo>
                <a:cubicBezTo>
                  <a:pt x="2632098" y="224571"/>
                  <a:pt x="2643794" y="233153"/>
                  <a:pt x="2653554" y="244259"/>
                </a:cubicBezTo>
                <a:cubicBezTo>
                  <a:pt x="2663314" y="255366"/>
                  <a:pt x="2670886" y="268575"/>
                  <a:pt x="2676271" y="283888"/>
                </a:cubicBezTo>
                <a:cubicBezTo>
                  <a:pt x="2681656" y="299201"/>
                  <a:pt x="2684348" y="316281"/>
                  <a:pt x="2684348" y="335128"/>
                </a:cubicBezTo>
                <a:cubicBezTo>
                  <a:pt x="2684348" y="353638"/>
                  <a:pt x="2681656" y="370550"/>
                  <a:pt x="2676271" y="385863"/>
                </a:cubicBezTo>
                <a:cubicBezTo>
                  <a:pt x="2670886" y="401176"/>
                  <a:pt x="2663230" y="414301"/>
                  <a:pt x="2653302" y="425239"/>
                </a:cubicBezTo>
                <a:cubicBezTo>
                  <a:pt x="2643373" y="436177"/>
                  <a:pt x="2631594" y="444591"/>
                  <a:pt x="2617964" y="450480"/>
                </a:cubicBezTo>
                <a:cubicBezTo>
                  <a:pt x="2604334" y="456370"/>
                  <a:pt x="2589273" y="459315"/>
                  <a:pt x="2572782" y="459315"/>
                </a:cubicBezTo>
                <a:close/>
                <a:moveTo>
                  <a:pt x="1810782" y="459315"/>
                </a:moveTo>
                <a:cubicBezTo>
                  <a:pt x="1794628" y="459315"/>
                  <a:pt x="1779651" y="456370"/>
                  <a:pt x="1765853" y="450480"/>
                </a:cubicBezTo>
                <a:cubicBezTo>
                  <a:pt x="1752054" y="444591"/>
                  <a:pt x="1740191" y="436177"/>
                  <a:pt x="1730262" y="425239"/>
                </a:cubicBezTo>
                <a:cubicBezTo>
                  <a:pt x="1720334" y="414301"/>
                  <a:pt x="1712594" y="401176"/>
                  <a:pt x="1707040" y="385863"/>
                </a:cubicBezTo>
                <a:cubicBezTo>
                  <a:pt x="1701488" y="370550"/>
                  <a:pt x="1698711" y="353638"/>
                  <a:pt x="1698711" y="335128"/>
                </a:cubicBezTo>
                <a:cubicBezTo>
                  <a:pt x="1698711" y="316281"/>
                  <a:pt x="1701403" y="299201"/>
                  <a:pt x="1706788" y="283888"/>
                </a:cubicBezTo>
                <a:cubicBezTo>
                  <a:pt x="1712173" y="268575"/>
                  <a:pt x="1719829" y="255366"/>
                  <a:pt x="1729758" y="244259"/>
                </a:cubicBezTo>
                <a:cubicBezTo>
                  <a:pt x="1739686" y="233153"/>
                  <a:pt x="1751465" y="224571"/>
                  <a:pt x="1765095" y="218513"/>
                </a:cubicBezTo>
                <a:cubicBezTo>
                  <a:pt x="1778726" y="212455"/>
                  <a:pt x="1793954" y="209427"/>
                  <a:pt x="1810782" y="209427"/>
                </a:cubicBezTo>
                <a:cubicBezTo>
                  <a:pt x="1827610" y="209427"/>
                  <a:pt x="1842838" y="212455"/>
                  <a:pt x="1856469" y="218513"/>
                </a:cubicBezTo>
                <a:cubicBezTo>
                  <a:pt x="1870099" y="224571"/>
                  <a:pt x="1881794" y="233153"/>
                  <a:pt x="1891554" y="244259"/>
                </a:cubicBezTo>
                <a:cubicBezTo>
                  <a:pt x="1901314" y="255366"/>
                  <a:pt x="1908886" y="268575"/>
                  <a:pt x="1914271" y="283888"/>
                </a:cubicBezTo>
                <a:cubicBezTo>
                  <a:pt x="1919656" y="299201"/>
                  <a:pt x="1922348" y="316281"/>
                  <a:pt x="1922348" y="335128"/>
                </a:cubicBezTo>
                <a:cubicBezTo>
                  <a:pt x="1922348" y="353638"/>
                  <a:pt x="1919656" y="370550"/>
                  <a:pt x="1914271" y="385863"/>
                </a:cubicBezTo>
                <a:cubicBezTo>
                  <a:pt x="1908886" y="401176"/>
                  <a:pt x="1901230" y="414301"/>
                  <a:pt x="1891302" y="425239"/>
                </a:cubicBezTo>
                <a:cubicBezTo>
                  <a:pt x="1881374" y="436177"/>
                  <a:pt x="1869594" y="444591"/>
                  <a:pt x="1855964" y="450480"/>
                </a:cubicBezTo>
                <a:cubicBezTo>
                  <a:pt x="1842334" y="456370"/>
                  <a:pt x="1827273" y="459315"/>
                  <a:pt x="1810782" y="459315"/>
                </a:cubicBezTo>
                <a:close/>
                <a:moveTo>
                  <a:pt x="810657" y="459315"/>
                </a:moveTo>
                <a:cubicBezTo>
                  <a:pt x="794503" y="459315"/>
                  <a:pt x="779526" y="456370"/>
                  <a:pt x="765728" y="450480"/>
                </a:cubicBezTo>
                <a:cubicBezTo>
                  <a:pt x="751929" y="444591"/>
                  <a:pt x="740066" y="436177"/>
                  <a:pt x="730138" y="425239"/>
                </a:cubicBezTo>
                <a:cubicBezTo>
                  <a:pt x="720209" y="414301"/>
                  <a:pt x="712469" y="401176"/>
                  <a:pt x="706916" y="385863"/>
                </a:cubicBezTo>
                <a:cubicBezTo>
                  <a:pt x="701362" y="370550"/>
                  <a:pt x="698586" y="353638"/>
                  <a:pt x="698586" y="335128"/>
                </a:cubicBezTo>
                <a:cubicBezTo>
                  <a:pt x="698586" y="316281"/>
                  <a:pt x="701278" y="299201"/>
                  <a:pt x="706663" y="283888"/>
                </a:cubicBezTo>
                <a:cubicBezTo>
                  <a:pt x="712048" y="268575"/>
                  <a:pt x="719704" y="255366"/>
                  <a:pt x="729633" y="244259"/>
                </a:cubicBezTo>
                <a:cubicBezTo>
                  <a:pt x="739561" y="233153"/>
                  <a:pt x="751340" y="224571"/>
                  <a:pt x="764970" y="218513"/>
                </a:cubicBezTo>
                <a:cubicBezTo>
                  <a:pt x="778601" y="212455"/>
                  <a:pt x="793830" y="209427"/>
                  <a:pt x="810657" y="209427"/>
                </a:cubicBezTo>
                <a:cubicBezTo>
                  <a:pt x="827485" y="209427"/>
                  <a:pt x="842713" y="212455"/>
                  <a:pt x="856344" y="218513"/>
                </a:cubicBezTo>
                <a:cubicBezTo>
                  <a:pt x="869974" y="224571"/>
                  <a:pt x="881669" y="233153"/>
                  <a:pt x="891429" y="244259"/>
                </a:cubicBezTo>
                <a:cubicBezTo>
                  <a:pt x="901189" y="255366"/>
                  <a:pt x="908761" y="268575"/>
                  <a:pt x="914146" y="283888"/>
                </a:cubicBezTo>
                <a:cubicBezTo>
                  <a:pt x="919531" y="299201"/>
                  <a:pt x="922223" y="316281"/>
                  <a:pt x="922223" y="335128"/>
                </a:cubicBezTo>
                <a:cubicBezTo>
                  <a:pt x="922223" y="353638"/>
                  <a:pt x="919531" y="370550"/>
                  <a:pt x="914146" y="385863"/>
                </a:cubicBezTo>
                <a:cubicBezTo>
                  <a:pt x="908761" y="401176"/>
                  <a:pt x="901105" y="414301"/>
                  <a:pt x="891177" y="425239"/>
                </a:cubicBezTo>
                <a:cubicBezTo>
                  <a:pt x="881248" y="436177"/>
                  <a:pt x="869469" y="444591"/>
                  <a:pt x="855839" y="450480"/>
                </a:cubicBezTo>
                <a:cubicBezTo>
                  <a:pt x="842209" y="456370"/>
                  <a:pt x="827148" y="459315"/>
                  <a:pt x="810657" y="459315"/>
                </a:cubicBezTo>
                <a:close/>
                <a:moveTo>
                  <a:pt x="546919" y="477993"/>
                </a:moveTo>
                <a:cubicBezTo>
                  <a:pt x="563410" y="477993"/>
                  <a:pt x="576620" y="474207"/>
                  <a:pt x="586548" y="466635"/>
                </a:cubicBezTo>
                <a:cubicBezTo>
                  <a:pt x="596476" y="459062"/>
                  <a:pt x="601441" y="446189"/>
                  <a:pt x="601441" y="428016"/>
                </a:cubicBezTo>
                <a:cubicBezTo>
                  <a:pt x="601441" y="408832"/>
                  <a:pt x="596392" y="395286"/>
                  <a:pt x="586296" y="387377"/>
                </a:cubicBezTo>
                <a:cubicBezTo>
                  <a:pt x="576199" y="379468"/>
                  <a:pt x="561223" y="375514"/>
                  <a:pt x="541366" y="375514"/>
                </a:cubicBezTo>
                <a:lnTo>
                  <a:pt x="516125" y="375514"/>
                </a:lnTo>
                <a:lnTo>
                  <a:pt x="516125" y="476479"/>
                </a:lnTo>
                <a:cubicBezTo>
                  <a:pt x="519827" y="477152"/>
                  <a:pt x="524960" y="477573"/>
                  <a:pt x="531522" y="477741"/>
                </a:cubicBezTo>
                <a:cubicBezTo>
                  <a:pt x="538085" y="477909"/>
                  <a:pt x="543217" y="477993"/>
                  <a:pt x="546919" y="477993"/>
                </a:cubicBezTo>
                <a:close/>
                <a:moveTo>
                  <a:pt x="3324752" y="482537"/>
                </a:moveTo>
                <a:cubicBezTo>
                  <a:pt x="3341916" y="482537"/>
                  <a:pt x="3354958" y="473198"/>
                  <a:pt x="3363876" y="454519"/>
                </a:cubicBezTo>
                <a:cubicBezTo>
                  <a:pt x="3372794" y="435841"/>
                  <a:pt x="3377254" y="408664"/>
                  <a:pt x="3377254" y="372990"/>
                </a:cubicBezTo>
                <a:cubicBezTo>
                  <a:pt x="3377254" y="336979"/>
                  <a:pt x="3372794" y="309634"/>
                  <a:pt x="3363876" y="290956"/>
                </a:cubicBezTo>
                <a:cubicBezTo>
                  <a:pt x="3354958" y="272277"/>
                  <a:pt x="3341916" y="262938"/>
                  <a:pt x="3324752" y="262938"/>
                </a:cubicBezTo>
                <a:cubicBezTo>
                  <a:pt x="3307924" y="262938"/>
                  <a:pt x="3294968" y="272277"/>
                  <a:pt x="3285880" y="290956"/>
                </a:cubicBezTo>
                <a:cubicBezTo>
                  <a:pt x="3276794" y="309634"/>
                  <a:pt x="3272250" y="336979"/>
                  <a:pt x="3272250" y="372990"/>
                </a:cubicBezTo>
                <a:cubicBezTo>
                  <a:pt x="3272250" y="408664"/>
                  <a:pt x="3276794" y="435841"/>
                  <a:pt x="3285880" y="454519"/>
                </a:cubicBezTo>
                <a:cubicBezTo>
                  <a:pt x="3294968" y="473198"/>
                  <a:pt x="3307924" y="482537"/>
                  <a:pt x="3324752" y="482537"/>
                </a:cubicBezTo>
                <a:close/>
                <a:moveTo>
                  <a:pt x="1323054" y="522923"/>
                </a:moveTo>
                <a:lnTo>
                  <a:pt x="1260961" y="512826"/>
                </a:lnTo>
                <a:lnTo>
                  <a:pt x="1260961" y="453257"/>
                </a:lnTo>
                <a:lnTo>
                  <a:pt x="1206945" y="453257"/>
                </a:lnTo>
                <a:lnTo>
                  <a:pt x="1206945" y="401765"/>
                </a:lnTo>
                <a:lnTo>
                  <a:pt x="1260961" y="401765"/>
                </a:lnTo>
                <a:lnTo>
                  <a:pt x="1260961" y="304334"/>
                </a:lnTo>
                <a:cubicBezTo>
                  <a:pt x="1260961" y="284477"/>
                  <a:pt x="1262980" y="268407"/>
                  <a:pt x="1267019" y="256123"/>
                </a:cubicBezTo>
                <a:cubicBezTo>
                  <a:pt x="1271057" y="243839"/>
                  <a:pt x="1276947" y="234331"/>
                  <a:pt x="1284688" y="227600"/>
                </a:cubicBezTo>
                <a:cubicBezTo>
                  <a:pt x="1292428" y="220869"/>
                  <a:pt x="1301852" y="216326"/>
                  <a:pt x="1312958" y="213970"/>
                </a:cubicBezTo>
                <a:cubicBezTo>
                  <a:pt x="1324064" y="211614"/>
                  <a:pt x="1336853" y="210436"/>
                  <a:pt x="1351325" y="210436"/>
                </a:cubicBezTo>
                <a:cubicBezTo>
                  <a:pt x="1363777" y="210436"/>
                  <a:pt x="1376650" y="211446"/>
                  <a:pt x="1389944" y="213465"/>
                </a:cubicBezTo>
                <a:cubicBezTo>
                  <a:pt x="1403238" y="215484"/>
                  <a:pt x="1415606" y="218850"/>
                  <a:pt x="1427048" y="223562"/>
                </a:cubicBezTo>
                <a:lnTo>
                  <a:pt x="1418466" y="277073"/>
                </a:lnTo>
                <a:cubicBezTo>
                  <a:pt x="1412745" y="274381"/>
                  <a:pt x="1407444" y="272193"/>
                  <a:pt x="1402564" y="270510"/>
                </a:cubicBezTo>
                <a:cubicBezTo>
                  <a:pt x="1397684" y="268828"/>
                  <a:pt x="1392973" y="267566"/>
                  <a:pt x="1388429" y="266724"/>
                </a:cubicBezTo>
                <a:cubicBezTo>
                  <a:pt x="1383886" y="265883"/>
                  <a:pt x="1379174" y="265294"/>
                  <a:pt x="1374294" y="264957"/>
                </a:cubicBezTo>
                <a:cubicBezTo>
                  <a:pt x="1369414" y="264621"/>
                  <a:pt x="1364114" y="264452"/>
                  <a:pt x="1358392" y="264452"/>
                </a:cubicBezTo>
                <a:cubicBezTo>
                  <a:pt x="1353007" y="264452"/>
                  <a:pt x="1348127" y="264957"/>
                  <a:pt x="1343752" y="265967"/>
                </a:cubicBezTo>
                <a:cubicBezTo>
                  <a:pt x="1339377" y="266977"/>
                  <a:pt x="1335675" y="268996"/>
                  <a:pt x="1332646" y="272025"/>
                </a:cubicBezTo>
                <a:cubicBezTo>
                  <a:pt x="1329617" y="275054"/>
                  <a:pt x="1327261" y="279261"/>
                  <a:pt x="1325579" y="284645"/>
                </a:cubicBezTo>
                <a:cubicBezTo>
                  <a:pt x="1323896" y="290030"/>
                  <a:pt x="1323054" y="297098"/>
                  <a:pt x="1323054" y="305848"/>
                </a:cubicBezTo>
                <a:lnTo>
                  <a:pt x="1323054" y="401765"/>
                </a:lnTo>
                <a:lnTo>
                  <a:pt x="1422505" y="401765"/>
                </a:lnTo>
                <a:lnTo>
                  <a:pt x="1422505" y="453257"/>
                </a:lnTo>
                <a:lnTo>
                  <a:pt x="1323054" y="453257"/>
                </a:lnTo>
                <a:close/>
                <a:moveTo>
                  <a:pt x="539852" y="532010"/>
                </a:moveTo>
                <a:cubicBezTo>
                  <a:pt x="534131" y="532010"/>
                  <a:pt x="527568" y="531841"/>
                  <a:pt x="520164" y="531505"/>
                </a:cubicBezTo>
                <a:cubicBezTo>
                  <a:pt x="512760" y="531168"/>
                  <a:pt x="505187" y="530748"/>
                  <a:pt x="497447" y="530243"/>
                </a:cubicBezTo>
                <a:cubicBezTo>
                  <a:pt x="489706" y="529738"/>
                  <a:pt x="482049" y="528981"/>
                  <a:pt x="474477" y="527971"/>
                </a:cubicBezTo>
                <a:cubicBezTo>
                  <a:pt x="466905" y="526961"/>
                  <a:pt x="460090" y="525784"/>
                  <a:pt x="454032" y="524437"/>
                </a:cubicBezTo>
                <a:lnTo>
                  <a:pt x="454032" y="215989"/>
                </a:lnTo>
                <a:lnTo>
                  <a:pt x="516125" y="215989"/>
                </a:lnTo>
                <a:lnTo>
                  <a:pt x="516125" y="321498"/>
                </a:lnTo>
                <a:lnTo>
                  <a:pt x="538337" y="321498"/>
                </a:lnTo>
                <a:cubicBezTo>
                  <a:pt x="578723" y="321498"/>
                  <a:pt x="609938" y="329827"/>
                  <a:pt x="631982" y="346486"/>
                </a:cubicBezTo>
                <a:cubicBezTo>
                  <a:pt x="654026" y="363146"/>
                  <a:pt x="665048" y="390154"/>
                  <a:pt x="665048" y="427511"/>
                </a:cubicBezTo>
                <a:cubicBezTo>
                  <a:pt x="665048" y="464531"/>
                  <a:pt x="654111" y="491203"/>
                  <a:pt x="632235" y="507526"/>
                </a:cubicBezTo>
                <a:cubicBezTo>
                  <a:pt x="610359" y="523848"/>
                  <a:pt x="579565" y="532010"/>
                  <a:pt x="539852" y="532010"/>
                </a:cubicBezTo>
                <a:close/>
                <a:moveTo>
                  <a:pt x="3816452" y="535544"/>
                </a:moveTo>
                <a:cubicBezTo>
                  <a:pt x="3797604" y="535544"/>
                  <a:pt x="3780694" y="532430"/>
                  <a:pt x="3765716" y="526204"/>
                </a:cubicBezTo>
                <a:cubicBezTo>
                  <a:pt x="3750740" y="519978"/>
                  <a:pt x="3738708" y="513836"/>
                  <a:pt x="3729622" y="507778"/>
                </a:cubicBezTo>
                <a:lnTo>
                  <a:pt x="3751834" y="462344"/>
                </a:lnTo>
                <a:cubicBezTo>
                  <a:pt x="3760248" y="468065"/>
                  <a:pt x="3770260" y="472861"/>
                  <a:pt x="3781872" y="476731"/>
                </a:cubicBezTo>
                <a:cubicBezTo>
                  <a:pt x="3793482" y="480602"/>
                  <a:pt x="3805178" y="482537"/>
                  <a:pt x="3816956" y="482537"/>
                </a:cubicBezTo>
                <a:cubicBezTo>
                  <a:pt x="3829072" y="482537"/>
                  <a:pt x="3838580" y="479255"/>
                  <a:pt x="3845480" y="472693"/>
                </a:cubicBezTo>
                <a:cubicBezTo>
                  <a:pt x="3852378" y="466130"/>
                  <a:pt x="3855828" y="457127"/>
                  <a:pt x="3855828" y="445685"/>
                </a:cubicBezTo>
                <a:cubicBezTo>
                  <a:pt x="3855828" y="437944"/>
                  <a:pt x="3854230" y="431550"/>
                  <a:pt x="3851032" y="426501"/>
                </a:cubicBezTo>
                <a:cubicBezTo>
                  <a:pt x="3847836" y="421453"/>
                  <a:pt x="3843712" y="417414"/>
                  <a:pt x="3838664" y="414385"/>
                </a:cubicBezTo>
                <a:cubicBezTo>
                  <a:pt x="3833616" y="411357"/>
                  <a:pt x="3827894" y="409169"/>
                  <a:pt x="3821500" y="407823"/>
                </a:cubicBezTo>
                <a:cubicBezTo>
                  <a:pt x="3815106" y="406477"/>
                  <a:pt x="3808712" y="405803"/>
                  <a:pt x="3802316" y="405803"/>
                </a:cubicBezTo>
                <a:lnTo>
                  <a:pt x="3779094" y="405803"/>
                </a:lnTo>
                <a:lnTo>
                  <a:pt x="3779094" y="354311"/>
                </a:lnTo>
                <a:lnTo>
                  <a:pt x="3798278" y="354311"/>
                </a:lnTo>
                <a:cubicBezTo>
                  <a:pt x="3818470" y="354311"/>
                  <a:pt x="3835130" y="351030"/>
                  <a:pt x="3848256" y="344467"/>
                </a:cubicBezTo>
                <a:cubicBezTo>
                  <a:pt x="3861380" y="337904"/>
                  <a:pt x="3867944" y="326378"/>
                  <a:pt x="3867944" y="309887"/>
                </a:cubicBezTo>
                <a:cubicBezTo>
                  <a:pt x="3867944" y="296425"/>
                  <a:pt x="3863652" y="285150"/>
                  <a:pt x="3855072" y="276063"/>
                </a:cubicBezTo>
                <a:cubicBezTo>
                  <a:pt x="3846488" y="266977"/>
                  <a:pt x="3831596" y="262433"/>
                  <a:pt x="3810394" y="262433"/>
                </a:cubicBezTo>
                <a:cubicBezTo>
                  <a:pt x="3793230" y="262433"/>
                  <a:pt x="3778506" y="264284"/>
                  <a:pt x="3766222" y="267986"/>
                </a:cubicBezTo>
                <a:cubicBezTo>
                  <a:pt x="3753938" y="271688"/>
                  <a:pt x="3743924" y="275222"/>
                  <a:pt x="3736184" y="278588"/>
                </a:cubicBezTo>
                <a:lnTo>
                  <a:pt x="3724068" y="226591"/>
                </a:lnTo>
                <a:cubicBezTo>
                  <a:pt x="3727770" y="224908"/>
                  <a:pt x="3732988" y="223057"/>
                  <a:pt x="3739718" y="221037"/>
                </a:cubicBezTo>
                <a:cubicBezTo>
                  <a:pt x="3746450" y="219018"/>
                  <a:pt x="3753770" y="217167"/>
                  <a:pt x="3761678" y="215484"/>
                </a:cubicBezTo>
                <a:cubicBezTo>
                  <a:pt x="3769588" y="213802"/>
                  <a:pt x="3777832" y="212371"/>
                  <a:pt x="3786414" y="211193"/>
                </a:cubicBezTo>
                <a:cubicBezTo>
                  <a:pt x="3794996" y="210015"/>
                  <a:pt x="3803158" y="209427"/>
                  <a:pt x="3810898" y="209427"/>
                </a:cubicBezTo>
                <a:cubicBezTo>
                  <a:pt x="3831764" y="209427"/>
                  <a:pt x="3849770" y="211867"/>
                  <a:pt x="3864916" y="216746"/>
                </a:cubicBezTo>
                <a:cubicBezTo>
                  <a:pt x="3880060" y="221626"/>
                  <a:pt x="3892512" y="228526"/>
                  <a:pt x="3902272" y="237444"/>
                </a:cubicBezTo>
                <a:cubicBezTo>
                  <a:pt x="3912032" y="246363"/>
                  <a:pt x="3919268" y="256880"/>
                  <a:pt x="3923980" y="268996"/>
                </a:cubicBezTo>
                <a:cubicBezTo>
                  <a:pt x="3928692" y="281112"/>
                  <a:pt x="3931048" y="294405"/>
                  <a:pt x="3931048" y="308877"/>
                </a:cubicBezTo>
                <a:cubicBezTo>
                  <a:pt x="3931048" y="327051"/>
                  <a:pt x="3926588" y="342700"/>
                  <a:pt x="3917668" y="355826"/>
                </a:cubicBezTo>
                <a:cubicBezTo>
                  <a:pt x="3908750" y="368951"/>
                  <a:pt x="3896214" y="378879"/>
                  <a:pt x="3880060" y="385610"/>
                </a:cubicBezTo>
                <a:cubicBezTo>
                  <a:pt x="3891840" y="391668"/>
                  <a:pt x="3901262" y="400419"/>
                  <a:pt x="3908330" y="411861"/>
                </a:cubicBezTo>
                <a:cubicBezTo>
                  <a:pt x="3915398" y="423304"/>
                  <a:pt x="3918932" y="435252"/>
                  <a:pt x="3918932" y="447704"/>
                </a:cubicBezTo>
                <a:cubicBezTo>
                  <a:pt x="3918932" y="460156"/>
                  <a:pt x="3916912" y="471767"/>
                  <a:pt x="3912874" y="482537"/>
                </a:cubicBezTo>
                <a:cubicBezTo>
                  <a:pt x="3908834" y="493306"/>
                  <a:pt x="3902608" y="502646"/>
                  <a:pt x="3894196" y="510555"/>
                </a:cubicBezTo>
                <a:cubicBezTo>
                  <a:pt x="3885780" y="518464"/>
                  <a:pt x="3875096" y="524606"/>
                  <a:pt x="3862138" y="528981"/>
                </a:cubicBezTo>
                <a:cubicBezTo>
                  <a:pt x="3849180" y="533356"/>
                  <a:pt x="3833952" y="535544"/>
                  <a:pt x="3816452" y="535544"/>
                </a:cubicBezTo>
                <a:close/>
                <a:moveTo>
                  <a:pt x="3567354" y="535544"/>
                </a:moveTo>
                <a:cubicBezTo>
                  <a:pt x="3549854" y="535544"/>
                  <a:pt x="3532268" y="532178"/>
                  <a:pt x="3514600" y="525447"/>
                </a:cubicBezTo>
                <a:cubicBezTo>
                  <a:pt x="3496930" y="518716"/>
                  <a:pt x="3481366" y="508283"/>
                  <a:pt x="3467904" y="494148"/>
                </a:cubicBezTo>
                <a:lnTo>
                  <a:pt x="3498698" y="450733"/>
                </a:lnTo>
                <a:cubicBezTo>
                  <a:pt x="3509130" y="461839"/>
                  <a:pt x="3519732" y="469748"/>
                  <a:pt x="3530502" y="474460"/>
                </a:cubicBezTo>
                <a:cubicBezTo>
                  <a:pt x="3541272" y="479171"/>
                  <a:pt x="3551536" y="481527"/>
                  <a:pt x="3561296" y="481527"/>
                </a:cubicBezTo>
                <a:cubicBezTo>
                  <a:pt x="3573076" y="481527"/>
                  <a:pt x="3582836" y="478078"/>
                  <a:pt x="3590576" y="471178"/>
                </a:cubicBezTo>
                <a:cubicBezTo>
                  <a:pt x="3598316" y="464279"/>
                  <a:pt x="3602186" y="454435"/>
                  <a:pt x="3602188" y="441646"/>
                </a:cubicBezTo>
                <a:cubicBezTo>
                  <a:pt x="3602186" y="432559"/>
                  <a:pt x="3599074" y="423641"/>
                  <a:pt x="3592848" y="414890"/>
                </a:cubicBezTo>
                <a:cubicBezTo>
                  <a:pt x="3586622" y="406140"/>
                  <a:pt x="3578712" y="397053"/>
                  <a:pt x="3569120" y="387630"/>
                </a:cubicBezTo>
                <a:cubicBezTo>
                  <a:pt x="3559528" y="378206"/>
                  <a:pt x="3549264" y="368362"/>
                  <a:pt x="3538326" y="358097"/>
                </a:cubicBezTo>
                <a:cubicBezTo>
                  <a:pt x="3527388" y="347833"/>
                  <a:pt x="3517124" y="336727"/>
                  <a:pt x="3507532" y="324779"/>
                </a:cubicBezTo>
                <a:cubicBezTo>
                  <a:pt x="3497940" y="312831"/>
                  <a:pt x="3490032" y="299790"/>
                  <a:pt x="3483806" y="285655"/>
                </a:cubicBezTo>
                <a:cubicBezTo>
                  <a:pt x="3477580" y="271520"/>
                  <a:pt x="3474466" y="256039"/>
                  <a:pt x="3474466" y="239211"/>
                </a:cubicBezTo>
                <a:cubicBezTo>
                  <a:pt x="3474466" y="237192"/>
                  <a:pt x="3474382" y="233658"/>
                  <a:pt x="3474214" y="228610"/>
                </a:cubicBezTo>
                <a:cubicBezTo>
                  <a:pt x="3474046" y="223562"/>
                  <a:pt x="3474466" y="219355"/>
                  <a:pt x="3475476" y="215989"/>
                </a:cubicBezTo>
                <a:lnTo>
                  <a:pt x="3679426" y="215989"/>
                </a:lnTo>
                <a:lnTo>
                  <a:pt x="3679426" y="267481"/>
                </a:lnTo>
                <a:lnTo>
                  <a:pt x="3545142" y="267481"/>
                </a:lnTo>
                <a:cubicBezTo>
                  <a:pt x="3545142" y="272530"/>
                  <a:pt x="3546908" y="278083"/>
                  <a:pt x="3550442" y="284141"/>
                </a:cubicBezTo>
                <a:cubicBezTo>
                  <a:pt x="3553976" y="290198"/>
                  <a:pt x="3558268" y="296172"/>
                  <a:pt x="3563316" y="302062"/>
                </a:cubicBezTo>
                <a:cubicBezTo>
                  <a:pt x="3568364" y="307952"/>
                  <a:pt x="3573748" y="313673"/>
                  <a:pt x="3579470" y="319226"/>
                </a:cubicBezTo>
                <a:cubicBezTo>
                  <a:pt x="3585190" y="324779"/>
                  <a:pt x="3590240" y="329575"/>
                  <a:pt x="3594614" y="333613"/>
                </a:cubicBezTo>
                <a:cubicBezTo>
                  <a:pt x="3603364" y="341691"/>
                  <a:pt x="3611946" y="350104"/>
                  <a:pt x="3620360" y="358855"/>
                </a:cubicBezTo>
                <a:cubicBezTo>
                  <a:pt x="3628774" y="367605"/>
                  <a:pt x="3636346" y="376692"/>
                  <a:pt x="3643078" y="386115"/>
                </a:cubicBezTo>
                <a:cubicBezTo>
                  <a:pt x="3649808" y="395539"/>
                  <a:pt x="3655194" y="405214"/>
                  <a:pt x="3659232" y="415143"/>
                </a:cubicBezTo>
                <a:cubicBezTo>
                  <a:pt x="3663270" y="425071"/>
                  <a:pt x="3665290" y="435420"/>
                  <a:pt x="3665290" y="446189"/>
                </a:cubicBezTo>
                <a:cubicBezTo>
                  <a:pt x="3665290" y="460998"/>
                  <a:pt x="3662598" y="474039"/>
                  <a:pt x="3657212" y="485313"/>
                </a:cubicBezTo>
                <a:cubicBezTo>
                  <a:pt x="3651828" y="496588"/>
                  <a:pt x="3644592" y="505927"/>
                  <a:pt x="3635506" y="513331"/>
                </a:cubicBezTo>
                <a:cubicBezTo>
                  <a:pt x="3626418" y="520735"/>
                  <a:pt x="3615986" y="526288"/>
                  <a:pt x="3604206" y="529990"/>
                </a:cubicBezTo>
                <a:cubicBezTo>
                  <a:pt x="3592426" y="533692"/>
                  <a:pt x="3580142" y="535544"/>
                  <a:pt x="3567354" y="535544"/>
                </a:cubicBezTo>
                <a:close/>
                <a:moveTo>
                  <a:pt x="3324752" y="535544"/>
                </a:moveTo>
                <a:cubicBezTo>
                  <a:pt x="3290088" y="535544"/>
                  <a:pt x="3263332" y="522081"/>
                  <a:pt x="3244486" y="495157"/>
                </a:cubicBezTo>
                <a:cubicBezTo>
                  <a:pt x="3225638" y="468233"/>
                  <a:pt x="3216214" y="427511"/>
                  <a:pt x="3216214" y="372990"/>
                </a:cubicBezTo>
                <a:cubicBezTo>
                  <a:pt x="3216214" y="317796"/>
                  <a:pt x="3225470" y="276737"/>
                  <a:pt x="3243980" y="249813"/>
                </a:cubicBezTo>
                <a:cubicBezTo>
                  <a:pt x="3262490" y="222889"/>
                  <a:pt x="3289414" y="209427"/>
                  <a:pt x="3324752" y="209427"/>
                </a:cubicBezTo>
                <a:cubicBezTo>
                  <a:pt x="3360090" y="209427"/>
                  <a:pt x="3387014" y="222889"/>
                  <a:pt x="3405524" y="249813"/>
                </a:cubicBezTo>
                <a:cubicBezTo>
                  <a:pt x="3424034" y="276737"/>
                  <a:pt x="3433290" y="317796"/>
                  <a:pt x="3433290" y="372990"/>
                </a:cubicBezTo>
                <a:cubicBezTo>
                  <a:pt x="3433290" y="427847"/>
                  <a:pt x="3424034" y="468654"/>
                  <a:pt x="3405524" y="495410"/>
                </a:cubicBezTo>
                <a:cubicBezTo>
                  <a:pt x="3387014" y="522166"/>
                  <a:pt x="3360090" y="535544"/>
                  <a:pt x="3324752" y="535544"/>
                </a:cubicBezTo>
                <a:close/>
                <a:moveTo>
                  <a:pt x="3062528" y="535544"/>
                </a:moveTo>
                <a:cubicBezTo>
                  <a:pt x="3045028" y="535544"/>
                  <a:pt x="3027444" y="532178"/>
                  <a:pt x="3009774" y="525447"/>
                </a:cubicBezTo>
                <a:cubicBezTo>
                  <a:pt x="2992106" y="518716"/>
                  <a:pt x="2976540" y="508283"/>
                  <a:pt x="2963078" y="494148"/>
                </a:cubicBezTo>
                <a:lnTo>
                  <a:pt x="2993872" y="450733"/>
                </a:lnTo>
                <a:cubicBezTo>
                  <a:pt x="3004306" y="461839"/>
                  <a:pt x="3014908" y="469748"/>
                  <a:pt x="3025676" y="474460"/>
                </a:cubicBezTo>
                <a:cubicBezTo>
                  <a:pt x="3036446" y="479171"/>
                  <a:pt x="3046712" y="481527"/>
                  <a:pt x="3056472" y="481527"/>
                </a:cubicBezTo>
                <a:cubicBezTo>
                  <a:pt x="3068250" y="481527"/>
                  <a:pt x="3078010" y="478078"/>
                  <a:pt x="3085752" y="471178"/>
                </a:cubicBezTo>
                <a:cubicBezTo>
                  <a:pt x="3093492" y="464279"/>
                  <a:pt x="3097362" y="454435"/>
                  <a:pt x="3097362" y="441646"/>
                </a:cubicBezTo>
                <a:cubicBezTo>
                  <a:pt x="3097362" y="432559"/>
                  <a:pt x="3094248" y="423641"/>
                  <a:pt x="3088022" y="414890"/>
                </a:cubicBezTo>
                <a:cubicBezTo>
                  <a:pt x="3081796" y="406140"/>
                  <a:pt x="3073888" y="397053"/>
                  <a:pt x="3064296" y="387630"/>
                </a:cubicBezTo>
                <a:cubicBezTo>
                  <a:pt x="3054704" y="378206"/>
                  <a:pt x="3044440" y="368362"/>
                  <a:pt x="3033502" y="358097"/>
                </a:cubicBezTo>
                <a:cubicBezTo>
                  <a:pt x="3022564" y="347833"/>
                  <a:pt x="3012298" y="336727"/>
                  <a:pt x="3002708" y="324779"/>
                </a:cubicBezTo>
                <a:cubicBezTo>
                  <a:pt x="2993116" y="312831"/>
                  <a:pt x="2985206" y="299790"/>
                  <a:pt x="2978980" y="285655"/>
                </a:cubicBezTo>
                <a:cubicBezTo>
                  <a:pt x="2972754" y="271520"/>
                  <a:pt x="2969642" y="256039"/>
                  <a:pt x="2969642" y="239211"/>
                </a:cubicBezTo>
                <a:cubicBezTo>
                  <a:pt x="2969642" y="237192"/>
                  <a:pt x="2969558" y="233658"/>
                  <a:pt x="2969388" y="228610"/>
                </a:cubicBezTo>
                <a:cubicBezTo>
                  <a:pt x="2969220" y="223562"/>
                  <a:pt x="2969640" y="219355"/>
                  <a:pt x="2970650" y="215989"/>
                </a:cubicBezTo>
                <a:lnTo>
                  <a:pt x="3174600" y="215989"/>
                </a:lnTo>
                <a:lnTo>
                  <a:pt x="3174600" y="267481"/>
                </a:lnTo>
                <a:lnTo>
                  <a:pt x="3040316" y="267481"/>
                </a:lnTo>
                <a:cubicBezTo>
                  <a:pt x="3040316" y="272530"/>
                  <a:pt x="3042084" y="278083"/>
                  <a:pt x="3045618" y="284141"/>
                </a:cubicBezTo>
                <a:cubicBezTo>
                  <a:pt x="3049152" y="290198"/>
                  <a:pt x="3053442" y="296172"/>
                  <a:pt x="3058490" y="302062"/>
                </a:cubicBezTo>
                <a:cubicBezTo>
                  <a:pt x="3063538" y="307952"/>
                  <a:pt x="3068924" y="313673"/>
                  <a:pt x="3074644" y="319226"/>
                </a:cubicBezTo>
                <a:cubicBezTo>
                  <a:pt x="3080366" y="324779"/>
                  <a:pt x="3085414" y="329575"/>
                  <a:pt x="3089790" y="333613"/>
                </a:cubicBezTo>
                <a:cubicBezTo>
                  <a:pt x="3098540" y="341691"/>
                  <a:pt x="3107122" y="350104"/>
                  <a:pt x="3115536" y="358855"/>
                </a:cubicBezTo>
                <a:cubicBezTo>
                  <a:pt x="3123950" y="367605"/>
                  <a:pt x="3131522" y="376692"/>
                  <a:pt x="3138252" y="386115"/>
                </a:cubicBezTo>
                <a:cubicBezTo>
                  <a:pt x="3144984" y="395539"/>
                  <a:pt x="3150368" y="405214"/>
                  <a:pt x="3154408" y="415143"/>
                </a:cubicBezTo>
                <a:cubicBezTo>
                  <a:pt x="3158446" y="425071"/>
                  <a:pt x="3160464" y="435420"/>
                  <a:pt x="3160464" y="446189"/>
                </a:cubicBezTo>
                <a:cubicBezTo>
                  <a:pt x="3160464" y="460998"/>
                  <a:pt x="3157772" y="474039"/>
                  <a:pt x="3152388" y="485313"/>
                </a:cubicBezTo>
                <a:cubicBezTo>
                  <a:pt x="3147002" y="496588"/>
                  <a:pt x="3139766" y="505927"/>
                  <a:pt x="3130680" y="513331"/>
                </a:cubicBezTo>
                <a:cubicBezTo>
                  <a:pt x="3121594" y="520735"/>
                  <a:pt x="3111160" y="526288"/>
                  <a:pt x="3099382" y="529990"/>
                </a:cubicBezTo>
                <a:cubicBezTo>
                  <a:pt x="3087602" y="533692"/>
                  <a:pt x="3075318" y="535544"/>
                  <a:pt x="3062528" y="535544"/>
                </a:cubicBezTo>
                <a:close/>
                <a:moveTo>
                  <a:pt x="2292890" y="561290"/>
                </a:moveTo>
                <a:cubicBezTo>
                  <a:pt x="2282120" y="561290"/>
                  <a:pt x="2272949" y="557756"/>
                  <a:pt x="2265377" y="550688"/>
                </a:cubicBezTo>
                <a:cubicBezTo>
                  <a:pt x="2257805" y="543621"/>
                  <a:pt x="2254018" y="533861"/>
                  <a:pt x="2254018" y="521408"/>
                </a:cubicBezTo>
                <a:cubicBezTo>
                  <a:pt x="2254018" y="509293"/>
                  <a:pt x="2257805" y="499701"/>
                  <a:pt x="2265377" y="492633"/>
                </a:cubicBezTo>
                <a:cubicBezTo>
                  <a:pt x="2272949" y="485566"/>
                  <a:pt x="2282120" y="482032"/>
                  <a:pt x="2292890" y="482032"/>
                </a:cubicBezTo>
                <a:cubicBezTo>
                  <a:pt x="2303660" y="482032"/>
                  <a:pt x="2312914" y="485566"/>
                  <a:pt x="2320655" y="492633"/>
                </a:cubicBezTo>
                <a:cubicBezTo>
                  <a:pt x="2328396" y="499701"/>
                  <a:pt x="2332266" y="509293"/>
                  <a:pt x="2332266" y="521408"/>
                </a:cubicBezTo>
                <a:cubicBezTo>
                  <a:pt x="2332266" y="533861"/>
                  <a:pt x="2328396" y="543621"/>
                  <a:pt x="2320655" y="550688"/>
                </a:cubicBezTo>
                <a:cubicBezTo>
                  <a:pt x="2312914" y="557756"/>
                  <a:pt x="2303660" y="561290"/>
                  <a:pt x="2292890" y="561290"/>
                </a:cubicBezTo>
                <a:close/>
                <a:moveTo>
                  <a:pt x="1959420" y="563309"/>
                </a:moveTo>
                <a:lnTo>
                  <a:pt x="1959420" y="511817"/>
                </a:lnTo>
                <a:lnTo>
                  <a:pt x="2025047" y="511817"/>
                </a:lnTo>
                <a:lnTo>
                  <a:pt x="2025047" y="310392"/>
                </a:lnTo>
                <a:cubicBezTo>
                  <a:pt x="2025047" y="277746"/>
                  <a:pt x="2031610" y="252926"/>
                  <a:pt x="2044735" y="235930"/>
                </a:cubicBezTo>
                <a:cubicBezTo>
                  <a:pt x="2057860" y="218934"/>
                  <a:pt x="2078727" y="210436"/>
                  <a:pt x="2107333" y="210436"/>
                </a:cubicBezTo>
                <a:cubicBezTo>
                  <a:pt x="2117767" y="210436"/>
                  <a:pt x="2127106" y="211109"/>
                  <a:pt x="2135351" y="212455"/>
                </a:cubicBezTo>
                <a:cubicBezTo>
                  <a:pt x="2143597" y="213802"/>
                  <a:pt x="2150580" y="215400"/>
                  <a:pt x="2156302" y="217251"/>
                </a:cubicBezTo>
                <a:cubicBezTo>
                  <a:pt x="2162023" y="219102"/>
                  <a:pt x="2166650" y="220869"/>
                  <a:pt x="2170184" y="222552"/>
                </a:cubicBezTo>
                <a:cubicBezTo>
                  <a:pt x="2173718" y="224235"/>
                  <a:pt x="2175990" y="225413"/>
                  <a:pt x="2176999" y="226086"/>
                </a:cubicBezTo>
                <a:lnTo>
                  <a:pt x="2168922" y="276063"/>
                </a:lnTo>
                <a:cubicBezTo>
                  <a:pt x="2166230" y="275054"/>
                  <a:pt x="2160677" y="272866"/>
                  <a:pt x="2152263" y="269501"/>
                </a:cubicBezTo>
                <a:cubicBezTo>
                  <a:pt x="2143849" y="266135"/>
                  <a:pt x="2133416" y="264452"/>
                  <a:pt x="2120964" y="264452"/>
                </a:cubicBezTo>
                <a:cubicBezTo>
                  <a:pt x="2111204" y="264452"/>
                  <a:pt x="2103126" y="267313"/>
                  <a:pt x="2096732" y="273034"/>
                </a:cubicBezTo>
                <a:cubicBezTo>
                  <a:pt x="2090338" y="278756"/>
                  <a:pt x="2087140" y="289694"/>
                  <a:pt x="2087140" y="305848"/>
                </a:cubicBezTo>
                <a:lnTo>
                  <a:pt x="2087140" y="563309"/>
                </a:lnTo>
                <a:close/>
                <a:moveTo>
                  <a:pt x="1607052" y="565833"/>
                </a:moveTo>
                <a:cubicBezTo>
                  <a:pt x="1594263" y="565833"/>
                  <a:pt x="1581811" y="564234"/>
                  <a:pt x="1569695" y="561037"/>
                </a:cubicBezTo>
                <a:cubicBezTo>
                  <a:pt x="1557579" y="557840"/>
                  <a:pt x="1546810" y="552455"/>
                  <a:pt x="1537386" y="544883"/>
                </a:cubicBezTo>
                <a:cubicBezTo>
                  <a:pt x="1527963" y="537310"/>
                  <a:pt x="1520474" y="527214"/>
                  <a:pt x="1514921" y="514593"/>
                </a:cubicBezTo>
                <a:cubicBezTo>
                  <a:pt x="1509368" y="501973"/>
                  <a:pt x="1506592" y="486071"/>
                  <a:pt x="1506592" y="466887"/>
                </a:cubicBezTo>
                <a:lnTo>
                  <a:pt x="1506592" y="453257"/>
                </a:lnTo>
                <a:lnTo>
                  <a:pt x="1454595" y="453257"/>
                </a:lnTo>
                <a:lnTo>
                  <a:pt x="1454595" y="401765"/>
                </a:lnTo>
                <a:lnTo>
                  <a:pt x="1506592" y="401765"/>
                </a:lnTo>
                <a:lnTo>
                  <a:pt x="1506592" y="215989"/>
                </a:lnTo>
                <a:lnTo>
                  <a:pt x="1569190" y="215989"/>
                </a:lnTo>
                <a:lnTo>
                  <a:pt x="1569190" y="401765"/>
                </a:lnTo>
                <a:lnTo>
                  <a:pt x="1666621" y="401765"/>
                </a:lnTo>
                <a:lnTo>
                  <a:pt x="1666621" y="453257"/>
                </a:lnTo>
                <a:lnTo>
                  <a:pt x="1569190" y="453257"/>
                </a:lnTo>
                <a:lnTo>
                  <a:pt x="1569190" y="465878"/>
                </a:lnTo>
                <a:cubicBezTo>
                  <a:pt x="1569190" y="475974"/>
                  <a:pt x="1570368" y="484135"/>
                  <a:pt x="1572724" y="490362"/>
                </a:cubicBezTo>
                <a:cubicBezTo>
                  <a:pt x="1575080" y="496588"/>
                  <a:pt x="1578193" y="501384"/>
                  <a:pt x="1582063" y="504749"/>
                </a:cubicBezTo>
                <a:cubicBezTo>
                  <a:pt x="1585933" y="508115"/>
                  <a:pt x="1590477" y="510302"/>
                  <a:pt x="1595693" y="511312"/>
                </a:cubicBezTo>
                <a:cubicBezTo>
                  <a:pt x="1600910" y="512322"/>
                  <a:pt x="1606379" y="512826"/>
                  <a:pt x="1612100" y="512826"/>
                </a:cubicBezTo>
                <a:cubicBezTo>
                  <a:pt x="1622533" y="512826"/>
                  <a:pt x="1633555" y="511396"/>
                  <a:pt x="1645166" y="508535"/>
                </a:cubicBezTo>
                <a:cubicBezTo>
                  <a:pt x="1656777" y="505675"/>
                  <a:pt x="1666453" y="502898"/>
                  <a:pt x="1674194" y="500206"/>
                </a:cubicBezTo>
                <a:lnTo>
                  <a:pt x="1684795" y="550688"/>
                </a:lnTo>
                <a:cubicBezTo>
                  <a:pt x="1673689" y="556073"/>
                  <a:pt x="1661236" y="559943"/>
                  <a:pt x="1647438" y="562299"/>
                </a:cubicBezTo>
                <a:cubicBezTo>
                  <a:pt x="1633639" y="564655"/>
                  <a:pt x="1620178" y="565833"/>
                  <a:pt x="1607052" y="565833"/>
                </a:cubicBezTo>
                <a:close/>
                <a:moveTo>
                  <a:pt x="0" y="796029"/>
                </a:moveTo>
                <a:lnTo>
                  <a:pt x="4876802" y="796029"/>
                </a:lnTo>
                <a:lnTo>
                  <a:pt x="4824822" y="344498"/>
                </a:lnTo>
                <a:cubicBezTo>
                  <a:pt x="4801968" y="145891"/>
                  <a:pt x="4682292" y="207"/>
                  <a:pt x="4541980" y="155"/>
                </a:cubicBezTo>
                <a:lnTo>
                  <a:pt x="0" y="0"/>
                </a:lnTo>
                <a:close/>
              </a:path>
            </a:pathLst>
          </a:custGeom>
          <a:solidFill>
            <a:schemeClr val="bg1"/>
          </a:solidFill>
          <a:ln w="2834" cap="flat">
            <a:noFill/>
            <a:prstDash val="solid"/>
            <a:miter/>
          </a:ln>
        </p:spPr>
        <p:txBody>
          <a:bodyPr wrap="square" rtlCol="0" anchor="ctr">
            <a:noAutofit/>
          </a:bodyPr>
          <a:lstStyle/>
          <a:p>
            <a:endParaRPr lang="en-US" dirty="0"/>
          </a:p>
        </p:txBody>
      </p:sp>
    </p:spTree>
    <p:extLst>
      <p:ext uri="{BB962C8B-B14F-4D97-AF65-F5344CB8AC3E}">
        <p14:creationId xmlns:p14="http://schemas.microsoft.com/office/powerpoint/2010/main" val="350651837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7_Title and Content">
    <p:spTree>
      <p:nvGrpSpPr>
        <p:cNvPr id="1" name=""/>
        <p:cNvGrpSpPr/>
        <p:nvPr/>
      </p:nvGrpSpPr>
      <p:grpSpPr>
        <a:xfrm>
          <a:off x="0" y="0"/>
          <a:ext cx="0" cy="0"/>
          <a:chOff x="0" y="0"/>
          <a:chExt cx="0" cy="0"/>
        </a:xfrm>
      </p:grpSpPr>
      <p:sp>
        <p:nvSpPr>
          <p:cNvPr id="226" name="bg object 16">
            <a:extLst>
              <a:ext uri="{FF2B5EF4-FFF2-40B4-BE49-F238E27FC236}">
                <a16:creationId xmlns:a16="http://schemas.microsoft.com/office/drawing/2014/main" id="{2C70D2E3-A58A-2E37-9237-F881FE9AC974}"/>
              </a:ext>
            </a:extLst>
          </p:cNvPr>
          <p:cNvSpPr/>
          <p:nvPr userDrawn="1"/>
        </p:nvSpPr>
        <p:spPr>
          <a:xfrm>
            <a:off x="-23840" y="19376"/>
            <a:ext cx="20127939" cy="11308715"/>
          </a:xfrm>
          <a:custGeom>
            <a:avLst/>
            <a:gdLst/>
            <a:ahLst/>
            <a:cxnLst/>
            <a:rect l="l" t="t" r="r" b="b"/>
            <a:pathLst>
              <a:path w="20104100" h="11308715">
                <a:moveTo>
                  <a:pt x="20104099" y="0"/>
                </a:moveTo>
                <a:lnTo>
                  <a:pt x="0" y="0"/>
                </a:lnTo>
                <a:lnTo>
                  <a:pt x="0" y="11308556"/>
                </a:lnTo>
                <a:lnTo>
                  <a:pt x="20104099" y="11308556"/>
                </a:lnTo>
                <a:lnTo>
                  <a:pt x="20104099" y="0"/>
                </a:lnTo>
                <a:close/>
              </a:path>
            </a:pathLst>
          </a:custGeom>
          <a:solidFill>
            <a:srgbClr val="0070AD"/>
          </a:solidFill>
        </p:spPr>
        <p:txBody>
          <a:bodyPr wrap="square" lIns="0" tIns="0" rIns="0" bIns="0" rtlCol="0"/>
          <a:lstStyle/>
          <a:p>
            <a:endParaRPr/>
          </a:p>
        </p:txBody>
      </p:sp>
      <p:sp>
        <p:nvSpPr>
          <p:cNvPr id="2" name="Holder 2"/>
          <p:cNvSpPr>
            <a:spLocks noGrp="1"/>
          </p:cNvSpPr>
          <p:nvPr>
            <p:ph type="title"/>
          </p:nvPr>
        </p:nvSpPr>
        <p:spPr>
          <a:xfrm>
            <a:off x="1003191" y="618303"/>
            <a:ext cx="18607228" cy="754053"/>
          </a:xfrm>
        </p:spPr>
        <p:txBody>
          <a:bodyPr lIns="0" tIns="0" rIns="0" bIns="0"/>
          <a:lstStyle>
            <a:lvl1pPr>
              <a:defRPr sz="4900" b="0" i="0">
                <a:solidFill>
                  <a:schemeClr val="bg1"/>
                </a:solidFill>
                <a:latin typeface="Ubuntu Light"/>
                <a:cs typeface="Ubuntu Light"/>
              </a:defRPr>
            </a:lvl1pPr>
          </a:lstStyle>
          <a:p>
            <a:endParaRPr dirty="0"/>
          </a:p>
        </p:txBody>
      </p:sp>
      <p:sp>
        <p:nvSpPr>
          <p:cNvPr id="153" name="object 3">
            <a:extLst>
              <a:ext uri="{FF2B5EF4-FFF2-40B4-BE49-F238E27FC236}">
                <a16:creationId xmlns:a16="http://schemas.microsoft.com/office/drawing/2014/main" id="{A326EBF6-1D24-0046-23A9-97F52C5B3A98}"/>
              </a:ext>
            </a:extLst>
          </p:cNvPr>
          <p:cNvSpPr/>
          <p:nvPr userDrawn="1"/>
        </p:nvSpPr>
        <p:spPr>
          <a:xfrm>
            <a:off x="0" y="8698896"/>
            <a:ext cx="6692265" cy="2609850"/>
          </a:xfrm>
          <a:custGeom>
            <a:avLst/>
            <a:gdLst/>
            <a:ahLst/>
            <a:cxnLst/>
            <a:rect l="l" t="t" r="r" b="b"/>
            <a:pathLst>
              <a:path w="6692265" h="2609850">
                <a:moveTo>
                  <a:pt x="1076896" y="528345"/>
                </a:moveTo>
                <a:lnTo>
                  <a:pt x="1051318" y="485470"/>
                </a:lnTo>
                <a:lnTo>
                  <a:pt x="220433" y="19888"/>
                </a:lnTo>
                <a:lnTo>
                  <a:pt x="183095" y="4965"/>
                </a:lnTo>
                <a:lnTo>
                  <a:pt x="143738" y="0"/>
                </a:lnTo>
                <a:lnTo>
                  <a:pt x="104305" y="4965"/>
                </a:lnTo>
                <a:lnTo>
                  <a:pt x="66979" y="19888"/>
                </a:lnTo>
                <a:lnTo>
                  <a:pt x="0" y="56553"/>
                </a:lnTo>
                <a:lnTo>
                  <a:pt x="0" y="1023200"/>
                </a:lnTo>
                <a:lnTo>
                  <a:pt x="53390" y="1054328"/>
                </a:lnTo>
                <a:lnTo>
                  <a:pt x="90716" y="1069251"/>
                </a:lnTo>
                <a:lnTo>
                  <a:pt x="130111" y="1074216"/>
                </a:lnTo>
                <a:lnTo>
                  <a:pt x="169506" y="1069251"/>
                </a:lnTo>
                <a:lnTo>
                  <a:pt x="206832" y="1054328"/>
                </a:lnTo>
                <a:lnTo>
                  <a:pt x="1051318" y="571207"/>
                </a:lnTo>
                <a:lnTo>
                  <a:pt x="1070495" y="552450"/>
                </a:lnTo>
                <a:lnTo>
                  <a:pt x="1076896" y="528345"/>
                </a:lnTo>
                <a:close/>
              </a:path>
              <a:path w="6692265" h="2609850">
                <a:moveTo>
                  <a:pt x="6692227" y="1758657"/>
                </a:moveTo>
                <a:lnTo>
                  <a:pt x="6687248" y="1720088"/>
                </a:lnTo>
                <a:lnTo>
                  <a:pt x="6672326" y="1683600"/>
                </a:lnTo>
                <a:lnTo>
                  <a:pt x="6647447" y="1651292"/>
                </a:lnTo>
                <a:lnTo>
                  <a:pt x="6612610" y="1625231"/>
                </a:lnTo>
                <a:lnTo>
                  <a:pt x="4026154" y="175920"/>
                </a:lnTo>
                <a:lnTo>
                  <a:pt x="3980853" y="153631"/>
                </a:lnTo>
                <a:lnTo>
                  <a:pt x="3933914" y="136283"/>
                </a:lnTo>
                <a:lnTo>
                  <a:pt x="3885730" y="123901"/>
                </a:lnTo>
                <a:lnTo>
                  <a:pt x="3836733" y="116471"/>
                </a:lnTo>
                <a:lnTo>
                  <a:pt x="3787343" y="113995"/>
                </a:lnTo>
                <a:lnTo>
                  <a:pt x="3737902" y="116471"/>
                </a:lnTo>
                <a:lnTo>
                  <a:pt x="3688905" y="123901"/>
                </a:lnTo>
                <a:lnTo>
                  <a:pt x="3640721" y="136283"/>
                </a:lnTo>
                <a:lnTo>
                  <a:pt x="3593782" y="153631"/>
                </a:lnTo>
                <a:lnTo>
                  <a:pt x="3548481" y="175920"/>
                </a:lnTo>
                <a:lnTo>
                  <a:pt x="914069" y="1617903"/>
                </a:lnTo>
                <a:lnTo>
                  <a:pt x="879246" y="1643964"/>
                </a:lnTo>
                <a:lnTo>
                  <a:pt x="854367" y="1676273"/>
                </a:lnTo>
                <a:lnTo>
                  <a:pt x="839431" y="1712760"/>
                </a:lnTo>
                <a:lnTo>
                  <a:pt x="834466" y="1751304"/>
                </a:lnTo>
                <a:lnTo>
                  <a:pt x="839431" y="1789899"/>
                </a:lnTo>
                <a:lnTo>
                  <a:pt x="854367" y="1826387"/>
                </a:lnTo>
                <a:lnTo>
                  <a:pt x="879246" y="1858695"/>
                </a:lnTo>
                <a:lnTo>
                  <a:pt x="914069" y="1884756"/>
                </a:lnTo>
                <a:lnTo>
                  <a:pt x="2157463" y="2609659"/>
                </a:lnTo>
                <a:lnTo>
                  <a:pt x="5358320" y="2609659"/>
                </a:lnTo>
                <a:lnTo>
                  <a:pt x="6612610" y="1892084"/>
                </a:lnTo>
                <a:lnTo>
                  <a:pt x="6647447" y="1866036"/>
                </a:lnTo>
                <a:lnTo>
                  <a:pt x="6672326" y="1833714"/>
                </a:lnTo>
                <a:lnTo>
                  <a:pt x="6687248" y="1797227"/>
                </a:lnTo>
                <a:lnTo>
                  <a:pt x="6692227" y="1758657"/>
                </a:lnTo>
                <a:close/>
              </a:path>
            </a:pathLst>
          </a:custGeom>
          <a:solidFill>
            <a:srgbClr val="00ADE0">
              <a:alpha val="19999"/>
            </a:srgbClr>
          </a:solidFill>
        </p:spPr>
        <p:txBody>
          <a:bodyPr wrap="square" lIns="0" tIns="0" rIns="0" bIns="0" rtlCol="0"/>
          <a:lstStyle/>
          <a:p>
            <a:endParaRPr/>
          </a:p>
        </p:txBody>
      </p:sp>
      <p:sp>
        <p:nvSpPr>
          <p:cNvPr id="154" name="object 4">
            <a:extLst>
              <a:ext uri="{FF2B5EF4-FFF2-40B4-BE49-F238E27FC236}">
                <a16:creationId xmlns:a16="http://schemas.microsoft.com/office/drawing/2014/main" id="{68B535AE-632F-BA28-05F5-A49184199312}"/>
              </a:ext>
            </a:extLst>
          </p:cNvPr>
          <p:cNvSpPr/>
          <p:nvPr userDrawn="1"/>
        </p:nvSpPr>
        <p:spPr>
          <a:xfrm>
            <a:off x="15500745" y="0"/>
            <a:ext cx="2857500" cy="774700"/>
          </a:xfrm>
          <a:custGeom>
            <a:avLst/>
            <a:gdLst/>
            <a:ahLst/>
            <a:cxnLst/>
            <a:rect l="l" t="t" r="r" b="b"/>
            <a:pathLst>
              <a:path w="2857500" h="774700">
                <a:moveTo>
                  <a:pt x="2857272" y="0"/>
                </a:moveTo>
                <a:lnTo>
                  <a:pt x="0" y="0"/>
                </a:lnTo>
                <a:lnTo>
                  <a:pt x="1259421" y="734253"/>
                </a:lnTo>
                <a:lnTo>
                  <a:pt x="1302360" y="754220"/>
                </a:lnTo>
                <a:lnTo>
                  <a:pt x="1347275" y="767531"/>
                </a:lnTo>
                <a:lnTo>
                  <a:pt x="1393374" y="774187"/>
                </a:lnTo>
                <a:lnTo>
                  <a:pt x="1439869" y="774187"/>
                </a:lnTo>
                <a:lnTo>
                  <a:pt x="1485969" y="767531"/>
                </a:lnTo>
                <a:lnTo>
                  <a:pt x="1530886" y="754220"/>
                </a:lnTo>
                <a:lnTo>
                  <a:pt x="1573830" y="734253"/>
                </a:lnTo>
                <a:lnTo>
                  <a:pt x="2857272" y="0"/>
                </a:lnTo>
                <a:close/>
              </a:path>
            </a:pathLst>
          </a:custGeom>
          <a:solidFill>
            <a:srgbClr val="00ADE0">
              <a:alpha val="19999"/>
            </a:srgbClr>
          </a:solidFill>
        </p:spPr>
        <p:txBody>
          <a:bodyPr wrap="square" lIns="0" tIns="0" rIns="0" bIns="0" rtlCol="0"/>
          <a:lstStyle/>
          <a:p>
            <a:endParaRPr/>
          </a:p>
        </p:txBody>
      </p:sp>
      <p:sp>
        <p:nvSpPr>
          <p:cNvPr id="12" name="Marcador de pie de página 11">
            <a:extLst>
              <a:ext uri="{FF2B5EF4-FFF2-40B4-BE49-F238E27FC236}">
                <a16:creationId xmlns:a16="http://schemas.microsoft.com/office/drawing/2014/main" id="{1ACC5C5B-5E0C-897F-54C9-1D842CC0A6D9}"/>
              </a:ext>
            </a:extLst>
          </p:cNvPr>
          <p:cNvSpPr>
            <a:spLocks noGrp="1"/>
          </p:cNvSpPr>
          <p:nvPr>
            <p:ph type="ftr" sz="quarter" idx="10"/>
          </p:nvPr>
        </p:nvSpPr>
        <p:spPr>
          <a:xfrm>
            <a:off x="16376651" y="10759212"/>
            <a:ext cx="3233768" cy="238988"/>
          </a:xfrm>
          <a:prstGeom prst="rect">
            <a:avLst/>
          </a:prstGeom>
        </p:spPr>
        <p:txBody>
          <a:bodyPr/>
          <a:lstStyle>
            <a:lvl1pPr>
              <a:defRPr>
                <a:solidFill>
                  <a:schemeClr val="bg1"/>
                </a:solidFill>
              </a:defRPr>
            </a:lvl1pPr>
          </a:lstStyle>
          <a:p>
            <a:pPr marL="26034">
              <a:spcBef>
                <a:spcPts val="30"/>
              </a:spcBef>
            </a:pPr>
            <a:r>
              <a:rPr lang="es-ES" dirty="0"/>
              <a:t>Public © 2023 Sogeti. </a:t>
            </a:r>
            <a:r>
              <a:rPr lang="es-ES" dirty="0" err="1"/>
              <a:t>All</a:t>
            </a:r>
            <a:r>
              <a:rPr lang="es-ES" dirty="0"/>
              <a:t> rights </a:t>
            </a:r>
            <a:r>
              <a:rPr lang="es-ES" dirty="0" err="1"/>
              <a:t>reserved</a:t>
            </a:r>
            <a:endParaRPr lang="es-ES" spc="-10" dirty="0"/>
          </a:p>
        </p:txBody>
      </p:sp>
      <p:sp>
        <p:nvSpPr>
          <p:cNvPr id="3" name="CuadroTexto 2">
            <a:extLst>
              <a:ext uri="{FF2B5EF4-FFF2-40B4-BE49-F238E27FC236}">
                <a16:creationId xmlns:a16="http://schemas.microsoft.com/office/drawing/2014/main" id="{5F9ACFA8-4B18-AEC7-6177-1AAA87AFB4E0}"/>
              </a:ext>
            </a:extLst>
          </p:cNvPr>
          <p:cNvSpPr txBox="1"/>
          <p:nvPr userDrawn="1"/>
        </p:nvSpPr>
        <p:spPr>
          <a:xfrm>
            <a:off x="755650" y="10845800"/>
            <a:ext cx="7772400" cy="292388"/>
          </a:xfrm>
          <a:prstGeom prst="rect">
            <a:avLst/>
          </a:prstGeom>
          <a:noFill/>
        </p:spPr>
        <p:txBody>
          <a:bodyPr wrap="square" rtlCol="0">
            <a:spAutoFit/>
          </a:bodyPr>
          <a:lstStyle/>
          <a:p>
            <a:r>
              <a:rPr lang="es-ES" sz="1300" b="0" i="0" dirty="0">
                <a:solidFill>
                  <a:schemeClr val="bg1"/>
                </a:solidFill>
                <a:latin typeface="Ubuntu Medium" panose="020B0504030602030204" pitchFamily="34" charset="0"/>
              </a:rPr>
              <a:t>#FlourishingDigitalBusinessWithQuality </a:t>
            </a:r>
            <a:r>
              <a:rPr lang="es-ES" sz="1300" b="1" i="0" dirty="0">
                <a:solidFill>
                  <a:schemeClr val="bg1"/>
                </a:solidFill>
                <a:latin typeface="Ubuntu" panose="020B0504030602030204" pitchFamily="34" charset="0"/>
              </a:rPr>
              <a:t> ·</a:t>
            </a:r>
            <a:r>
              <a:rPr lang="es-ES" sz="1300" b="0" i="0" dirty="0">
                <a:solidFill>
                  <a:schemeClr val="bg1"/>
                </a:solidFill>
                <a:latin typeface="Ubuntu Medium" panose="020B0504030602030204" pitchFamily="34" charset="0"/>
              </a:rPr>
              <a:t>   </a:t>
            </a:r>
            <a:r>
              <a:rPr lang="es-ES" sz="1300" b="0" i="0" dirty="0" err="1">
                <a:solidFill>
                  <a:schemeClr val="bg1"/>
                </a:solidFill>
                <a:latin typeface="Ubuntu Medium" panose="020B0504030602030204" pitchFamily="34" charset="0"/>
              </a:rPr>
              <a:t>by</a:t>
            </a:r>
            <a:r>
              <a:rPr lang="es-ES" sz="1300" b="0" i="0" dirty="0">
                <a:solidFill>
                  <a:schemeClr val="bg1"/>
                </a:solidFill>
                <a:latin typeface="Ubuntu Medium" panose="020B0504030602030204" pitchFamily="34" charset="0"/>
              </a:rPr>
              <a:t> </a:t>
            </a:r>
            <a:r>
              <a:rPr lang="es-ES" sz="1300" b="1" i="0" dirty="0">
                <a:solidFill>
                  <a:schemeClr val="bg1"/>
                </a:solidFill>
                <a:latin typeface="Ubuntu" panose="020B0504030602030204" pitchFamily="34" charset="0"/>
              </a:rPr>
              <a:t>Sogeti España</a:t>
            </a:r>
          </a:p>
        </p:txBody>
      </p:sp>
      <p:sp>
        <p:nvSpPr>
          <p:cNvPr id="4" name="Forma libre 3">
            <a:extLst>
              <a:ext uri="{FF2B5EF4-FFF2-40B4-BE49-F238E27FC236}">
                <a16:creationId xmlns:a16="http://schemas.microsoft.com/office/drawing/2014/main" id="{F61EB3F6-11FE-4C49-631D-72DA1DAA5C8C}"/>
              </a:ext>
            </a:extLst>
          </p:cNvPr>
          <p:cNvSpPr/>
          <p:nvPr userDrawn="1"/>
        </p:nvSpPr>
        <p:spPr>
          <a:xfrm flipV="1">
            <a:off x="755650" y="10384024"/>
            <a:ext cx="2362200" cy="385576"/>
          </a:xfrm>
          <a:custGeom>
            <a:avLst/>
            <a:gdLst/>
            <a:ahLst/>
            <a:cxnLst/>
            <a:rect l="l" t="t" r="r" b="b"/>
            <a:pathLst>
              <a:path w="4876802" h="796029">
                <a:moveTo>
                  <a:pt x="2572782" y="405299"/>
                </a:moveTo>
                <a:cubicBezTo>
                  <a:pt x="2589609" y="405299"/>
                  <a:pt x="2601809" y="398820"/>
                  <a:pt x="2609382" y="385863"/>
                </a:cubicBezTo>
                <a:cubicBezTo>
                  <a:pt x="2616954" y="372906"/>
                  <a:pt x="2620740" y="355826"/>
                  <a:pt x="2620740" y="334623"/>
                </a:cubicBezTo>
                <a:cubicBezTo>
                  <a:pt x="2620740" y="313420"/>
                  <a:pt x="2616618" y="296256"/>
                  <a:pt x="2608372" y="283131"/>
                </a:cubicBezTo>
                <a:cubicBezTo>
                  <a:pt x="2600126" y="270006"/>
                  <a:pt x="2587927" y="263443"/>
                  <a:pt x="2571772" y="263443"/>
                </a:cubicBezTo>
                <a:cubicBezTo>
                  <a:pt x="2554945" y="263443"/>
                  <a:pt x="2542744" y="270006"/>
                  <a:pt x="2535172" y="283131"/>
                </a:cubicBezTo>
                <a:cubicBezTo>
                  <a:pt x="2527600" y="296256"/>
                  <a:pt x="2523814" y="313420"/>
                  <a:pt x="2523814" y="334623"/>
                </a:cubicBezTo>
                <a:cubicBezTo>
                  <a:pt x="2523814" y="355826"/>
                  <a:pt x="2527937" y="372906"/>
                  <a:pt x="2536182" y="385863"/>
                </a:cubicBezTo>
                <a:cubicBezTo>
                  <a:pt x="2544428" y="398820"/>
                  <a:pt x="2556628" y="405299"/>
                  <a:pt x="2572782" y="405299"/>
                </a:cubicBezTo>
                <a:close/>
                <a:moveTo>
                  <a:pt x="1810782" y="405299"/>
                </a:moveTo>
                <a:cubicBezTo>
                  <a:pt x="1827610" y="405299"/>
                  <a:pt x="1839810" y="398820"/>
                  <a:pt x="1847382" y="385863"/>
                </a:cubicBezTo>
                <a:cubicBezTo>
                  <a:pt x="1854954" y="372906"/>
                  <a:pt x="1858740" y="355826"/>
                  <a:pt x="1858740" y="334623"/>
                </a:cubicBezTo>
                <a:cubicBezTo>
                  <a:pt x="1858740" y="313420"/>
                  <a:pt x="1854618" y="296256"/>
                  <a:pt x="1846372" y="283131"/>
                </a:cubicBezTo>
                <a:cubicBezTo>
                  <a:pt x="1838127" y="270006"/>
                  <a:pt x="1825927" y="263443"/>
                  <a:pt x="1809772" y="263443"/>
                </a:cubicBezTo>
                <a:cubicBezTo>
                  <a:pt x="1792945" y="263443"/>
                  <a:pt x="1780745" y="270006"/>
                  <a:pt x="1773173" y="283131"/>
                </a:cubicBezTo>
                <a:cubicBezTo>
                  <a:pt x="1765600" y="296256"/>
                  <a:pt x="1761814" y="313420"/>
                  <a:pt x="1761814" y="334623"/>
                </a:cubicBezTo>
                <a:cubicBezTo>
                  <a:pt x="1761814" y="355826"/>
                  <a:pt x="1765937" y="372906"/>
                  <a:pt x="1774182" y="385863"/>
                </a:cubicBezTo>
                <a:cubicBezTo>
                  <a:pt x="1782428" y="398820"/>
                  <a:pt x="1794628" y="405299"/>
                  <a:pt x="1810782" y="405299"/>
                </a:cubicBezTo>
                <a:close/>
                <a:moveTo>
                  <a:pt x="810657" y="405299"/>
                </a:moveTo>
                <a:cubicBezTo>
                  <a:pt x="827485" y="405299"/>
                  <a:pt x="839684" y="398820"/>
                  <a:pt x="847257" y="385863"/>
                </a:cubicBezTo>
                <a:cubicBezTo>
                  <a:pt x="854829" y="372906"/>
                  <a:pt x="858615" y="355826"/>
                  <a:pt x="858616" y="334623"/>
                </a:cubicBezTo>
                <a:cubicBezTo>
                  <a:pt x="858615" y="313420"/>
                  <a:pt x="854493" y="296256"/>
                  <a:pt x="846247" y="283131"/>
                </a:cubicBezTo>
                <a:cubicBezTo>
                  <a:pt x="838002" y="270006"/>
                  <a:pt x="825802" y="263443"/>
                  <a:pt x="809647" y="263443"/>
                </a:cubicBezTo>
                <a:cubicBezTo>
                  <a:pt x="792820" y="263443"/>
                  <a:pt x="780620" y="270006"/>
                  <a:pt x="773048" y="283131"/>
                </a:cubicBezTo>
                <a:cubicBezTo>
                  <a:pt x="765475" y="296256"/>
                  <a:pt x="761689" y="313420"/>
                  <a:pt x="761689" y="334623"/>
                </a:cubicBezTo>
                <a:cubicBezTo>
                  <a:pt x="761689" y="355826"/>
                  <a:pt x="765812" y="372906"/>
                  <a:pt x="774057" y="385863"/>
                </a:cubicBezTo>
                <a:cubicBezTo>
                  <a:pt x="782303" y="398820"/>
                  <a:pt x="794503" y="405299"/>
                  <a:pt x="810657" y="405299"/>
                </a:cubicBezTo>
                <a:close/>
                <a:moveTo>
                  <a:pt x="3325256" y="411861"/>
                </a:moveTo>
                <a:cubicBezTo>
                  <a:pt x="3316506" y="411861"/>
                  <a:pt x="3309608" y="408496"/>
                  <a:pt x="3304560" y="401765"/>
                </a:cubicBezTo>
                <a:cubicBezTo>
                  <a:pt x="3299512" y="395034"/>
                  <a:pt x="3296988" y="387125"/>
                  <a:pt x="3296988" y="378038"/>
                </a:cubicBezTo>
                <a:cubicBezTo>
                  <a:pt x="3296988" y="368951"/>
                  <a:pt x="3299512" y="361126"/>
                  <a:pt x="3304560" y="354564"/>
                </a:cubicBezTo>
                <a:cubicBezTo>
                  <a:pt x="3309608" y="348001"/>
                  <a:pt x="3316506" y="344720"/>
                  <a:pt x="3325256" y="344720"/>
                </a:cubicBezTo>
                <a:cubicBezTo>
                  <a:pt x="3333334" y="344720"/>
                  <a:pt x="3339980" y="348001"/>
                  <a:pt x="3345198" y="354564"/>
                </a:cubicBezTo>
                <a:cubicBezTo>
                  <a:pt x="3350414" y="361126"/>
                  <a:pt x="3353022" y="368951"/>
                  <a:pt x="3353022" y="378038"/>
                </a:cubicBezTo>
                <a:cubicBezTo>
                  <a:pt x="3353022" y="387125"/>
                  <a:pt x="3350414" y="395034"/>
                  <a:pt x="3345198" y="401765"/>
                </a:cubicBezTo>
                <a:cubicBezTo>
                  <a:pt x="3339980" y="408496"/>
                  <a:pt x="3333334" y="411861"/>
                  <a:pt x="3325256" y="411861"/>
                </a:cubicBezTo>
                <a:close/>
                <a:moveTo>
                  <a:pt x="2207070" y="453257"/>
                </a:moveTo>
                <a:lnTo>
                  <a:pt x="2207070" y="401765"/>
                </a:lnTo>
                <a:lnTo>
                  <a:pt x="2272697" y="401765"/>
                </a:lnTo>
                <a:lnTo>
                  <a:pt x="2272697" y="314430"/>
                </a:lnTo>
                <a:cubicBezTo>
                  <a:pt x="2272697" y="297939"/>
                  <a:pt x="2274043" y="283299"/>
                  <a:pt x="2276735" y="270510"/>
                </a:cubicBezTo>
                <a:cubicBezTo>
                  <a:pt x="2279428" y="257721"/>
                  <a:pt x="2284055" y="246868"/>
                  <a:pt x="2290618" y="237949"/>
                </a:cubicBezTo>
                <a:cubicBezTo>
                  <a:pt x="2297181" y="229031"/>
                  <a:pt x="2305931" y="222215"/>
                  <a:pt x="2316869" y="217504"/>
                </a:cubicBezTo>
                <a:cubicBezTo>
                  <a:pt x="2327807" y="212792"/>
                  <a:pt x="2341353" y="210436"/>
                  <a:pt x="2357508" y="210436"/>
                </a:cubicBezTo>
                <a:cubicBezTo>
                  <a:pt x="2366931" y="210436"/>
                  <a:pt x="2377280" y="211530"/>
                  <a:pt x="2388554" y="213718"/>
                </a:cubicBezTo>
                <a:cubicBezTo>
                  <a:pt x="2399829" y="215905"/>
                  <a:pt x="2411860" y="220028"/>
                  <a:pt x="2424649" y="226086"/>
                </a:cubicBezTo>
                <a:lnTo>
                  <a:pt x="2416572" y="276063"/>
                </a:lnTo>
                <a:cubicBezTo>
                  <a:pt x="2406475" y="271352"/>
                  <a:pt x="2397388" y="268239"/>
                  <a:pt x="2389312" y="266724"/>
                </a:cubicBezTo>
                <a:cubicBezTo>
                  <a:pt x="2381234" y="265210"/>
                  <a:pt x="2374335" y="264452"/>
                  <a:pt x="2368614" y="264452"/>
                </a:cubicBezTo>
                <a:cubicBezTo>
                  <a:pt x="2356498" y="264452"/>
                  <a:pt x="2347832" y="267902"/>
                  <a:pt x="2342615" y="274801"/>
                </a:cubicBezTo>
                <a:cubicBezTo>
                  <a:pt x="2337398" y="281701"/>
                  <a:pt x="2334790" y="292218"/>
                  <a:pt x="2334790" y="306353"/>
                </a:cubicBezTo>
                <a:lnTo>
                  <a:pt x="2334790" y="453257"/>
                </a:lnTo>
                <a:close/>
                <a:moveTo>
                  <a:pt x="1088092" y="457800"/>
                </a:moveTo>
                <a:cubicBezTo>
                  <a:pt x="1064870" y="457800"/>
                  <a:pt x="1044593" y="455949"/>
                  <a:pt x="1027260" y="452247"/>
                </a:cubicBezTo>
                <a:cubicBezTo>
                  <a:pt x="1009928" y="448545"/>
                  <a:pt x="993016" y="443665"/>
                  <a:pt x="976526" y="437607"/>
                </a:cubicBezTo>
                <a:lnTo>
                  <a:pt x="976526" y="215989"/>
                </a:lnTo>
                <a:lnTo>
                  <a:pt x="1039124" y="215989"/>
                </a:lnTo>
                <a:lnTo>
                  <a:pt x="1039124" y="392173"/>
                </a:lnTo>
                <a:cubicBezTo>
                  <a:pt x="1047874" y="394529"/>
                  <a:pt x="1056456" y="396128"/>
                  <a:pt x="1064870" y="396969"/>
                </a:cubicBezTo>
                <a:cubicBezTo>
                  <a:pt x="1073284" y="397810"/>
                  <a:pt x="1081866" y="398231"/>
                  <a:pt x="1090616" y="398231"/>
                </a:cubicBezTo>
                <a:cubicBezTo>
                  <a:pt x="1094318" y="398231"/>
                  <a:pt x="1098861" y="398063"/>
                  <a:pt x="1104246" y="397726"/>
                </a:cubicBezTo>
                <a:cubicBezTo>
                  <a:pt x="1109631" y="397390"/>
                  <a:pt x="1115184" y="396801"/>
                  <a:pt x="1120905" y="395959"/>
                </a:cubicBezTo>
                <a:cubicBezTo>
                  <a:pt x="1126627" y="395118"/>
                  <a:pt x="1132264" y="394192"/>
                  <a:pt x="1137817" y="393183"/>
                </a:cubicBezTo>
                <a:cubicBezTo>
                  <a:pt x="1143370" y="392173"/>
                  <a:pt x="1148166" y="391164"/>
                  <a:pt x="1152205" y="390154"/>
                </a:cubicBezTo>
                <a:lnTo>
                  <a:pt x="1163311" y="447704"/>
                </a:lnTo>
                <a:cubicBezTo>
                  <a:pt x="1157589" y="449723"/>
                  <a:pt x="1151111" y="451322"/>
                  <a:pt x="1143875" y="452500"/>
                </a:cubicBezTo>
                <a:cubicBezTo>
                  <a:pt x="1136639" y="453678"/>
                  <a:pt x="1129487" y="454687"/>
                  <a:pt x="1122420" y="455529"/>
                </a:cubicBezTo>
                <a:cubicBezTo>
                  <a:pt x="1115352" y="456370"/>
                  <a:pt x="1108706" y="456959"/>
                  <a:pt x="1102479" y="457296"/>
                </a:cubicBezTo>
                <a:cubicBezTo>
                  <a:pt x="1096253" y="457632"/>
                  <a:pt x="1091457" y="457800"/>
                  <a:pt x="1088092" y="457800"/>
                </a:cubicBezTo>
                <a:close/>
                <a:moveTo>
                  <a:pt x="2572782" y="459315"/>
                </a:moveTo>
                <a:cubicBezTo>
                  <a:pt x="2556628" y="459315"/>
                  <a:pt x="2541651" y="456370"/>
                  <a:pt x="2527852" y="450480"/>
                </a:cubicBezTo>
                <a:cubicBezTo>
                  <a:pt x="2514054" y="444591"/>
                  <a:pt x="2502190" y="436177"/>
                  <a:pt x="2492262" y="425239"/>
                </a:cubicBezTo>
                <a:cubicBezTo>
                  <a:pt x="2482334" y="414301"/>
                  <a:pt x="2474594" y="401176"/>
                  <a:pt x="2469040" y="385863"/>
                </a:cubicBezTo>
                <a:cubicBezTo>
                  <a:pt x="2463487" y="370550"/>
                  <a:pt x="2460711" y="353638"/>
                  <a:pt x="2460711" y="335128"/>
                </a:cubicBezTo>
                <a:cubicBezTo>
                  <a:pt x="2460711" y="316281"/>
                  <a:pt x="2463403" y="299201"/>
                  <a:pt x="2468788" y="283888"/>
                </a:cubicBezTo>
                <a:cubicBezTo>
                  <a:pt x="2474173" y="268575"/>
                  <a:pt x="2481829" y="255366"/>
                  <a:pt x="2491758" y="244259"/>
                </a:cubicBezTo>
                <a:cubicBezTo>
                  <a:pt x="2501686" y="233153"/>
                  <a:pt x="2513465" y="224571"/>
                  <a:pt x="2527095" y="218513"/>
                </a:cubicBezTo>
                <a:cubicBezTo>
                  <a:pt x="2540726" y="212455"/>
                  <a:pt x="2555954" y="209427"/>
                  <a:pt x="2572782" y="209427"/>
                </a:cubicBezTo>
                <a:cubicBezTo>
                  <a:pt x="2589609" y="209427"/>
                  <a:pt x="2604838" y="212455"/>
                  <a:pt x="2618468" y="218513"/>
                </a:cubicBezTo>
                <a:cubicBezTo>
                  <a:pt x="2632098" y="224571"/>
                  <a:pt x="2643794" y="233153"/>
                  <a:pt x="2653554" y="244259"/>
                </a:cubicBezTo>
                <a:cubicBezTo>
                  <a:pt x="2663314" y="255366"/>
                  <a:pt x="2670886" y="268575"/>
                  <a:pt x="2676271" y="283888"/>
                </a:cubicBezTo>
                <a:cubicBezTo>
                  <a:pt x="2681656" y="299201"/>
                  <a:pt x="2684348" y="316281"/>
                  <a:pt x="2684348" y="335128"/>
                </a:cubicBezTo>
                <a:cubicBezTo>
                  <a:pt x="2684348" y="353638"/>
                  <a:pt x="2681656" y="370550"/>
                  <a:pt x="2676271" y="385863"/>
                </a:cubicBezTo>
                <a:cubicBezTo>
                  <a:pt x="2670886" y="401176"/>
                  <a:pt x="2663230" y="414301"/>
                  <a:pt x="2653302" y="425239"/>
                </a:cubicBezTo>
                <a:cubicBezTo>
                  <a:pt x="2643373" y="436177"/>
                  <a:pt x="2631594" y="444591"/>
                  <a:pt x="2617964" y="450480"/>
                </a:cubicBezTo>
                <a:cubicBezTo>
                  <a:pt x="2604334" y="456370"/>
                  <a:pt x="2589273" y="459315"/>
                  <a:pt x="2572782" y="459315"/>
                </a:cubicBezTo>
                <a:close/>
                <a:moveTo>
                  <a:pt x="1810782" y="459315"/>
                </a:moveTo>
                <a:cubicBezTo>
                  <a:pt x="1794628" y="459315"/>
                  <a:pt x="1779651" y="456370"/>
                  <a:pt x="1765853" y="450480"/>
                </a:cubicBezTo>
                <a:cubicBezTo>
                  <a:pt x="1752054" y="444591"/>
                  <a:pt x="1740191" y="436177"/>
                  <a:pt x="1730262" y="425239"/>
                </a:cubicBezTo>
                <a:cubicBezTo>
                  <a:pt x="1720334" y="414301"/>
                  <a:pt x="1712594" y="401176"/>
                  <a:pt x="1707040" y="385863"/>
                </a:cubicBezTo>
                <a:cubicBezTo>
                  <a:pt x="1701488" y="370550"/>
                  <a:pt x="1698711" y="353638"/>
                  <a:pt x="1698711" y="335128"/>
                </a:cubicBezTo>
                <a:cubicBezTo>
                  <a:pt x="1698711" y="316281"/>
                  <a:pt x="1701403" y="299201"/>
                  <a:pt x="1706788" y="283888"/>
                </a:cubicBezTo>
                <a:cubicBezTo>
                  <a:pt x="1712173" y="268575"/>
                  <a:pt x="1719829" y="255366"/>
                  <a:pt x="1729758" y="244259"/>
                </a:cubicBezTo>
                <a:cubicBezTo>
                  <a:pt x="1739686" y="233153"/>
                  <a:pt x="1751465" y="224571"/>
                  <a:pt x="1765095" y="218513"/>
                </a:cubicBezTo>
                <a:cubicBezTo>
                  <a:pt x="1778726" y="212455"/>
                  <a:pt x="1793954" y="209427"/>
                  <a:pt x="1810782" y="209427"/>
                </a:cubicBezTo>
                <a:cubicBezTo>
                  <a:pt x="1827610" y="209427"/>
                  <a:pt x="1842838" y="212455"/>
                  <a:pt x="1856469" y="218513"/>
                </a:cubicBezTo>
                <a:cubicBezTo>
                  <a:pt x="1870099" y="224571"/>
                  <a:pt x="1881794" y="233153"/>
                  <a:pt x="1891554" y="244259"/>
                </a:cubicBezTo>
                <a:cubicBezTo>
                  <a:pt x="1901314" y="255366"/>
                  <a:pt x="1908886" y="268575"/>
                  <a:pt x="1914271" y="283888"/>
                </a:cubicBezTo>
                <a:cubicBezTo>
                  <a:pt x="1919656" y="299201"/>
                  <a:pt x="1922348" y="316281"/>
                  <a:pt x="1922348" y="335128"/>
                </a:cubicBezTo>
                <a:cubicBezTo>
                  <a:pt x="1922348" y="353638"/>
                  <a:pt x="1919656" y="370550"/>
                  <a:pt x="1914271" y="385863"/>
                </a:cubicBezTo>
                <a:cubicBezTo>
                  <a:pt x="1908886" y="401176"/>
                  <a:pt x="1901230" y="414301"/>
                  <a:pt x="1891302" y="425239"/>
                </a:cubicBezTo>
                <a:cubicBezTo>
                  <a:pt x="1881374" y="436177"/>
                  <a:pt x="1869594" y="444591"/>
                  <a:pt x="1855964" y="450480"/>
                </a:cubicBezTo>
                <a:cubicBezTo>
                  <a:pt x="1842334" y="456370"/>
                  <a:pt x="1827273" y="459315"/>
                  <a:pt x="1810782" y="459315"/>
                </a:cubicBezTo>
                <a:close/>
                <a:moveTo>
                  <a:pt x="810657" y="459315"/>
                </a:moveTo>
                <a:cubicBezTo>
                  <a:pt x="794503" y="459315"/>
                  <a:pt x="779526" y="456370"/>
                  <a:pt x="765728" y="450480"/>
                </a:cubicBezTo>
                <a:cubicBezTo>
                  <a:pt x="751929" y="444591"/>
                  <a:pt x="740066" y="436177"/>
                  <a:pt x="730138" y="425239"/>
                </a:cubicBezTo>
                <a:cubicBezTo>
                  <a:pt x="720209" y="414301"/>
                  <a:pt x="712469" y="401176"/>
                  <a:pt x="706916" y="385863"/>
                </a:cubicBezTo>
                <a:cubicBezTo>
                  <a:pt x="701362" y="370550"/>
                  <a:pt x="698586" y="353638"/>
                  <a:pt x="698586" y="335128"/>
                </a:cubicBezTo>
                <a:cubicBezTo>
                  <a:pt x="698586" y="316281"/>
                  <a:pt x="701278" y="299201"/>
                  <a:pt x="706663" y="283888"/>
                </a:cubicBezTo>
                <a:cubicBezTo>
                  <a:pt x="712048" y="268575"/>
                  <a:pt x="719704" y="255366"/>
                  <a:pt x="729633" y="244259"/>
                </a:cubicBezTo>
                <a:cubicBezTo>
                  <a:pt x="739561" y="233153"/>
                  <a:pt x="751340" y="224571"/>
                  <a:pt x="764970" y="218513"/>
                </a:cubicBezTo>
                <a:cubicBezTo>
                  <a:pt x="778601" y="212455"/>
                  <a:pt x="793830" y="209427"/>
                  <a:pt x="810657" y="209427"/>
                </a:cubicBezTo>
                <a:cubicBezTo>
                  <a:pt x="827485" y="209427"/>
                  <a:pt x="842713" y="212455"/>
                  <a:pt x="856344" y="218513"/>
                </a:cubicBezTo>
                <a:cubicBezTo>
                  <a:pt x="869974" y="224571"/>
                  <a:pt x="881669" y="233153"/>
                  <a:pt x="891429" y="244259"/>
                </a:cubicBezTo>
                <a:cubicBezTo>
                  <a:pt x="901189" y="255366"/>
                  <a:pt x="908761" y="268575"/>
                  <a:pt x="914146" y="283888"/>
                </a:cubicBezTo>
                <a:cubicBezTo>
                  <a:pt x="919531" y="299201"/>
                  <a:pt x="922223" y="316281"/>
                  <a:pt x="922223" y="335128"/>
                </a:cubicBezTo>
                <a:cubicBezTo>
                  <a:pt x="922223" y="353638"/>
                  <a:pt x="919531" y="370550"/>
                  <a:pt x="914146" y="385863"/>
                </a:cubicBezTo>
                <a:cubicBezTo>
                  <a:pt x="908761" y="401176"/>
                  <a:pt x="901105" y="414301"/>
                  <a:pt x="891177" y="425239"/>
                </a:cubicBezTo>
                <a:cubicBezTo>
                  <a:pt x="881248" y="436177"/>
                  <a:pt x="869469" y="444591"/>
                  <a:pt x="855839" y="450480"/>
                </a:cubicBezTo>
                <a:cubicBezTo>
                  <a:pt x="842209" y="456370"/>
                  <a:pt x="827148" y="459315"/>
                  <a:pt x="810657" y="459315"/>
                </a:cubicBezTo>
                <a:close/>
                <a:moveTo>
                  <a:pt x="546919" y="477993"/>
                </a:moveTo>
                <a:cubicBezTo>
                  <a:pt x="563410" y="477993"/>
                  <a:pt x="576620" y="474207"/>
                  <a:pt x="586548" y="466635"/>
                </a:cubicBezTo>
                <a:cubicBezTo>
                  <a:pt x="596476" y="459062"/>
                  <a:pt x="601441" y="446189"/>
                  <a:pt x="601441" y="428016"/>
                </a:cubicBezTo>
                <a:cubicBezTo>
                  <a:pt x="601441" y="408832"/>
                  <a:pt x="596392" y="395286"/>
                  <a:pt x="586296" y="387377"/>
                </a:cubicBezTo>
                <a:cubicBezTo>
                  <a:pt x="576199" y="379468"/>
                  <a:pt x="561223" y="375514"/>
                  <a:pt x="541366" y="375514"/>
                </a:cubicBezTo>
                <a:lnTo>
                  <a:pt x="516125" y="375514"/>
                </a:lnTo>
                <a:lnTo>
                  <a:pt x="516125" y="476479"/>
                </a:lnTo>
                <a:cubicBezTo>
                  <a:pt x="519827" y="477152"/>
                  <a:pt x="524960" y="477573"/>
                  <a:pt x="531522" y="477741"/>
                </a:cubicBezTo>
                <a:cubicBezTo>
                  <a:pt x="538085" y="477909"/>
                  <a:pt x="543217" y="477993"/>
                  <a:pt x="546919" y="477993"/>
                </a:cubicBezTo>
                <a:close/>
                <a:moveTo>
                  <a:pt x="3324752" y="482537"/>
                </a:moveTo>
                <a:cubicBezTo>
                  <a:pt x="3341916" y="482537"/>
                  <a:pt x="3354958" y="473198"/>
                  <a:pt x="3363876" y="454519"/>
                </a:cubicBezTo>
                <a:cubicBezTo>
                  <a:pt x="3372794" y="435841"/>
                  <a:pt x="3377254" y="408664"/>
                  <a:pt x="3377254" y="372990"/>
                </a:cubicBezTo>
                <a:cubicBezTo>
                  <a:pt x="3377254" y="336979"/>
                  <a:pt x="3372794" y="309634"/>
                  <a:pt x="3363876" y="290956"/>
                </a:cubicBezTo>
                <a:cubicBezTo>
                  <a:pt x="3354958" y="272277"/>
                  <a:pt x="3341916" y="262938"/>
                  <a:pt x="3324752" y="262938"/>
                </a:cubicBezTo>
                <a:cubicBezTo>
                  <a:pt x="3307924" y="262938"/>
                  <a:pt x="3294968" y="272277"/>
                  <a:pt x="3285880" y="290956"/>
                </a:cubicBezTo>
                <a:cubicBezTo>
                  <a:pt x="3276794" y="309634"/>
                  <a:pt x="3272250" y="336979"/>
                  <a:pt x="3272250" y="372990"/>
                </a:cubicBezTo>
                <a:cubicBezTo>
                  <a:pt x="3272250" y="408664"/>
                  <a:pt x="3276794" y="435841"/>
                  <a:pt x="3285880" y="454519"/>
                </a:cubicBezTo>
                <a:cubicBezTo>
                  <a:pt x="3294968" y="473198"/>
                  <a:pt x="3307924" y="482537"/>
                  <a:pt x="3324752" y="482537"/>
                </a:cubicBezTo>
                <a:close/>
                <a:moveTo>
                  <a:pt x="1323054" y="522923"/>
                </a:moveTo>
                <a:lnTo>
                  <a:pt x="1260961" y="512826"/>
                </a:lnTo>
                <a:lnTo>
                  <a:pt x="1260961" y="453257"/>
                </a:lnTo>
                <a:lnTo>
                  <a:pt x="1206945" y="453257"/>
                </a:lnTo>
                <a:lnTo>
                  <a:pt x="1206945" y="401765"/>
                </a:lnTo>
                <a:lnTo>
                  <a:pt x="1260961" y="401765"/>
                </a:lnTo>
                <a:lnTo>
                  <a:pt x="1260961" y="304334"/>
                </a:lnTo>
                <a:cubicBezTo>
                  <a:pt x="1260961" y="284477"/>
                  <a:pt x="1262980" y="268407"/>
                  <a:pt x="1267019" y="256123"/>
                </a:cubicBezTo>
                <a:cubicBezTo>
                  <a:pt x="1271057" y="243839"/>
                  <a:pt x="1276947" y="234331"/>
                  <a:pt x="1284688" y="227600"/>
                </a:cubicBezTo>
                <a:cubicBezTo>
                  <a:pt x="1292428" y="220869"/>
                  <a:pt x="1301852" y="216326"/>
                  <a:pt x="1312958" y="213970"/>
                </a:cubicBezTo>
                <a:cubicBezTo>
                  <a:pt x="1324064" y="211614"/>
                  <a:pt x="1336853" y="210436"/>
                  <a:pt x="1351325" y="210436"/>
                </a:cubicBezTo>
                <a:cubicBezTo>
                  <a:pt x="1363777" y="210436"/>
                  <a:pt x="1376650" y="211446"/>
                  <a:pt x="1389944" y="213465"/>
                </a:cubicBezTo>
                <a:cubicBezTo>
                  <a:pt x="1403238" y="215484"/>
                  <a:pt x="1415606" y="218850"/>
                  <a:pt x="1427048" y="223562"/>
                </a:cubicBezTo>
                <a:lnTo>
                  <a:pt x="1418466" y="277073"/>
                </a:lnTo>
                <a:cubicBezTo>
                  <a:pt x="1412745" y="274381"/>
                  <a:pt x="1407444" y="272193"/>
                  <a:pt x="1402564" y="270510"/>
                </a:cubicBezTo>
                <a:cubicBezTo>
                  <a:pt x="1397684" y="268828"/>
                  <a:pt x="1392973" y="267566"/>
                  <a:pt x="1388429" y="266724"/>
                </a:cubicBezTo>
                <a:cubicBezTo>
                  <a:pt x="1383886" y="265883"/>
                  <a:pt x="1379174" y="265294"/>
                  <a:pt x="1374294" y="264957"/>
                </a:cubicBezTo>
                <a:cubicBezTo>
                  <a:pt x="1369414" y="264621"/>
                  <a:pt x="1364114" y="264452"/>
                  <a:pt x="1358392" y="264452"/>
                </a:cubicBezTo>
                <a:cubicBezTo>
                  <a:pt x="1353007" y="264452"/>
                  <a:pt x="1348127" y="264957"/>
                  <a:pt x="1343752" y="265967"/>
                </a:cubicBezTo>
                <a:cubicBezTo>
                  <a:pt x="1339377" y="266977"/>
                  <a:pt x="1335675" y="268996"/>
                  <a:pt x="1332646" y="272025"/>
                </a:cubicBezTo>
                <a:cubicBezTo>
                  <a:pt x="1329617" y="275054"/>
                  <a:pt x="1327261" y="279261"/>
                  <a:pt x="1325579" y="284645"/>
                </a:cubicBezTo>
                <a:cubicBezTo>
                  <a:pt x="1323896" y="290030"/>
                  <a:pt x="1323054" y="297098"/>
                  <a:pt x="1323054" y="305848"/>
                </a:cubicBezTo>
                <a:lnTo>
                  <a:pt x="1323054" y="401765"/>
                </a:lnTo>
                <a:lnTo>
                  <a:pt x="1422505" y="401765"/>
                </a:lnTo>
                <a:lnTo>
                  <a:pt x="1422505" y="453257"/>
                </a:lnTo>
                <a:lnTo>
                  <a:pt x="1323054" y="453257"/>
                </a:lnTo>
                <a:close/>
                <a:moveTo>
                  <a:pt x="539852" y="532010"/>
                </a:moveTo>
                <a:cubicBezTo>
                  <a:pt x="534131" y="532010"/>
                  <a:pt x="527568" y="531841"/>
                  <a:pt x="520164" y="531505"/>
                </a:cubicBezTo>
                <a:cubicBezTo>
                  <a:pt x="512760" y="531168"/>
                  <a:pt x="505187" y="530748"/>
                  <a:pt x="497447" y="530243"/>
                </a:cubicBezTo>
                <a:cubicBezTo>
                  <a:pt x="489706" y="529738"/>
                  <a:pt x="482049" y="528981"/>
                  <a:pt x="474477" y="527971"/>
                </a:cubicBezTo>
                <a:cubicBezTo>
                  <a:pt x="466905" y="526961"/>
                  <a:pt x="460090" y="525784"/>
                  <a:pt x="454032" y="524437"/>
                </a:cubicBezTo>
                <a:lnTo>
                  <a:pt x="454032" y="215989"/>
                </a:lnTo>
                <a:lnTo>
                  <a:pt x="516125" y="215989"/>
                </a:lnTo>
                <a:lnTo>
                  <a:pt x="516125" y="321498"/>
                </a:lnTo>
                <a:lnTo>
                  <a:pt x="538337" y="321498"/>
                </a:lnTo>
                <a:cubicBezTo>
                  <a:pt x="578723" y="321498"/>
                  <a:pt x="609938" y="329827"/>
                  <a:pt x="631982" y="346486"/>
                </a:cubicBezTo>
                <a:cubicBezTo>
                  <a:pt x="654026" y="363146"/>
                  <a:pt x="665048" y="390154"/>
                  <a:pt x="665048" y="427511"/>
                </a:cubicBezTo>
                <a:cubicBezTo>
                  <a:pt x="665048" y="464531"/>
                  <a:pt x="654111" y="491203"/>
                  <a:pt x="632235" y="507526"/>
                </a:cubicBezTo>
                <a:cubicBezTo>
                  <a:pt x="610359" y="523848"/>
                  <a:pt x="579565" y="532010"/>
                  <a:pt x="539852" y="532010"/>
                </a:cubicBezTo>
                <a:close/>
                <a:moveTo>
                  <a:pt x="3816452" y="535544"/>
                </a:moveTo>
                <a:cubicBezTo>
                  <a:pt x="3797604" y="535544"/>
                  <a:pt x="3780694" y="532430"/>
                  <a:pt x="3765716" y="526204"/>
                </a:cubicBezTo>
                <a:cubicBezTo>
                  <a:pt x="3750740" y="519978"/>
                  <a:pt x="3738708" y="513836"/>
                  <a:pt x="3729622" y="507778"/>
                </a:cubicBezTo>
                <a:lnTo>
                  <a:pt x="3751834" y="462344"/>
                </a:lnTo>
                <a:cubicBezTo>
                  <a:pt x="3760248" y="468065"/>
                  <a:pt x="3770260" y="472861"/>
                  <a:pt x="3781872" y="476731"/>
                </a:cubicBezTo>
                <a:cubicBezTo>
                  <a:pt x="3793482" y="480602"/>
                  <a:pt x="3805178" y="482537"/>
                  <a:pt x="3816956" y="482537"/>
                </a:cubicBezTo>
                <a:cubicBezTo>
                  <a:pt x="3829072" y="482537"/>
                  <a:pt x="3838580" y="479255"/>
                  <a:pt x="3845480" y="472693"/>
                </a:cubicBezTo>
                <a:cubicBezTo>
                  <a:pt x="3852378" y="466130"/>
                  <a:pt x="3855828" y="457127"/>
                  <a:pt x="3855828" y="445685"/>
                </a:cubicBezTo>
                <a:cubicBezTo>
                  <a:pt x="3855828" y="437944"/>
                  <a:pt x="3854230" y="431550"/>
                  <a:pt x="3851032" y="426501"/>
                </a:cubicBezTo>
                <a:cubicBezTo>
                  <a:pt x="3847836" y="421453"/>
                  <a:pt x="3843712" y="417414"/>
                  <a:pt x="3838664" y="414385"/>
                </a:cubicBezTo>
                <a:cubicBezTo>
                  <a:pt x="3833616" y="411357"/>
                  <a:pt x="3827894" y="409169"/>
                  <a:pt x="3821500" y="407823"/>
                </a:cubicBezTo>
                <a:cubicBezTo>
                  <a:pt x="3815106" y="406477"/>
                  <a:pt x="3808712" y="405803"/>
                  <a:pt x="3802316" y="405803"/>
                </a:cubicBezTo>
                <a:lnTo>
                  <a:pt x="3779094" y="405803"/>
                </a:lnTo>
                <a:lnTo>
                  <a:pt x="3779094" y="354311"/>
                </a:lnTo>
                <a:lnTo>
                  <a:pt x="3798278" y="354311"/>
                </a:lnTo>
                <a:cubicBezTo>
                  <a:pt x="3818470" y="354311"/>
                  <a:pt x="3835130" y="351030"/>
                  <a:pt x="3848256" y="344467"/>
                </a:cubicBezTo>
                <a:cubicBezTo>
                  <a:pt x="3861380" y="337904"/>
                  <a:pt x="3867944" y="326378"/>
                  <a:pt x="3867944" y="309887"/>
                </a:cubicBezTo>
                <a:cubicBezTo>
                  <a:pt x="3867944" y="296425"/>
                  <a:pt x="3863652" y="285150"/>
                  <a:pt x="3855072" y="276063"/>
                </a:cubicBezTo>
                <a:cubicBezTo>
                  <a:pt x="3846488" y="266977"/>
                  <a:pt x="3831596" y="262433"/>
                  <a:pt x="3810394" y="262433"/>
                </a:cubicBezTo>
                <a:cubicBezTo>
                  <a:pt x="3793230" y="262433"/>
                  <a:pt x="3778506" y="264284"/>
                  <a:pt x="3766222" y="267986"/>
                </a:cubicBezTo>
                <a:cubicBezTo>
                  <a:pt x="3753938" y="271688"/>
                  <a:pt x="3743924" y="275222"/>
                  <a:pt x="3736184" y="278588"/>
                </a:cubicBezTo>
                <a:lnTo>
                  <a:pt x="3724068" y="226591"/>
                </a:lnTo>
                <a:cubicBezTo>
                  <a:pt x="3727770" y="224908"/>
                  <a:pt x="3732988" y="223057"/>
                  <a:pt x="3739718" y="221037"/>
                </a:cubicBezTo>
                <a:cubicBezTo>
                  <a:pt x="3746450" y="219018"/>
                  <a:pt x="3753770" y="217167"/>
                  <a:pt x="3761678" y="215484"/>
                </a:cubicBezTo>
                <a:cubicBezTo>
                  <a:pt x="3769588" y="213802"/>
                  <a:pt x="3777832" y="212371"/>
                  <a:pt x="3786414" y="211193"/>
                </a:cubicBezTo>
                <a:cubicBezTo>
                  <a:pt x="3794996" y="210015"/>
                  <a:pt x="3803158" y="209427"/>
                  <a:pt x="3810898" y="209427"/>
                </a:cubicBezTo>
                <a:cubicBezTo>
                  <a:pt x="3831764" y="209427"/>
                  <a:pt x="3849770" y="211867"/>
                  <a:pt x="3864916" y="216746"/>
                </a:cubicBezTo>
                <a:cubicBezTo>
                  <a:pt x="3880060" y="221626"/>
                  <a:pt x="3892512" y="228526"/>
                  <a:pt x="3902272" y="237444"/>
                </a:cubicBezTo>
                <a:cubicBezTo>
                  <a:pt x="3912032" y="246363"/>
                  <a:pt x="3919268" y="256880"/>
                  <a:pt x="3923980" y="268996"/>
                </a:cubicBezTo>
                <a:cubicBezTo>
                  <a:pt x="3928692" y="281112"/>
                  <a:pt x="3931048" y="294405"/>
                  <a:pt x="3931048" y="308877"/>
                </a:cubicBezTo>
                <a:cubicBezTo>
                  <a:pt x="3931048" y="327051"/>
                  <a:pt x="3926588" y="342700"/>
                  <a:pt x="3917668" y="355826"/>
                </a:cubicBezTo>
                <a:cubicBezTo>
                  <a:pt x="3908750" y="368951"/>
                  <a:pt x="3896214" y="378879"/>
                  <a:pt x="3880060" y="385610"/>
                </a:cubicBezTo>
                <a:cubicBezTo>
                  <a:pt x="3891840" y="391668"/>
                  <a:pt x="3901262" y="400419"/>
                  <a:pt x="3908330" y="411861"/>
                </a:cubicBezTo>
                <a:cubicBezTo>
                  <a:pt x="3915398" y="423304"/>
                  <a:pt x="3918932" y="435252"/>
                  <a:pt x="3918932" y="447704"/>
                </a:cubicBezTo>
                <a:cubicBezTo>
                  <a:pt x="3918932" y="460156"/>
                  <a:pt x="3916912" y="471767"/>
                  <a:pt x="3912874" y="482537"/>
                </a:cubicBezTo>
                <a:cubicBezTo>
                  <a:pt x="3908834" y="493306"/>
                  <a:pt x="3902608" y="502646"/>
                  <a:pt x="3894196" y="510555"/>
                </a:cubicBezTo>
                <a:cubicBezTo>
                  <a:pt x="3885780" y="518464"/>
                  <a:pt x="3875096" y="524606"/>
                  <a:pt x="3862138" y="528981"/>
                </a:cubicBezTo>
                <a:cubicBezTo>
                  <a:pt x="3849180" y="533356"/>
                  <a:pt x="3833952" y="535544"/>
                  <a:pt x="3816452" y="535544"/>
                </a:cubicBezTo>
                <a:close/>
                <a:moveTo>
                  <a:pt x="3567354" y="535544"/>
                </a:moveTo>
                <a:cubicBezTo>
                  <a:pt x="3549854" y="535544"/>
                  <a:pt x="3532268" y="532178"/>
                  <a:pt x="3514600" y="525447"/>
                </a:cubicBezTo>
                <a:cubicBezTo>
                  <a:pt x="3496930" y="518716"/>
                  <a:pt x="3481366" y="508283"/>
                  <a:pt x="3467904" y="494148"/>
                </a:cubicBezTo>
                <a:lnTo>
                  <a:pt x="3498698" y="450733"/>
                </a:lnTo>
                <a:cubicBezTo>
                  <a:pt x="3509130" y="461839"/>
                  <a:pt x="3519732" y="469748"/>
                  <a:pt x="3530502" y="474460"/>
                </a:cubicBezTo>
                <a:cubicBezTo>
                  <a:pt x="3541272" y="479171"/>
                  <a:pt x="3551536" y="481527"/>
                  <a:pt x="3561296" y="481527"/>
                </a:cubicBezTo>
                <a:cubicBezTo>
                  <a:pt x="3573076" y="481527"/>
                  <a:pt x="3582836" y="478078"/>
                  <a:pt x="3590576" y="471178"/>
                </a:cubicBezTo>
                <a:cubicBezTo>
                  <a:pt x="3598316" y="464279"/>
                  <a:pt x="3602186" y="454435"/>
                  <a:pt x="3602188" y="441646"/>
                </a:cubicBezTo>
                <a:cubicBezTo>
                  <a:pt x="3602186" y="432559"/>
                  <a:pt x="3599074" y="423641"/>
                  <a:pt x="3592848" y="414890"/>
                </a:cubicBezTo>
                <a:cubicBezTo>
                  <a:pt x="3586622" y="406140"/>
                  <a:pt x="3578712" y="397053"/>
                  <a:pt x="3569120" y="387630"/>
                </a:cubicBezTo>
                <a:cubicBezTo>
                  <a:pt x="3559528" y="378206"/>
                  <a:pt x="3549264" y="368362"/>
                  <a:pt x="3538326" y="358097"/>
                </a:cubicBezTo>
                <a:cubicBezTo>
                  <a:pt x="3527388" y="347833"/>
                  <a:pt x="3517124" y="336727"/>
                  <a:pt x="3507532" y="324779"/>
                </a:cubicBezTo>
                <a:cubicBezTo>
                  <a:pt x="3497940" y="312831"/>
                  <a:pt x="3490032" y="299790"/>
                  <a:pt x="3483806" y="285655"/>
                </a:cubicBezTo>
                <a:cubicBezTo>
                  <a:pt x="3477580" y="271520"/>
                  <a:pt x="3474466" y="256039"/>
                  <a:pt x="3474466" y="239211"/>
                </a:cubicBezTo>
                <a:cubicBezTo>
                  <a:pt x="3474466" y="237192"/>
                  <a:pt x="3474382" y="233658"/>
                  <a:pt x="3474214" y="228610"/>
                </a:cubicBezTo>
                <a:cubicBezTo>
                  <a:pt x="3474046" y="223562"/>
                  <a:pt x="3474466" y="219355"/>
                  <a:pt x="3475476" y="215989"/>
                </a:cubicBezTo>
                <a:lnTo>
                  <a:pt x="3679426" y="215989"/>
                </a:lnTo>
                <a:lnTo>
                  <a:pt x="3679426" y="267481"/>
                </a:lnTo>
                <a:lnTo>
                  <a:pt x="3545142" y="267481"/>
                </a:lnTo>
                <a:cubicBezTo>
                  <a:pt x="3545142" y="272530"/>
                  <a:pt x="3546908" y="278083"/>
                  <a:pt x="3550442" y="284141"/>
                </a:cubicBezTo>
                <a:cubicBezTo>
                  <a:pt x="3553976" y="290198"/>
                  <a:pt x="3558268" y="296172"/>
                  <a:pt x="3563316" y="302062"/>
                </a:cubicBezTo>
                <a:cubicBezTo>
                  <a:pt x="3568364" y="307952"/>
                  <a:pt x="3573748" y="313673"/>
                  <a:pt x="3579470" y="319226"/>
                </a:cubicBezTo>
                <a:cubicBezTo>
                  <a:pt x="3585190" y="324779"/>
                  <a:pt x="3590240" y="329575"/>
                  <a:pt x="3594614" y="333613"/>
                </a:cubicBezTo>
                <a:cubicBezTo>
                  <a:pt x="3603364" y="341691"/>
                  <a:pt x="3611946" y="350104"/>
                  <a:pt x="3620360" y="358855"/>
                </a:cubicBezTo>
                <a:cubicBezTo>
                  <a:pt x="3628774" y="367605"/>
                  <a:pt x="3636346" y="376692"/>
                  <a:pt x="3643078" y="386115"/>
                </a:cubicBezTo>
                <a:cubicBezTo>
                  <a:pt x="3649808" y="395539"/>
                  <a:pt x="3655194" y="405214"/>
                  <a:pt x="3659232" y="415143"/>
                </a:cubicBezTo>
                <a:cubicBezTo>
                  <a:pt x="3663270" y="425071"/>
                  <a:pt x="3665290" y="435420"/>
                  <a:pt x="3665290" y="446189"/>
                </a:cubicBezTo>
                <a:cubicBezTo>
                  <a:pt x="3665290" y="460998"/>
                  <a:pt x="3662598" y="474039"/>
                  <a:pt x="3657212" y="485313"/>
                </a:cubicBezTo>
                <a:cubicBezTo>
                  <a:pt x="3651828" y="496588"/>
                  <a:pt x="3644592" y="505927"/>
                  <a:pt x="3635506" y="513331"/>
                </a:cubicBezTo>
                <a:cubicBezTo>
                  <a:pt x="3626418" y="520735"/>
                  <a:pt x="3615986" y="526288"/>
                  <a:pt x="3604206" y="529990"/>
                </a:cubicBezTo>
                <a:cubicBezTo>
                  <a:pt x="3592426" y="533692"/>
                  <a:pt x="3580142" y="535544"/>
                  <a:pt x="3567354" y="535544"/>
                </a:cubicBezTo>
                <a:close/>
                <a:moveTo>
                  <a:pt x="3324752" y="535544"/>
                </a:moveTo>
                <a:cubicBezTo>
                  <a:pt x="3290088" y="535544"/>
                  <a:pt x="3263332" y="522081"/>
                  <a:pt x="3244486" y="495157"/>
                </a:cubicBezTo>
                <a:cubicBezTo>
                  <a:pt x="3225638" y="468233"/>
                  <a:pt x="3216214" y="427511"/>
                  <a:pt x="3216214" y="372990"/>
                </a:cubicBezTo>
                <a:cubicBezTo>
                  <a:pt x="3216214" y="317796"/>
                  <a:pt x="3225470" y="276737"/>
                  <a:pt x="3243980" y="249813"/>
                </a:cubicBezTo>
                <a:cubicBezTo>
                  <a:pt x="3262490" y="222889"/>
                  <a:pt x="3289414" y="209427"/>
                  <a:pt x="3324752" y="209427"/>
                </a:cubicBezTo>
                <a:cubicBezTo>
                  <a:pt x="3360090" y="209427"/>
                  <a:pt x="3387014" y="222889"/>
                  <a:pt x="3405524" y="249813"/>
                </a:cubicBezTo>
                <a:cubicBezTo>
                  <a:pt x="3424034" y="276737"/>
                  <a:pt x="3433290" y="317796"/>
                  <a:pt x="3433290" y="372990"/>
                </a:cubicBezTo>
                <a:cubicBezTo>
                  <a:pt x="3433290" y="427847"/>
                  <a:pt x="3424034" y="468654"/>
                  <a:pt x="3405524" y="495410"/>
                </a:cubicBezTo>
                <a:cubicBezTo>
                  <a:pt x="3387014" y="522166"/>
                  <a:pt x="3360090" y="535544"/>
                  <a:pt x="3324752" y="535544"/>
                </a:cubicBezTo>
                <a:close/>
                <a:moveTo>
                  <a:pt x="3062528" y="535544"/>
                </a:moveTo>
                <a:cubicBezTo>
                  <a:pt x="3045028" y="535544"/>
                  <a:pt x="3027444" y="532178"/>
                  <a:pt x="3009774" y="525447"/>
                </a:cubicBezTo>
                <a:cubicBezTo>
                  <a:pt x="2992106" y="518716"/>
                  <a:pt x="2976540" y="508283"/>
                  <a:pt x="2963078" y="494148"/>
                </a:cubicBezTo>
                <a:lnTo>
                  <a:pt x="2993872" y="450733"/>
                </a:lnTo>
                <a:cubicBezTo>
                  <a:pt x="3004306" y="461839"/>
                  <a:pt x="3014908" y="469748"/>
                  <a:pt x="3025676" y="474460"/>
                </a:cubicBezTo>
                <a:cubicBezTo>
                  <a:pt x="3036446" y="479171"/>
                  <a:pt x="3046712" y="481527"/>
                  <a:pt x="3056472" y="481527"/>
                </a:cubicBezTo>
                <a:cubicBezTo>
                  <a:pt x="3068250" y="481527"/>
                  <a:pt x="3078010" y="478078"/>
                  <a:pt x="3085752" y="471178"/>
                </a:cubicBezTo>
                <a:cubicBezTo>
                  <a:pt x="3093492" y="464279"/>
                  <a:pt x="3097362" y="454435"/>
                  <a:pt x="3097362" y="441646"/>
                </a:cubicBezTo>
                <a:cubicBezTo>
                  <a:pt x="3097362" y="432559"/>
                  <a:pt x="3094248" y="423641"/>
                  <a:pt x="3088022" y="414890"/>
                </a:cubicBezTo>
                <a:cubicBezTo>
                  <a:pt x="3081796" y="406140"/>
                  <a:pt x="3073888" y="397053"/>
                  <a:pt x="3064296" y="387630"/>
                </a:cubicBezTo>
                <a:cubicBezTo>
                  <a:pt x="3054704" y="378206"/>
                  <a:pt x="3044440" y="368362"/>
                  <a:pt x="3033502" y="358097"/>
                </a:cubicBezTo>
                <a:cubicBezTo>
                  <a:pt x="3022564" y="347833"/>
                  <a:pt x="3012298" y="336727"/>
                  <a:pt x="3002708" y="324779"/>
                </a:cubicBezTo>
                <a:cubicBezTo>
                  <a:pt x="2993116" y="312831"/>
                  <a:pt x="2985206" y="299790"/>
                  <a:pt x="2978980" y="285655"/>
                </a:cubicBezTo>
                <a:cubicBezTo>
                  <a:pt x="2972754" y="271520"/>
                  <a:pt x="2969642" y="256039"/>
                  <a:pt x="2969642" y="239211"/>
                </a:cubicBezTo>
                <a:cubicBezTo>
                  <a:pt x="2969642" y="237192"/>
                  <a:pt x="2969558" y="233658"/>
                  <a:pt x="2969388" y="228610"/>
                </a:cubicBezTo>
                <a:cubicBezTo>
                  <a:pt x="2969220" y="223562"/>
                  <a:pt x="2969640" y="219355"/>
                  <a:pt x="2970650" y="215989"/>
                </a:cubicBezTo>
                <a:lnTo>
                  <a:pt x="3174600" y="215989"/>
                </a:lnTo>
                <a:lnTo>
                  <a:pt x="3174600" y="267481"/>
                </a:lnTo>
                <a:lnTo>
                  <a:pt x="3040316" y="267481"/>
                </a:lnTo>
                <a:cubicBezTo>
                  <a:pt x="3040316" y="272530"/>
                  <a:pt x="3042084" y="278083"/>
                  <a:pt x="3045618" y="284141"/>
                </a:cubicBezTo>
                <a:cubicBezTo>
                  <a:pt x="3049152" y="290198"/>
                  <a:pt x="3053442" y="296172"/>
                  <a:pt x="3058490" y="302062"/>
                </a:cubicBezTo>
                <a:cubicBezTo>
                  <a:pt x="3063538" y="307952"/>
                  <a:pt x="3068924" y="313673"/>
                  <a:pt x="3074644" y="319226"/>
                </a:cubicBezTo>
                <a:cubicBezTo>
                  <a:pt x="3080366" y="324779"/>
                  <a:pt x="3085414" y="329575"/>
                  <a:pt x="3089790" y="333613"/>
                </a:cubicBezTo>
                <a:cubicBezTo>
                  <a:pt x="3098540" y="341691"/>
                  <a:pt x="3107122" y="350104"/>
                  <a:pt x="3115536" y="358855"/>
                </a:cubicBezTo>
                <a:cubicBezTo>
                  <a:pt x="3123950" y="367605"/>
                  <a:pt x="3131522" y="376692"/>
                  <a:pt x="3138252" y="386115"/>
                </a:cubicBezTo>
                <a:cubicBezTo>
                  <a:pt x="3144984" y="395539"/>
                  <a:pt x="3150368" y="405214"/>
                  <a:pt x="3154408" y="415143"/>
                </a:cubicBezTo>
                <a:cubicBezTo>
                  <a:pt x="3158446" y="425071"/>
                  <a:pt x="3160464" y="435420"/>
                  <a:pt x="3160464" y="446189"/>
                </a:cubicBezTo>
                <a:cubicBezTo>
                  <a:pt x="3160464" y="460998"/>
                  <a:pt x="3157772" y="474039"/>
                  <a:pt x="3152388" y="485313"/>
                </a:cubicBezTo>
                <a:cubicBezTo>
                  <a:pt x="3147002" y="496588"/>
                  <a:pt x="3139766" y="505927"/>
                  <a:pt x="3130680" y="513331"/>
                </a:cubicBezTo>
                <a:cubicBezTo>
                  <a:pt x="3121594" y="520735"/>
                  <a:pt x="3111160" y="526288"/>
                  <a:pt x="3099382" y="529990"/>
                </a:cubicBezTo>
                <a:cubicBezTo>
                  <a:pt x="3087602" y="533692"/>
                  <a:pt x="3075318" y="535544"/>
                  <a:pt x="3062528" y="535544"/>
                </a:cubicBezTo>
                <a:close/>
                <a:moveTo>
                  <a:pt x="2292890" y="561290"/>
                </a:moveTo>
                <a:cubicBezTo>
                  <a:pt x="2282120" y="561290"/>
                  <a:pt x="2272949" y="557756"/>
                  <a:pt x="2265377" y="550688"/>
                </a:cubicBezTo>
                <a:cubicBezTo>
                  <a:pt x="2257805" y="543621"/>
                  <a:pt x="2254018" y="533861"/>
                  <a:pt x="2254018" y="521408"/>
                </a:cubicBezTo>
                <a:cubicBezTo>
                  <a:pt x="2254018" y="509293"/>
                  <a:pt x="2257805" y="499701"/>
                  <a:pt x="2265377" y="492633"/>
                </a:cubicBezTo>
                <a:cubicBezTo>
                  <a:pt x="2272949" y="485566"/>
                  <a:pt x="2282120" y="482032"/>
                  <a:pt x="2292890" y="482032"/>
                </a:cubicBezTo>
                <a:cubicBezTo>
                  <a:pt x="2303660" y="482032"/>
                  <a:pt x="2312914" y="485566"/>
                  <a:pt x="2320655" y="492633"/>
                </a:cubicBezTo>
                <a:cubicBezTo>
                  <a:pt x="2328396" y="499701"/>
                  <a:pt x="2332266" y="509293"/>
                  <a:pt x="2332266" y="521408"/>
                </a:cubicBezTo>
                <a:cubicBezTo>
                  <a:pt x="2332266" y="533861"/>
                  <a:pt x="2328396" y="543621"/>
                  <a:pt x="2320655" y="550688"/>
                </a:cubicBezTo>
                <a:cubicBezTo>
                  <a:pt x="2312914" y="557756"/>
                  <a:pt x="2303660" y="561290"/>
                  <a:pt x="2292890" y="561290"/>
                </a:cubicBezTo>
                <a:close/>
                <a:moveTo>
                  <a:pt x="1959420" y="563309"/>
                </a:moveTo>
                <a:lnTo>
                  <a:pt x="1959420" y="511817"/>
                </a:lnTo>
                <a:lnTo>
                  <a:pt x="2025047" y="511817"/>
                </a:lnTo>
                <a:lnTo>
                  <a:pt x="2025047" y="310392"/>
                </a:lnTo>
                <a:cubicBezTo>
                  <a:pt x="2025047" y="277746"/>
                  <a:pt x="2031610" y="252926"/>
                  <a:pt x="2044735" y="235930"/>
                </a:cubicBezTo>
                <a:cubicBezTo>
                  <a:pt x="2057860" y="218934"/>
                  <a:pt x="2078727" y="210436"/>
                  <a:pt x="2107333" y="210436"/>
                </a:cubicBezTo>
                <a:cubicBezTo>
                  <a:pt x="2117767" y="210436"/>
                  <a:pt x="2127106" y="211109"/>
                  <a:pt x="2135351" y="212455"/>
                </a:cubicBezTo>
                <a:cubicBezTo>
                  <a:pt x="2143597" y="213802"/>
                  <a:pt x="2150580" y="215400"/>
                  <a:pt x="2156302" y="217251"/>
                </a:cubicBezTo>
                <a:cubicBezTo>
                  <a:pt x="2162023" y="219102"/>
                  <a:pt x="2166650" y="220869"/>
                  <a:pt x="2170184" y="222552"/>
                </a:cubicBezTo>
                <a:cubicBezTo>
                  <a:pt x="2173718" y="224235"/>
                  <a:pt x="2175990" y="225413"/>
                  <a:pt x="2176999" y="226086"/>
                </a:cubicBezTo>
                <a:lnTo>
                  <a:pt x="2168922" y="276063"/>
                </a:lnTo>
                <a:cubicBezTo>
                  <a:pt x="2166230" y="275054"/>
                  <a:pt x="2160677" y="272866"/>
                  <a:pt x="2152263" y="269501"/>
                </a:cubicBezTo>
                <a:cubicBezTo>
                  <a:pt x="2143849" y="266135"/>
                  <a:pt x="2133416" y="264452"/>
                  <a:pt x="2120964" y="264452"/>
                </a:cubicBezTo>
                <a:cubicBezTo>
                  <a:pt x="2111204" y="264452"/>
                  <a:pt x="2103126" y="267313"/>
                  <a:pt x="2096732" y="273034"/>
                </a:cubicBezTo>
                <a:cubicBezTo>
                  <a:pt x="2090338" y="278756"/>
                  <a:pt x="2087140" y="289694"/>
                  <a:pt x="2087140" y="305848"/>
                </a:cubicBezTo>
                <a:lnTo>
                  <a:pt x="2087140" y="563309"/>
                </a:lnTo>
                <a:close/>
                <a:moveTo>
                  <a:pt x="1607052" y="565833"/>
                </a:moveTo>
                <a:cubicBezTo>
                  <a:pt x="1594263" y="565833"/>
                  <a:pt x="1581811" y="564234"/>
                  <a:pt x="1569695" y="561037"/>
                </a:cubicBezTo>
                <a:cubicBezTo>
                  <a:pt x="1557579" y="557840"/>
                  <a:pt x="1546810" y="552455"/>
                  <a:pt x="1537386" y="544883"/>
                </a:cubicBezTo>
                <a:cubicBezTo>
                  <a:pt x="1527963" y="537310"/>
                  <a:pt x="1520474" y="527214"/>
                  <a:pt x="1514921" y="514593"/>
                </a:cubicBezTo>
                <a:cubicBezTo>
                  <a:pt x="1509368" y="501973"/>
                  <a:pt x="1506592" y="486071"/>
                  <a:pt x="1506592" y="466887"/>
                </a:cubicBezTo>
                <a:lnTo>
                  <a:pt x="1506592" y="453257"/>
                </a:lnTo>
                <a:lnTo>
                  <a:pt x="1454595" y="453257"/>
                </a:lnTo>
                <a:lnTo>
                  <a:pt x="1454595" y="401765"/>
                </a:lnTo>
                <a:lnTo>
                  <a:pt x="1506592" y="401765"/>
                </a:lnTo>
                <a:lnTo>
                  <a:pt x="1506592" y="215989"/>
                </a:lnTo>
                <a:lnTo>
                  <a:pt x="1569190" y="215989"/>
                </a:lnTo>
                <a:lnTo>
                  <a:pt x="1569190" y="401765"/>
                </a:lnTo>
                <a:lnTo>
                  <a:pt x="1666621" y="401765"/>
                </a:lnTo>
                <a:lnTo>
                  <a:pt x="1666621" y="453257"/>
                </a:lnTo>
                <a:lnTo>
                  <a:pt x="1569190" y="453257"/>
                </a:lnTo>
                <a:lnTo>
                  <a:pt x="1569190" y="465878"/>
                </a:lnTo>
                <a:cubicBezTo>
                  <a:pt x="1569190" y="475974"/>
                  <a:pt x="1570368" y="484135"/>
                  <a:pt x="1572724" y="490362"/>
                </a:cubicBezTo>
                <a:cubicBezTo>
                  <a:pt x="1575080" y="496588"/>
                  <a:pt x="1578193" y="501384"/>
                  <a:pt x="1582063" y="504749"/>
                </a:cubicBezTo>
                <a:cubicBezTo>
                  <a:pt x="1585933" y="508115"/>
                  <a:pt x="1590477" y="510302"/>
                  <a:pt x="1595693" y="511312"/>
                </a:cubicBezTo>
                <a:cubicBezTo>
                  <a:pt x="1600910" y="512322"/>
                  <a:pt x="1606379" y="512826"/>
                  <a:pt x="1612100" y="512826"/>
                </a:cubicBezTo>
                <a:cubicBezTo>
                  <a:pt x="1622533" y="512826"/>
                  <a:pt x="1633555" y="511396"/>
                  <a:pt x="1645166" y="508535"/>
                </a:cubicBezTo>
                <a:cubicBezTo>
                  <a:pt x="1656777" y="505675"/>
                  <a:pt x="1666453" y="502898"/>
                  <a:pt x="1674194" y="500206"/>
                </a:cubicBezTo>
                <a:lnTo>
                  <a:pt x="1684795" y="550688"/>
                </a:lnTo>
                <a:cubicBezTo>
                  <a:pt x="1673689" y="556073"/>
                  <a:pt x="1661236" y="559943"/>
                  <a:pt x="1647438" y="562299"/>
                </a:cubicBezTo>
                <a:cubicBezTo>
                  <a:pt x="1633639" y="564655"/>
                  <a:pt x="1620178" y="565833"/>
                  <a:pt x="1607052" y="565833"/>
                </a:cubicBezTo>
                <a:close/>
                <a:moveTo>
                  <a:pt x="0" y="796029"/>
                </a:moveTo>
                <a:lnTo>
                  <a:pt x="4876802" y="796029"/>
                </a:lnTo>
                <a:lnTo>
                  <a:pt x="4824822" y="344498"/>
                </a:lnTo>
                <a:cubicBezTo>
                  <a:pt x="4801968" y="145891"/>
                  <a:pt x="4682292" y="207"/>
                  <a:pt x="4541980" y="155"/>
                </a:cubicBezTo>
                <a:lnTo>
                  <a:pt x="0" y="0"/>
                </a:lnTo>
                <a:close/>
              </a:path>
            </a:pathLst>
          </a:custGeom>
          <a:solidFill>
            <a:schemeClr val="bg1"/>
          </a:solidFill>
          <a:ln w="2834" cap="flat">
            <a:noFill/>
            <a:prstDash val="solid"/>
            <a:miter/>
          </a:ln>
        </p:spPr>
        <p:txBody>
          <a:bodyPr wrap="square" rtlCol="0" anchor="ctr">
            <a:noAutofit/>
          </a:bodyPr>
          <a:lstStyle/>
          <a:p>
            <a:endParaRPr lang="en-US" dirty="0"/>
          </a:p>
        </p:txBody>
      </p:sp>
    </p:spTree>
    <p:extLst>
      <p:ext uri="{BB962C8B-B14F-4D97-AF65-F5344CB8AC3E}">
        <p14:creationId xmlns:p14="http://schemas.microsoft.com/office/powerpoint/2010/main" val="209896091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8_Title and Content">
    <p:spTree>
      <p:nvGrpSpPr>
        <p:cNvPr id="1" name=""/>
        <p:cNvGrpSpPr/>
        <p:nvPr/>
      </p:nvGrpSpPr>
      <p:grpSpPr>
        <a:xfrm>
          <a:off x="0" y="0"/>
          <a:ext cx="0" cy="0"/>
          <a:chOff x="0" y="0"/>
          <a:chExt cx="0" cy="0"/>
        </a:xfrm>
      </p:grpSpPr>
      <p:sp>
        <p:nvSpPr>
          <p:cNvPr id="226" name="bg object 16">
            <a:extLst>
              <a:ext uri="{FF2B5EF4-FFF2-40B4-BE49-F238E27FC236}">
                <a16:creationId xmlns:a16="http://schemas.microsoft.com/office/drawing/2014/main" id="{2C70D2E3-A58A-2E37-9237-F881FE9AC974}"/>
              </a:ext>
            </a:extLst>
          </p:cNvPr>
          <p:cNvSpPr/>
          <p:nvPr userDrawn="1"/>
        </p:nvSpPr>
        <p:spPr>
          <a:xfrm>
            <a:off x="-23840" y="0"/>
            <a:ext cx="20127939" cy="11328091"/>
          </a:xfrm>
          <a:custGeom>
            <a:avLst/>
            <a:gdLst/>
            <a:ahLst/>
            <a:cxnLst/>
            <a:rect l="l" t="t" r="r" b="b"/>
            <a:pathLst>
              <a:path w="20104100" h="11308715">
                <a:moveTo>
                  <a:pt x="20104099" y="0"/>
                </a:moveTo>
                <a:lnTo>
                  <a:pt x="0" y="0"/>
                </a:lnTo>
                <a:lnTo>
                  <a:pt x="0" y="11308556"/>
                </a:lnTo>
                <a:lnTo>
                  <a:pt x="20104099" y="11308556"/>
                </a:lnTo>
                <a:lnTo>
                  <a:pt x="20104099" y="0"/>
                </a:lnTo>
                <a:close/>
              </a:path>
            </a:pathLst>
          </a:custGeom>
          <a:solidFill>
            <a:srgbClr val="12A9D8"/>
          </a:solidFill>
        </p:spPr>
        <p:txBody>
          <a:bodyPr wrap="square" lIns="0" tIns="0" rIns="0" bIns="0" rtlCol="0"/>
          <a:lstStyle/>
          <a:p>
            <a:endParaRPr/>
          </a:p>
        </p:txBody>
      </p:sp>
      <p:sp>
        <p:nvSpPr>
          <p:cNvPr id="2" name="Holder 2"/>
          <p:cNvSpPr>
            <a:spLocks noGrp="1"/>
          </p:cNvSpPr>
          <p:nvPr>
            <p:ph type="title"/>
          </p:nvPr>
        </p:nvSpPr>
        <p:spPr>
          <a:xfrm>
            <a:off x="1003191" y="618303"/>
            <a:ext cx="18607228" cy="754053"/>
          </a:xfrm>
        </p:spPr>
        <p:txBody>
          <a:bodyPr lIns="0" tIns="0" rIns="0" bIns="0"/>
          <a:lstStyle>
            <a:lvl1pPr>
              <a:defRPr sz="4900" b="0" i="0">
                <a:solidFill>
                  <a:schemeClr val="bg1"/>
                </a:solidFill>
                <a:latin typeface="Ubuntu Light"/>
                <a:cs typeface="Ubuntu Light"/>
              </a:defRPr>
            </a:lvl1pPr>
          </a:lstStyle>
          <a:p>
            <a:endParaRPr dirty="0"/>
          </a:p>
        </p:txBody>
      </p:sp>
      <p:sp>
        <p:nvSpPr>
          <p:cNvPr id="153" name="object 3">
            <a:extLst>
              <a:ext uri="{FF2B5EF4-FFF2-40B4-BE49-F238E27FC236}">
                <a16:creationId xmlns:a16="http://schemas.microsoft.com/office/drawing/2014/main" id="{A326EBF6-1D24-0046-23A9-97F52C5B3A98}"/>
              </a:ext>
            </a:extLst>
          </p:cNvPr>
          <p:cNvSpPr/>
          <p:nvPr userDrawn="1"/>
        </p:nvSpPr>
        <p:spPr>
          <a:xfrm>
            <a:off x="0" y="8698896"/>
            <a:ext cx="6692265" cy="2609850"/>
          </a:xfrm>
          <a:custGeom>
            <a:avLst/>
            <a:gdLst/>
            <a:ahLst/>
            <a:cxnLst/>
            <a:rect l="l" t="t" r="r" b="b"/>
            <a:pathLst>
              <a:path w="6692265" h="2609850">
                <a:moveTo>
                  <a:pt x="1076896" y="528345"/>
                </a:moveTo>
                <a:lnTo>
                  <a:pt x="1051318" y="485470"/>
                </a:lnTo>
                <a:lnTo>
                  <a:pt x="220433" y="19888"/>
                </a:lnTo>
                <a:lnTo>
                  <a:pt x="183095" y="4965"/>
                </a:lnTo>
                <a:lnTo>
                  <a:pt x="143738" y="0"/>
                </a:lnTo>
                <a:lnTo>
                  <a:pt x="104305" y="4965"/>
                </a:lnTo>
                <a:lnTo>
                  <a:pt x="66979" y="19888"/>
                </a:lnTo>
                <a:lnTo>
                  <a:pt x="0" y="56553"/>
                </a:lnTo>
                <a:lnTo>
                  <a:pt x="0" y="1023200"/>
                </a:lnTo>
                <a:lnTo>
                  <a:pt x="53390" y="1054328"/>
                </a:lnTo>
                <a:lnTo>
                  <a:pt x="90716" y="1069251"/>
                </a:lnTo>
                <a:lnTo>
                  <a:pt x="130111" y="1074216"/>
                </a:lnTo>
                <a:lnTo>
                  <a:pt x="169506" y="1069251"/>
                </a:lnTo>
                <a:lnTo>
                  <a:pt x="206832" y="1054328"/>
                </a:lnTo>
                <a:lnTo>
                  <a:pt x="1051318" y="571207"/>
                </a:lnTo>
                <a:lnTo>
                  <a:pt x="1070495" y="552450"/>
                </a:lnTo>
                <a:lnTo>
                  <a:pt x="1076896" y="528345"/>
                </a:lnTo>
                <a:close/>
              </a:path>
              <a:path w="6692265" h="2609850">
                <a:moveTo>
                  <a:pt x="6692227" y="1758657"/>
                </a:moveTo>
                <a:lnTo>
                  <a:pt x="6687248" y="1720088"/>
                </a:lnTo>
                <a:lnTo>
                  <a:pt x="6672326" y="1683600"/>
                </a:lnTo>
                <a:lnTo>
                  <a:pt x="6647447" y="1651292"/>
                </a:lnTo>
                <a:lnTo>
                  <a:pt x="6612610" y="1625231"/>
                </a:lnTo>
                <a:lnTo>
                  <a:pt x="4026154" y="175920"/>
                </a:lnTo>
                <a:lnTo>
                  <a:pt x="3980853" y="153631"/>
                </a:lnTo>
                <a:lnTo>
                  <a:pt x="3933914" y="136283"/>
                </a:lnTo>
                <a:lnTo>
                  <a:pt x="3885730" y="123901"/>
                </a:lnTo>
                <a:lnTo>
                  <a:pt x="3836733" y="116471"/>
                </a:lnTo>
                <a:lnTo>
                  <a:pt x="3787343" y="113995"/>
                </a:lnTo>
                <a:lnTo>
                  <a:pt x="3737902" y="116471"/>
                </a:lnTo>
                <a:lnTo>
                  <a:pt x="3688905" y="123901"/>
                </a:lnTo>
                <a:lnTo>
                  <a:pt x="3640721" y="136283"/>
                </a:lnTo>
                <a:lnTo>
                  <a:pt x="3593782" y="153631"/>
                </a:lnTo>
                <a:lnTo>
                  <a:pt x="3548481" y="175920"/>
                </a:lnTo>
                <a:lnTo>
                  <a:pt x="914069" y="1617903"/>
                </a:lnTo>
                <a:lnTo>
                  <a:pt x="879246" y="1643964"/>
                </a:lnTo>
                <a:lnTo>
                  <a:pt x="854367" y="1676273"/>
                </a:lnTo>
                <a:lnTo>
                  <a:pt x="839431" y="1712760"/>
                </a:lnTo>
                <a:lnTo>
                  <a:pt x="834466" y="1751304"/>
                </a:lnTo>
                <a:lnTo>
                  <a:pt x="839431" y="1789899"/>
                </a:lnTo>
                <a:lnTo>
                  <a:pt x="854367" y="1826387"/>
                </a:lnTo>
                <a:lnTo>
                  <a:pt x="879246" y="1858695"/>
                </a:lnTo>
                <a:lnTo>
                  <a:pt x="914069" y="1884756"/>
                </a:lnTo>
                <a:lnTo>
                  <a:pt x="2157463" y="2609659"/>
                </a:lnTo>
                <a:lnTo>
                  <a:pt x="5358320" y="2609659"/>
                </a:lnTo>
                <a:lnTo>
                  <a:pt x="6612610" y="1892084"/>
                </a:lnTo>
                <a:lnTo>
                  <a:pt x="6647447" y="1866036"/>
                </a:lnTo>
                <a:lnTo>
                  <a:pt x="6672326" y="1833714"/>
                </a:lnTo>
                <a:lnTo>
                  <a:pt x="6687248" y="1797227"/>
                </a:lnTo>
                <a:lnTo>
                  <a:pt x="6692227" y="1758657"/>
                </a:lnTo>
                <a:close/>
              </a:path>
            </a:pathLst>
          </a:custGeom>
          <a:solidFill>
            <a:srgbClr val="00ADE0">
              <a:alpha val="19999"/>
            </a:srgbClr>
          </a:solidFill>
        </p:spPr>
        <p:txBody>
          <a:bodyPr wrap="square" lIns="0" tIns="0" rIns="0" bIns="0" rtlCol="0"/>
          <a:lstStyle/>
          <a:p>
            <a:endParaRPr/>
          </a:p>
        </p:txBody>
      </p:sp>
      <p:sp>
        <p:nvSpPr>
          <p:cNvPr id="154" name="object 4">
            <a:extLst>
              <a:ext uri="{FF2B5EF4-FFF2-40B4-BE49-F238E27FC236}">
                <a16:creationId xmlns:a16="http://schemas.microsoft.com/office/drawing/2014/main" id="{68B535AE-632F-BA28-05F5-A49184199312}"/>
              </a:ext>
            </a:extLst>
          </p:cNvPr>
          <p:cNvSpPr/>
          <p:nvPr userDrawn="1"/>
        </p:nvSpPr>
        <p:spPr>
          <a:xfrm>
            <a:off x="15500745" y="0"/>
            <a:ext cx="2857500" cy="774700"/>
          </a:xfrm>
          <a:custGeom>
            <a:avLst/>
            <a:gdLst/>
            <a:ahLst/>
            <a:cxnLst/>
            <a:rect l="l" t="t" r="r" b="b"/>
            <a:pathLst>
              <a:path w="2857500" h="774700">
                <a:moveTo>
                  <a:pt x="2857272" y="0"/>
                </a:moveTo>
                <a:lnTo>
                  <a:pt x="0" y="0"/>
                </a:lnTo>
                <a:lnTo>
                  <a:pt x="1259421" y="734253"/>
                </a:lnTo>
                <a:lnTo>
                  <a:pt x="1302360" y="754220"/>
                </a:lnTo>
                <a:lnTo>
                  <a:pt x="1347275" y="767531"/>
                </a:lnTo>
                <a:lnTo>
                  <a:pt x="1393374" y="774187"/>
                </a:lnTo>
                <a:lnTo>
                  <a:pt x="1439869" y="774187"/>
                </a:lnTo>
                <a:lnTo>
                  <a:pt x="1485969" y="767531"/>
                </a:lnTo>
                <a:lnTo>
                  <a:pt x="1530886" y="754220"/>
                </a:lnTo>
                <a:lnTo>
                  <a:pt x="1573830" y="734253"/>
                </a:lnTo>
                <a:lnTo>
                  <a:pt x="2857272" y="0"/>
                </a:lnTo>
                <a:close/>
              </a:path>
            </a:pathLst>
          </a:custGeom>
          <a:solidFill>
            <a:srgbClr val="00ADE0">
              <a:alpha val="19999"/>
            </a:srgbClr>
          </a:solidFill>
        </p:spPr>
        <p:txBody>
          <a:bodyPr wrap="square" lIns="0" tIns="0" rIns="0" bIns="0" rtlCol="0"/>
          <a:lstStyle/>
          <a:p>
            <a:endParaRPr/>
          </a:p>
        </p:txBody>
      </p:sp>
      <p:sp>
        <p:nvSpPr>
          <p:cNvPr id="12" name="Marcador de pie de página 11">
            <a:extLst>
              <a:ext uri="{FF2B5EF4-FFF2-40B4-BE49-F238E27FC236}">
                <a16:creationId xmlns:a16="http://schemas.microsoft.com/office/drawing/2014/main" id="{1ACC5C5B-5E0C-897F-54C9-1D842CC0A6D9}"/>
              </a:ext>
            </a:extLst>
          </p:cNvPr>
          <p:cNvSpPr>
            <a:spLocks noGrp="1"/>
          </p:cNvSpPr>
          <p:nvPr>
            <p:ph type="ftr" sz="quarter" idx="10"/>
          </p:nvPr>
        </p:nvSpPr>
        <p:spPr>
          <a:xfrm>
            <a:off x="16376651" y="10759212"/>
            <a:ext cx="3233768" cy="238988"/>
          </a:xfrm>
          <a:prstGeom prst="rect">
            <a:avLst/>
          </a:prstGeom>
        </p:spPr>
        <p:txBody>
          <a:bodyPr/>
          <a:lstStyle>
            <a:lvl1pPr>
              <a:defRPr>
                <a:solidFill>
                  <a:schemeClr val="bg1"/>
                </a:solidFill>
              </a:defRPr>
            </a:lvl1pPr>
          </a:lstStyle>
          <a:p>
            <a:pPr marL="26034">
              <a:spcBef>
                <a:spcPts val="30"/>
              </a:spcBef>
            </a:pPr>
            <a:r>
              <a:rPr lang="es-ES" dirty="0"/>
              <a:t>Public © 2023 Sogeti. </a:t>
            </a:r>
            <a:r>
              <a:rPr lang="es-ES" dirty="0" err="1"/>
              <a:t>All</a:t>
            </a:r>
            <a:r>
              <a:rPr lang="es-ES" dirty="0"/>
              <a:t> rights </a:t>
            </a:r>
            <a:r>
              <a:rPr lang="es-ES" dirty="0" err="1"/>
              <a:t>reserved</a:t>
            </a:r>
            <a:endParaRPr lang="es-ES" spc="-10" dirty="0"/>
          </a:p>
        </p:txBody>
      </p:sp>
      <p:sp>
        <p:nvSpPr>
          <p:cNvPr id="3" name="CuadroTexto 2">
            <a:extLst>
              <a:ext uri="{FF2B5EF4-FFF2-40B4-BE49-F238E27FC236}">
                <a16:creationId xmlns:a16="http://schemas.microsoft.com/office/drawing/2014/main" id="{5F9ACFA8-4B18-AEC7-6177-1AAA87AFB4E0}"/>
              </a:ext>
            </a:extLst>
          </p:cNvPr>
          <p:cNvSpPr txBox="1"/>
          <p:nvPr userDrawn="1"/>
        </p:nvSpPr>
        <p:spPr>
          <a:xfrm>
            <a:off x="755650" y="10845800"/>
            <a:ext cx="7772400" cy="292388"/>
          </a:xfrm>
          <a:prstGeom prst="rect">
            <a:avLst/>
          </a:prstGeom>
          <a:noFill/>
        </p:spPr>
        <p:txBody>
          <a:bodyPr wrap="square" rtlCol="0">
            <a:spAutoFit/>
          </a:bodyPr>
          <a:lstStyle/>
          <a:p>
            <a:r>
              <a:rPr lang="es-ES" sz="1300" b="0" i="0" dirty="0">
                <a:solidFill>
                  <a:schemeClr val="bg1"/>
                </a:solidFill>
                <a:latin typeface="Ubuntu Medium" panose="020B0504030602030204" pitchFamily="34" charset="0"/>
              </a:rPr>
              <a:t>#FlourishingDigitalBusinessWithQuality </a:t>
            </a:r>
            <a:r>
              <a:rPr lang="es-ES" sz="1300" b="1" i="0" dirty="0">
                <a:solidFill>
                  <a:schemeClr val="bg1"/>
                </a:solidFill>
                <a:latin typeface="Ubuntu" panose="020B0504030602030204" pitchFamily="34" charset="0"/>
              </a:rPr>
              <a:t> ·</a:t>
            </a:r>
            <a:r>
              <a:rPr lang="es-ES" sz="1300" b="0" i="0" dirty="0">
                <a:solidFill>
                  <a:schemeClr val="bg1"/>
                </a:solidFill>
                <a:latin typeface="Ubuntu Medium" panose="020B0504030602030204" pitchFamily="34" charset="0"/>
              </a:rPr>
              <a:t>   </a:t>
            </a:r>
            <a:r>
              <a:rPr lang="es-ES" sz="1300" b="0" i="0" dirty="0" err="1">
                <a:solidFill>
                  <a:schemeClr val="bg1"/>
                </a:solidFill>
                <a:latin typeface="Ubuntu Medium" panose="020B0504030602030204" pitchFamily="34" charset="0"/>
              </a:rPr>
              <a:t>by</a:t>
            </a:r>
            <a:r>
              <a:rPr lang="es-ES" sz="1300" b="0" i="0" dirty="0">
                <a:solidFill>
                  <a:schemeClr val="bg1"/>
                </a:solidFill>
                <a:latin typeface="Ubuntu Medium" panose="020B0504030602030204" pitchFamily="34" charset="0"/>
              </a:rPr>
              <a:t> </a:t>
            </a:r>
            <a:r>
              <a:rPr lang="es-ES" sz="1300" b="1" i="0" dirty="0">
                <a:solidFill>
                  <a:schemeClr val="bg1"/>
                </a:solidFill>
                <a:latin typeface="Ubuntu" panose="020B0504030602030204" pitchFamily="34" charset="0"/>
              </a:rPr>
              <a:t>Sogeti España</a:t>
            </a:r>
          </a:p>
        </p:txBody>
      </p:sp>
      <p:sp>
        <p:nvSpPr>
          <p:cNvPr id="4" name="Forma libre 3">
            <a:extLst>
              <a:ext uri="{FF2B5EF4-FFF2-40B4-BE49-F238E27FC236}">
                <a16:creationId xmlns:a16="http://schemas.microsoft.com/office/drawing/2014/main" id="{F61EB3F6-11FE-4C49-631D-72DA1DAA5C8C}"/>
              </a:ext>
            </a:extLst>
          </p:cNvPr>
          <p:cNvSpPr/>
          <p:nvPr userDrawn="1"/>
        </p:nvSpPr>
        <p:spPr>
          <a:xfrm flipV="1">
            <a:off x="755650" y="10384024"/>
            <a:ext cx="2362200" cy="385576"/>
          </a:xfrm>
          <a:custGeom>
            <a:avLst/>
            <a:gdLst/>
            <a:ahLst/>
            <a:cxnLst/>
            <a:rect l="l" t="t" r="r" b="b"/>
            <a:pathLst>
              <a:path w="4876802" h="796029">
                <a:moveTo>
                  <a:pt x="2572782" y="405299"/>
                </a:moveTo>
                <a:cubicBezTo>
                  <a:pt x="2589609" y="405299"/>
                  <a:pt x="2601809" y="398820"/>
                  <a:pt x="2609382" y="385863"/>
                </a:cubicBezTo>
                <a:cubicBezTo>
                  <a:pt x="2616954" y="372906"/>
                  <a:pt x="2620740" y="355826"/>
                  <a:pt x="2620740" y="334623"/>
                </a:cubicBezTo>
                <a:cubicBezTo>
                  <a:pt x="2620740" y="313420"/>
                  <a:pt x="2616618" y="296256"/>
                  <a:pt x="2608372" y="283131"/>
                </a:cubicBezTo>
                <a:cubicBezTo>
                  <a:pt x="2600126" y="270006"/>
                  <a:pt x="2587927" y="263443"/>
                  <a:pt x="2571772" y="263443"/>
                </a:cubicBezTo>
                <a:cubicBezTo>
                  <a:pt x="2554945" y="263443"/>
                  <a:pt x="2542744" y="270006"/>
                  <a:pt x="2535172" y="283131"/>
                </a:cubicBezTo>
                <a:cubicBezTo>
                  <a:pt x="2527600" y="296256"/>
                  <a:pt x="2523814" y="313420"/>
                  <a:pt x="2523814" y="334623"/>
                </a:cubicBezTo>
                <a:cubicBezTo>
                  <a:pt x="2523814" y="355826"/>
                  <a:pt x="2527937" y="372906"/>
                  <a:pt x="2536182" y="385863"/>
                </a:cubicBezTo>
                <a:cubicBezTo>
                  <a:pt x="2544428" y="398820"/>
                  <a:pt x="2556628" y="405299"/>
                  <a:pt x="2572782" y="405299"/>
                </a:cubicBezTo>
                <a:close/>
                <a:moveTo>
                  <a:pt x="1810782" y="405299"/>
                </a:moveTo>
                <a:cubicBezTo>
                  <a:pt x="1827610" y="405299"/>
                  <a:pt x="1839810" y="398820"/>
                  <a:pt x="1847382" y="385863"/>
                </a:cubicBezTo>
                <a:cubicBezTo>
                  <a:pt x="1854954" y="372906"/>
                  <a:pt x="1858740" y="355826"/>
                  <a:pt x="1858740" y="334623"/>
                </a:cubicBezTo>
                <a:cubicBezTo>
                  <a:pt x="1858740" y="313420"/>
                  <a:pt x="1854618" y="296256"/>
                  <a:pt x="1846372" y="283131"/>
                </a:cubicBezTo>
                <a:cubicBezTo>
                  <a:pt x="1838127" y="270006"/>
                  <a:pt x="1825927" y="263443"/>
                  <a:pt x="1809772" y="263443"/>
                </a:cubicBezTo>
                <a:cubicBezTo>
                  <a:pt x="1792945" y="263443"/>
                  <a:pt x="1780745" y="270006"/>
                  <a:pt x="1773173" y="283131"/>
                </a:cubicBezTo>
                <a:cubicBezTo>
                  <a:pt x="1765600" y="296256"/>
                  <a:pt x="1761814" y="313420"/>
                  <a:pt x="1761814" y="334623"/>
                </a:cubicBezTo>
                <a:cubicBezTo>
                  <a:pt x="1761814" y="355826"/>
                  <a:pt x="1765937" y="372906"/>
                  <a:pt x="1774182" y="385863"/>
                </a:cubicBezTo>
                <a:cubicBezTo>
                  <a:pt x="1782428" y="398820"/>
                  <a:pt x="1794628" y="405299"/>
                  <a:pt x="1810782" y="405299"/>
                </a:cubicBezTo>
                <a:close/>
                <a:moveTo>
                  <a:pt x="810657" y="405299"/>
                </a:moveTo>
                <a:cubicBezTo>
                  <a:pt x="827485" y="405299"/>
                  <a:pt x="839684" y="398820"/>
                  <a:pt x="847257" y="385863"/>
                </a:cubicBezTo>
                <a:cubicBezTo>
                  <a:pt x="854829" y="372906"/>
                  <a:pt x="858615" y="355826"/>
                  <a:pt x="858616" y="334623"/>
                </a:cubicBezTo>
                <a:cubicBezTo>
                  <a:pt x="858615" y="313420"/>
                  <a:pt x="854493" y="296256"/>
                  <a:pt x="846247" y="283131"/>
                </a:cubicBezTo>
                <a:cubicBezTo>
                  <a:pt x="838002" y="270006"/>
                  <a:pt x="825802" y="263443"/>
                  <a:pt x="809647" y="263443"/>
                </a:cubicBezTo>
                <a:cubicBezTo>
                  <a:pt x="792820" y="263443"/>
                  <a:pt x="780620" y="270006"/>
                  <a:pt x="773048" y="283131"/>
                </a:cubicBezTo>
                <a:cubicBezTo>
                  <a:pt x="765475" y="296256"/>
                  <a:pt x="761689" y="313420"/>
                  <a:pt x="761689" y="334623"/>
                </a:cubicBezTo>
                <a:cubicBezTo>
                  <a:pt x="761689" y="355826"/>
                  <a:pt x="765812" y="372906"/>
                  <a:pt x="774057" y="385863"/>
                </a:cubicBezTo>
                <a:cubicBezTo>
                  <a:pt x="782303" y="398820"/>
                  <a:pt x="794503" y="405299"/>
                  <a:pt x="810657" y="405299"/>
                </a:cubicBezTo>
                <a:close/>
                <a:moveTo>
                  <a:pt x="3325256" y="411861"/>
                </a:moveTo>
                <a:cubicBezTo>
                  <a:pt x="3316506" y="411861"/>
                  <a:pt x="3309608" y="408496"/>
                  <a:pt x="3304560" y="401765"/>
                </a:cubicBezTo>
                <a:cubicBezTo>
                  <a:pt x="3299512" y="395034"/>
                  <a:pt x="3296988" y="387125"/>
                  <a:pt x="3296988" y="378038"/>
                </a:cubicBezTo>
                <a:cubicBezTo>
                  <a:pt x="3296988" y="368951"/>
                  <a:pt x="3299512" y="361126"/>
                  <a:pt x="3304560" y="354564"/>
                </a:cubicBezTo>
                <a:cubicBezTo>
                  <a:pt x="3309608" y="348001"/>
                  <a:pt x="3316506" y="344720"/>
                  <a:pt x="3325256" y="344720"/>
                </a:cubicBezTo>
                <a:cubicBezTo>
                  <a:pt x="3333334" y="344720"/>
                  <a:pt x="3339980" y="348001"/>
                  <a:pt x="3345198" y="354564"/>
                </a:cubicBezTo>
                <a:cubicBezTo>
                  <a:pt x="3350414" y="361126"/>
                  <a:pt x="3353022" y="368951"/>
                  <a:pt x="3353022" y="378038"/>
                </a:cubicBezTo>
                <a:cubicBezTo>
                  <a:pt x="3353022" y="387125"/>
                  <a:pt x="3350414" y="395034"/>
                  <a:pt x="3345198" y="401765"/>
                </a:cubicBezTo>
                <a:cubicBezTo>
                  <a:pt x="3339980" y="408496"/>
                  <a:pt x="3333334" y="411861"/>
                  <a:pt x="3325256" y="411861"/>
                </a:cubicBezTo>
                <a:close/>
                <a:moveTo>
                  <a:pt x="2207070" y="453257"/>
                </a:moveTo>
                <a:lnTo>
                  <a:pt x="2207070" y="401765"/>
                </a:lnTo>
                <a:lnTo>
                  <a:pt x="2272697" y="401765"/>
                </a:lnTo>
                <a:lnTo>
                  <a:pt x="2272697" y="314430"/>
                </a:lnTo>
                <a:cubicBezTo>
                  <a:pt x="2272697" y="297939"/>
                  <a:pt x="2274043" y="283299"/>
                  <a:pt x="2276735" y="270510"/>
                </a:cubicBezTo>
                <a:cubicBezTo>
                  <a:pt x="2279428" y="257721"/>
                  <a:pt x="2284055" y="246868"/>
                  <a:pt x="2290618" y="237949"/>
                </a:cubicBezTo>
                <a:cubicBezTo>
                  <a:pt x="2297181" y="229031"/>
                  <a:pt x="2305931" y="222215"/>
                  <a:pt x="2316869" y="217504"/>
                </a:cubicBezTo>
                <a:cubicBezTo>
                  <a:pt x="2327807" y="212792"/>
                  <a:pt x="2341353" y="210436"/>
                  <a:pt x="2357508" y="210436"/>
                </a:cubicBezTo>
                <a:cubicBezTo>
                  <a:pt x="2366931" y="210436"/>
                  <a:pt x="2377280" y="211530"/>
                  <a:pt x="2388554" y="213718"/>
                </a:cubicBezTo>
                <a:cubicBezTo>
                  <a:pt x="2399829" y="215905"/>
                  <a:pt x="2411860" y="220028"/>
                  <a:pt x="2424649" y="226086"/>
                </a:cubicBezTo>
                <a:lnTo>
                  <a:pt x="2416572" y="276063"/>
                </a:lnTo>
                <a:cubicBezTo>
                  <a:pt x="2406475" y="271352"/>
                  <a:pt x="2397388" y="268239"/>
                  <a:pt x="2389312" y="266724"/>
                </a:cubicBezTo>
                <a:cubicBezTo>
                  <a:pt x="2381234" y="265210"/>
                  <a:pt x="2374335" y="264452"/>
                  <a:pt x="2368614" y="264452"/>
                </a:cubicBezTo>
                <a:cubicBezTo>
                  <a:pt x="2356498" y="264452"/>
                  <a:pt x="2347832" y="267902"/>
                  <a:pt x="2342615" y="274801"/>
                </a:cubicBezTo>
                <a:cubicBezTo>
                  <a:pt x="2337398" y="281701"/>
                  <a:pt x="2334790" y="292218"/>
                  <a:pt x="2334790" y="306353"/>
                </a:cubicBezTo>
                <a:lnTo>
                  <a:pt x="2334790" y="453257"/>
                </a:lnTo>
                <a:close/>
                <a:moveTo>
                  <a:pt x="1088092" y="457800"/>
                </a:moveTo>
                <a:cubicBezTo>
                  <a:pt x="1064870" y="457800"/>
                  <a:pt x="1044593" y="455949"/>
                  <a:pt x="1027260" y="452247"/>
                </a:cubicBezTo>
                <a:cubicBezTo>
                  <a:pt x="1009928" y="448545"/>
                  <a:pt x="993016" y="443665"/>
                  <a:pt x="976526" y="437607"/>
                </a:cubicBezTo>
                <a:lnTo>
                  <a:pt x="976526" y="215989"/>
                </a:lnTo>
                <a:lnTo>
                  <a:pt x="1039124" y="215989"/>
                </a:lnTo>
                <a:lnTo>
                  <a:pt x="1039124" y="392173"/>
                </a:lnTo>
                <a:cubicBezTo>
                  <a:pt x="1047874" y="394529"/>
                  <a:pt x="1056456" y="396128"/>
                  <a:pt x="1064870" y="396969"/>
                </a:cubicBezTo>
                <a:cubicBezTo>
                  <a:pt x="1073284" y="397810"/>
                  <a:pt x="1081866" y="398231"/>
                  <a:pt x="1090616" y="398231"/>
                </a:cubicBezTo>
                <a:cubicBezTo>
                  <a:pt x="1094318" y="398231"/>
                  <a:pt x="1098861" y="398063"/>
                  <a:pt x="1104246" y="397726"/>
                </a:cubicBezTo>
                <a:cubicBezTo>
                  <a:pt x="1109631" y="397390"/>
                  <a:pt x="1115184" y="396801"/>
                  <a:pt x="1120905" y="395959"/>
                </a:cubicBezTo>
                <a:cubicBezTo>
                  <a:pt x="1126627" y="395118"/>
                  <a:pt x="1132264" y="394192"/>
                  <a:pt x="1137817" y="393183"/>
                </a:cubicBezTo>
                <a:cubicBezTo>
                  <a:pt x="1143370" y="392173"/>
                  <a:pt x="1148166" y="391164"/>
                  <a:pt x="1152205" y="390154"/>
                </a:cubicBezTo>
                <a:lnTo>
                  <a:pt x="1163311" y="447704"/>
                </a:lnTo>
                <a:cubicBezTo>
                  <a:pt x="1157589" y="449723"/>
                  <a:pt x="1151111" y="451322"/>
                  <a:pt x="1143875" y="452500"/>
                </a:cubicBezTo>
                <a:cubicBezTo>
                  <a:pt x="1136639" y="453678"/>
                  <a:pt x="1129487" y="454687"/>
                  <a:pt x="1122420" y="455529"/>
                </a:cubicBezTo>
                <a:cubicBezTo>
                  <a:pt x="1115352" y="456370"/>
                  <a:pt x="1108706" y="456959"/>
                  <a:pt x="1102479" y="457296"/>
                </a:cubicBezTo>
                <a:cubicBezTo>
                  <a:pt x="1096253" y="457632"/>
                  <a:pt x="1091457" y="457800"/>
                  <a:pt x="1088092" y="457800"/>
                </a:cubicBezTo>
                <a:close/>
                <a:moveTo>
                  <a:pt x="2572782" y="459315"/>
                </a:moveTo>
                <a:cubicBezTo>
                  <a:pt x="2556628" y="459315"/>
                  <a:pt x="2541651" y="456370"/>
                  <a:pt x="2527852" y="450480"/>
                </a:cubicBezTo>
                <a:cubicBezTo>
                  <a:pt x="2514054" y="444591"/>
                  <a:pt x="2502190" y="436177"/>
                  <a:pt x="2492262" y="425239"/>
                </a:cubicBezTo>
                <a:cubicBezTo>
                  <a:pt x="2482334" y="414301"/>
                  <a:pt x="2474594" y="401176"/>
                  <a:pt x="2469040" y="385863"/>
                </a:cubicBezTo>
                <a:cubicBezTo>
                  <a:pt x="2463487" y="370550"/>
                  <a:pt x="2460711" y="353638"/>
                  <a:pt x="2460711" y="335128"/>
                </a:cubicBezTo>
                <a:cubicBezTo>
                  <a:pt x="2460711" y="316281"/>
                  <a:pt x="2463403" y="299201"/>
                  <a:pt x="2468788" y="283888"/>
                </a:cubicBezTo>
                <a:cubicBezTo>
                  <a:pt x="2474173" y="268575"/>
                  <a:pt x="2481829" y="255366"/>
                  <a:pt x="2491758" y="244259"/>
                </a:cubicBezTo>
                <a:cubicBezTo>
                  <a:pt x="2501686" y="233153"/>
                  <a:pt x="2513465" y="224571"/>
                  <a:pt x="2527095" y="218513"/>
                </a:cubicBezTo>
                <a:cubicBezTo>
                  <a:pt x="2540726" y="212455"/>
                  <a:pt x="2555954" y="209427"/>
                  <a:pt x="2572782" y="209427"/>
                </a:cubicBezTo>
                <a:cubicBezTo>
                  <a:pt x="2589609" y="209427"/>
                  <a:pt x="2604838" y="212455"/>
                  <a:pt x="2618468" y="218513"/>
                </a:cubicBezTo>
                <a:cubicBezTo>
                  <a:pt x="2632098" y="224571"/>
                  <a:pt x="2643794" y="233153"/>
                  <a:pt x="2653554" y="244259"/>
                </a:cubicBezTo>
                <a:cubicBezTo>
                  <a:pt x="2663314" y="255366"/>
                  <a:pt x="2670886" y="268575"/>
                  <a:pt x="2676271" y="283888"/>
                </a:cubicBezTo>
                <a:cubicBezTo>
                  <a:pt x="2681656" y="299201"/>
                  <a:pt x="2684348" y="316281"/>
                  <a:pt x="2684348" y="335128"/>
                </a:cubicBezTo>
                <a:cubicBezTo>
                  <a:pt x="2684348" y="353638"/>
                  <a:pt x="2681656" y="370550"/>
                  <a:pt x="2676271" y="385863"/>
                </a:cubicBezTo>
                <a:cubicBezTo>
                  <a:pt x="2670886" y="401176"/>
                  <a:pt x="2663230" y="414301"/>
                  <a:pt x="2653302" y="425239"/>
                </a:cubicBezTo>
                <a:cubicBezTo>
                  <a:pt x="2643373" y="436177"/>
                  <a:pt x="2631594" y="444591"/>
                  <a:pt x="2617964" y="450480"/>
                </a:cubicBezTo>
                <a:cubicBezTo>
                  <a:pt x="2604334" y="456370"/>
                  <a:pt x="2589273" y="459315"/>
                  <a:pt x="2572782" y="459315"/>
                </a:cubicBezTo>
                <a:close/>
                <a:moveTo>
                  <a:pt x="1810782" y="459315"/>
                </a:moveTo>
                <a:cubicBezTo>
                  <a:pt x="1794628" y="459315"/>
                  <a:pt x="1779651" y="456370"/>
                  <a:pt x="1765853" y="450480"/>
                </a:cubicBezTo>
                <a:cubicBezTo>
                  <a:pt x="1752054" y="444591"/>
                  <a:pt x="1740191" y="436177"/>
                  <a:pt x="1730262" y="425239"/>
                </a:cubicBezTo>
                <a:cubicBezTo>
                  <a:pt x="1720334" y="414301"/>
                  <a:pt x="1712594" y="401176"/>
                  <a:pt x="1707040" y="385863"/>
                </a:cubicBezTo>
                <a:cubicBezTo>
                  <a:pt x="1701488" y="370550"/>
                  <a:pt x="1698711" y="353638"/>
                  <a:pt x="1698711" y="335128"/>
                </a:cubicBezTo>
                <a:cubicBezTo>
                  <a:pt x="1698711" y="316281"/>
                  <a:pt x="1701403" y="299201"/>
                  <a:pt x="1706788" y="283888"/>
                </a:cubicBezTo>
                <a:cubicBezTo>
                  <a:pt x="1712173" y="268575"/>
                  <a:pt x="1719829" y="255366"/>
                  <a:pt x="1729758" y="244259"/>
                </a:cubicBezTo>
                <a:cubicBezTo>
                  <a:pt x="1739686" y="233153"/>
                  <a:pt x="1751465" y="224571"/>
                  <a:pt x="1765095" y="218513"/>
                </a:cubicBezTo>
                <a:cubicBezTo>
                  <a:pt x="1778726" y="212455"/>
                  <a:pt x="1793954" y="209427"/>
                  <a:pt x="1810782" y="209427"/>
                </a:cubicBezTo>
                <a:cubicBezTo>
                  <a:pt x="1827610" y="209427"/>
                  <a:pt x="1842838" y="212455"/>
                  <a:pt x="1856469" y="218513"/>
                </a:cubicBezTo>
                <a:cubicBezTo>
                  <a:pt x="1870099" y="224571"/>
                  <a:pt x="1881794" y="233153"/>
                  <a:pt x="1891554" y="244259"/>
                </a:cubicBezTo>
                <a:cubicBezTo>
                  <a:pt x="1901314" y="255366"/>
                  <a:pt x="1908886" y="268575"/>
                  <a:pt x="1914271" y="283888"/>
                </a:cubicBezTo>
                <a:cubicBezTo>
                  <a:pt x="1919656" y="299201"/>
                  <a:pt x="1922348" y="316281"/>
                  <a:pt x="1922348" y="335128"/>
                </a:cubicBezTo>
                <a:cubicBezTo>
                  <a:pt x="1922348" y="353638"/>
                  <a:pt x="1919656" y="370550"/>
                  <a:pt x="1914271" y="385863"/>
                </a:cubicBezTo>
                <a:cubicBezTo>
                  <a:pt x="1908886" y="401176"/>
                  <a:pt x="1901230" y="414301"/>
                  <a:pt x="1891302" y="425239"/>
                </a:cubicBezTo>
                <a:cubicBezTo>
                  <a:pt x="1881374" y="436177"/>
                  <a:pt x="1869594" y="444591"/>
                  <a:pt x="1855964" y="450480"/>
                </a:cubicBezTo>
                <a:cubicBezTo>
                  <a:pt x="1842334" y="456370"/>
                  <a:pt x="1827273" y="459315"/>
                  <a:pt x="1810782" y="459315"/>
                </a:cubicBezTo>
                <a:close/>
                <a:moveTo>
                  <a:pt x="810657" y="459315"/>
                </a:moveTo>
                <a:cubicBezTo>
                  <a:pt x="794503" y="459315"/>
                  <a:pt x="779526" y="456370"/>
                  <a:pt x="765728" y="450480"/>
                </a:cubicBezTo>
                <a:cubicBezTo>
                  <a:pt x="751929" y="444591"/>
                  <a:pt x="740066" y="436177"/>
                  <a:pt x="730138" y="425239"/>
                </a:cubicBezTo>
                <a:cubicBezTo>
                  <a:pt x="720209" y="414301"/>
                  <a:pt x="712469" y="401176"/>
                  <a:pt x="706916" y="385863"/>
                </a:cubicBezTo>
                <a:cubicBezTo>
                  <a:pt x="701362" y="370550"/>
                  <a:pt x="698586" y="353638"/>
                  <a:pt x="698586" y="335128"/>
                </a:cubicBezTo>
                <a:cubicBezTo>
                  <a:pt x="698586" y="316281"/>
                  <a:pt x="701278" y="299201"/>
                  <a:pt x="706663" y="283888"/>
                </a:cubicBezTo>
                <a:cubicBezTo>
                  <a:pt x="712048" y="268575"/>
                  <a:pt x="719704" y="255366"/>
                  <a:pt x="729633" y="244259"/>
                </a:cubicBezTo>
                <a:cubicBezTo>
                  <a:pt x="739561" y="233153"/>
                  <a:pt x="751340" y="224571"/>
                  <a:pt x="764970" y="218513"/>
                </a:cubicBezTo>
                <a:cubicBezTo>
                  <a:pt x="778601" y="212455"/>
                  <a:pt x="793830" y="209427"/>
                  <a:pt x="810657" y="209427"/>
                </a:cubicBezTo>
                <a:cubicBezTo>
                  <a:pt x="827485" y="209427"/>
                  <a:pt x="842713" y="212455"/>
                  <a:pt x="856344" y="218513"/>
                </a:cubicBezTo>
                <a:cubicBezTo>
                  <a:pt x="869974" y="224571"/>
                  <a:pt x="881669" y="233153"/>
                  <a:pt x="891429" y="244259"/>
                </a:cubicBezTo>
                <a:cubicBezTo>
                  <a:pt x="901189" y="255366"/>
                  <a:pt x="908761" y="268575"/>
                  <a:pt x="914146" y="283888"/>
                </a:cubicBezTo>
                <a:cubicBezTo>
                  <a:pt x="919531" y="299201"/>
                  <a:pt x="922223" y="316281"/>
                  <a:pt x="922223" y="335128"/>
                </a:cubicBezTo>
                <a:cubicBezTo>
                  <a:pt x="922223" y="353638"/>
                  <a:pt x="919531" y="370550"/>
                  <a:pt x="914146" y="385863"/>
                </a:cubicBezTo>
                <a:cubicBezTo>
                  <a:pt x="908761" y="401176"/>
                  <a:pt x="901105" y="414301"/>
                  <a:pt x="891177" y="425239"/>
                </a:cubicBezTo>
                <a:cubicBezTo>
                  <a:pt x="881248" y="436177"/>
                  <a:pt x="869469" y="444591"/>
                  <a:pt x="855839" y="450480"/>
                </a:cubicBezTo>
                <a:cubicBezTo>
                  <a:pt x="842209" y="456370"/>
                  <a:pt x="827148" y="459315"/>
                  <a:pt x="810657" y="459315"/>
                </a:cubicBezTo>
                <a:close/>
                <a:moveTo>
                  <a:pt x="546919" y="477993"/>
                </a:moveTo>
                <a:cubicBezTo>
                  <a:pt x="563410" y="477993"/>
                  <a:pt x="576620" y="474207"/>
                  <a:pt x="586548" y="466635"/>
                </a:cubicBezTo>
                <a:cubicBezTo>
                  <a:pt x="596476" y="459062"/>
                  <a:pt x="601441" y="446189"/>
                  <a:pt x="601441" y="428016"/>
                </a:cubicBezTo>
                <a:cubicBezTo>
                  <a:pt x="601441" y="408832"/>
                  <a:pt x="596392" y="395286"/>
                  <a:pt x="586296" y="387377"/>
                </a:cubicBezTo>
                <a:cubicBezTo>
                  <a:pt x="576199" y="379468"/>
                  <a:pt x="561223" y="375514"/>
                  <a:pt x="541366" y="375514"/>
                </a:cubicBezTo>
                <a:lnTo>
                  <a:pt x="516125" y="375514"/>
                </a:lnTo>
                <a:lnTo>
                  <a:pt x="516125" y="476479"/>
                </a:lnTo>
                <a:cubicBezTo>
                  <a:pt x="519827" y="477152"/>
                  <a:pt x="524960" y="477573"/>
                  <a:pt x="531522" y="477741"/>
                </a:cubicBezTo>
                <a:cubicBezTo>
                  <a:pt x="538085" y="477909"/>
                  <a:pt x="543217" y="477993"/>
                  <a:pt x="546919" y="477993"/>
                </a:cubicBezTo>
                <a:close/>
                <a:moveTo>
                  <a:pt x="3324752" y="482537"/>
                </a:moveTo>
                <a:cubicBezTo>
                  <a:pt x="3341916" y="482537"/>
                  <a:pt x="3354958" y="473198"/>
                  <a:pt x="3363876" y="454519"/>
                </a:cubicBezTo>
                <a:cubicBezTo>
                  <a:pt x="3372794" y="435841"/>
                  <a:pt x="3377254" y="408664"/>
                  <a:pt x="3377254" y="372990"/>
                </a:cubicBezTo>
                <a:cubicBezTo>
                  <a:pt x="3377254" y="336979"/>
                  <a:pt x="3372794" y="309634"/>
                  <a:pt x="3363876" y="290956"/>
                </a:cubicBezTo>
                <a:cubicBezTo>
                  <a:pt x="3354958" y="272277"/>
                  <a:pt x="3341916" y="262938"/>
                  <a:pt x="3324752" y="262938"/>
                </a:cubicBezTo>
                <a:cubicBezTo>
                  <a:pt x="3307924" y="262938"/>
                  <a:pt x="3294968" y="272277"/>
                  <a:pt x="3285880" y="290956"/>
                </a:cubicBezTo>
                <a:cubicBezTo>
                  <a:pt x="3276794" y="309634"/>
                  <a:pt x="3272250" y="336979"/>
                  <a:pt x="3272250" y="372990"/>
                </a:cubicBezTo>
                <a:cubicBezTo>
                  <a:pt x="3272250" y="408664"/>
                  <a:pt x="3276794" y="435841"/>
                  <a:pt x="3285880" y="454519"/>
                </a:cubicBezTo>
                <a:cubicBezTo>
                  <a:pt x="3294968" y="473198"/>
                  <a:pt x="3307924" y="482537"/>
                  <a:pt x="3324752" y="482537"/>
                </a:cubicBezTo>
                <a:close/>
                <a:moveTo>
                  <a:pt x="1323054" y="522923"/>
                </a:moveTo>
                <a:lnTo>
                  <a:pt x="1260961" y="512826"/>
                </a:lnTo>
                <a:lnTo>
                  <a:pt x="1260961" y="453257"/>
                </a:lnTo>
                <a:lnTo>
                  <a:pt x="1206945" y="453257"/>
                </a:lnTo>
                <a:lnTo>
                  <a:pt x="1206945" y="401765"/>
                </a:lnTo>
                <a:lnTo>
                  <a:pt x="1260961" y="401765"/>
                </a:lnTo>
                <a:lnTo>
                  <a:pt x="1260961" y="304334"/>
                </a:lnTo>
                <a:cubicBezTo>
                  <a:pt x="1260961" y="284477"/>
                  <a:pt x="1262980" y="268407"/>
                  <a:pt x="1267019" y="256123"/>
                </a:cubicBezTo>
                <a:cubicBezTo>
                  <a:pt x="1271057" y="243839"/>
                  <a:pt x="1276947" y="234331"/>
                  <a:pt x="1284688" y="227600"/>
                </a:cubicBezTo>
                <a:cubicBezTo>
                  <a:pt x="1292428" y="220869"/>
                  <a:pt x="1301852" y="216326"/>
                  <a:pt x="1312958" y="213970"/>
                </a:cubicBezTo>
                <a:cubicBezTo>
                  <a:pt x="1324064" y="211614"/>
                  <a:pt x="1336853" y="210436"/>
                  <a:pt x="1351325" y="210436"/>
                </a:cubicBezTo>
                <a:cubicBezTo>
                  <a:pt x="1363777" y="210436"/>
                  <a:pt x="1376650" y="211446"/>
                  <a:pt x="1389944" y="213465"/>
                </a:cubicBezTo>
                <a:cubicBezTo>
                  <a:pt x="1403238" y="215484"/>
                  <a:pt x="1415606" y="218850"/>
                  <a:pt x="1427048" y="223562"/>
                </a:cubicBezTo>
                <a:lnTo>
                  <a:pt x="1418466" y="277073"/>
                </a:lnTo>
                <a:cubicBezTo>
                  <a:pt x="1412745" y="274381"/>
                  <a:pt x="1407444" y="272193"/>
                  <a:pt x="1402564" y="270510"/>
                </a:cubicBezTo>
                <a:cubicBezTo>
                  <a:pt x="1397684" y="268828"/>
                  <a:pt x="1392973" y="267566"/>
                  <a:pt x="1388429" y="266724"/>
                </a:cubicBezTo>
                <a:cubicBezTo>
                  <a:pt x="1383886" y="265883"/>
                  <a:pt x="1379174" y="265294"/>
                  <a:pt x="1374294" y="264957"/>
                </a:cubicBezTo>
                <a:cubicBezTo>
                  <a:pt x="1369414" y="264621"/>
                  <a:pt x="1364114" y="264452"/>
                  <a:pt x="1358392" y="264452"/>
                </a:cubicBezTo>
                <a:cubicBezTo>
                  <a:pt x="1353007" y="264452"/>
                  <a:pt x="1348127" y="264957"/>
                  <a:pt x="1343752" y="265967"/>
                </a:cubicBezTo>
                <a:cubicBezTo>
                  <a:pt x="1339377" y="266977"/>
                  <a:pt x="1335675" y="268996"/>
                  <a:pt x="1332646" y="272025"/>
                </a:cubicBezTo>
                <a:cubicBezTo>
                  <a:pt x="1329617" y="275054"/>
                  <a:pt x="1327261" y="279261"/>
                  <a:pt x="1325579" y="284645"/>
                </a:cubicBezTo>
                <a:cubicBezTo>
                  <a:pt x="1323896" y="290030"/>
                  <a:pt x="1323054" y="297098"/>
                  <a:pt x="1323054" y="305848"/>
                </a:cubicBezTo>
                <a:lnTo>
                  <a:pt x="1323054" y="401765"/>
                </a:lnTo>
                <a:lnTo>
                  <a:pt x="1422505" y="401765"/>
                </a:lnTo>
                <a:lnTo>
                  <a:pt x="1422505" y="453257"/>
                </a:lnTo>
                <a:lnTo>
                  <a:pt x="1323054" y="453257"/>
                </a:lnTo>
                <a:close/>
                <a:moveTo>
                  <a:pt x="539852" y="532010"/>
                </a:moveTo>
                <a:cubicBezTo>
                  <a:pt x="534131" y="532010"/>
                  <a:pt x="527568" y="531841"/>
                  <a:pt x="520164" y="531505"/>
                </a:cubicBezTo>
                <a:cubicBezTo>
                  <a:pt x="512760" y="531168"/>
                  <a:pt x="505187" y="530748"/>
                  <a:pt x="497447" y="530243"/>
                </a:cubicBezTo>
                <a:cubicBezTo>
                  <a:pt x="489706" y="529738"/>
                  <a:pt x="482049" y="528981"/>
                  <a:pt x="474477" y="527971"/>
                </a:cubicBezTo>
                <a:cubicBezTo>
                  <a:pt x="466905" y="526961"/>
                  <a:pt x="460090" y="525784"/>
                  <a:pt x="454032" y="524437"/>
                </a:cubicBezTo>
                <a:lnTo>
                  <a:pt x="454032" y="215989"/>
                </a:lnTo>
                <a:lnTo>
                  <a:pt x="516125" y="215989"/>
                </a:lnTo>
                <a:lnTo>
                  <a:pt x="516125" y="321498"/>
                </a:lnTo>
                <a:lnTo>
                  <a:pt x="538337" y="321498"/>
                </a:lnTo>
                <a:cubicBezTo>
                  <a:pt x="578723" y="321498"/>
                  <a:pt x="609938" y="329827"/>
                  <a:pt x="631982" y="346486"/>
                </a:cubicBezTo>
                <a:cubicBezTo>
                  <a:pt x="654026" y="363146"/>
                  <a:pt x="665048" y="390154"/>
                  <a:pt x="665048" y="427511"/>
                </a:cubicBezTo>
                <a:cubicBezTo>
                  <a:pt x="665048" y="464531"/>
                  <a:pt x="654111" y="491203"/>
                  <a:pt x="632235" y="507526"/>
                </a:cubicBezTo>
                <a:cubicBezTo>
                  <a:pt x="610359" y="523848"/>
                  <a:pt x="579565" y="532010"/>
                  <a:pt x="539852" y="532010"/>
                </a:cubicBezTo>
                <a:close/>
                <a:moveTo>
                  <a:pt x="3816452" y="535544"/>
                </a:moveTo>
                <a:cubicBezTo>
                  <a:pt x="3797604" y="535544"/>
                  <a:pt x="3780694" y="532430"/>
                  <a:pt x="3765716" y="526204"/>
                </a:cubicBezTo>
                <a:cubicBezTo>
                  <a:pt x="3750740" y="519978"/>
                  <a:pt x="3738708" y="513836"/>
                  <a:pt x="3729622" y="507778"/>
                </a:cubicBezTo>
                <a:lnTo>
                  <a:pt x="3751834" y="462344"/>
                </a:lnTo>
                <a:cubicBezTo>
                  <a:pt x="3760248" y="468065"/>
                  <a:pt x="3770260" y="472861"/>
                  <a:pt x="3781872" y="476731"/>
                </a:cubicBezTo>
                <a:cubicBezTo>
                  <a:pt x="3793482" y="480602"/>
                  <a:pt x="3805178" y="482537"/>
                  <a:pt x="3816956" y="482537"/>
                </a:cubicBezTo>
                <a:cubicBezTo>
                  <a:pt x="3829072" y="482537"/>
                  <a:pt x="3838580" y="479255"/>
                  <a:pt x="3845480" y="472693"/>
                </a:cubicBezTo>
                <a:cubicBezTo>
                  <a:pt x="3852378" y="466130"/>
                  <a:pt x="3855828" y="457127"/>
                  <a:pt x="3855828" y="445685"/>
                </a:cubicBezTo>
                <a:cubicBezTo>
                  <a:pt x="3855828" y="437944"/>
                  <a:pt x="3854230" y="431550"/>
                  <a:pt x="3851032" y="426501"/>
                </a:cubicBezTo>
                <a:cubicBezTo>
                  <a:pt x="3847836" y="421453"/>
                  <a:pt x="3843712" y="417414"/>
                  <a:pt x="3838664" y="414385"/>
                </a:cubicBezTo>
                <a:cubicBezTo>
                  <a:pt x="3833616" y="411357"/>
                  <a:pt x="3827894" y="409169"/>
                  <a:pt x="3821500" y="407823"/>
                </a:cubicBezTo>
                <a:cubicBezTo>
                  <a:pt x="3815106" y="406477"/>
                  <a:pt x="3808712" y="405803"/>
                  <a:pt x="3802316" y="405803"/>
                </a:cubicBezTo>
                <a:lnTo>
                  <a:pt x="3779094" y="405803"/>
                </a:lnTo>
                <a:lnTo>
                  <a:pt x="3779094" y="354311"/>
                </a:lnTo>
                <a:lnTo>
                  <a:pt x="3798278" y="354311"/>
                </a:lnTo>
                <a:cubicBezTo>
                  <a:pt x="3818470" y="354311"/>
                  <a:pt x="3835130" y="351030"/>
                  <a:pt x="3848256" y="344467"/>
                </a:cubicBezTo>
                <a:cubicBezTo>
                  <a:pt x="3861380" y="337904"/>
                  <a:pt x="3867944" y="326378"/>
                  <a:pt x="3867944" y="309887"/>
                </a:cubicBezTo>
                <a:cubicBezTo>
                  <a:pt x="3867944" y="296425"/>
                  <a:pt x="3863652" y="285150"/>
                  <a:pt x="3855072" y="276063"/>
                </a:cubicBezTo>
                <a:cubicBezTo>
                  <a:pt x="3846488" y="266977"/>
                  <a:pt x="3831596" y="262433"/>
                  <a:pt x="3810394" y="262433"/>
                </a:cubicBezTo>
                <a:cubicBezTo>
                  <a:pt x="3793230" y="262433"/>
                  <a:pt x="3778506" y="264284"/>
                  <a:pt x="3766222" y="267986"/>
                </a:cubicBezTo>
                <a:cubicBezTo>
                  <a:pt x="3753938" y="271688"/>
                  <a:pt x="3743924" y="275222"/>
                  <a:pt x="3736184" y="278588"/>
                </a:cubicBezTo>
                <a:lnTo>
                  <a:pt x="3724068" y="226591"/>
                </a:lnTo>
                <a:cubicBezTo>
                  <a:pt x="3727770" y="224908"/>
                  <a:pt x="3732988" y="223057"/>
                  <a:pt x="3739718" y="221037"/>
                </a:cubicBezTo>
                <a:cubicBezTo>
                  <a:pt x="3746450" y="219018"/>
                  <a:pt x="3753770" y="217167"/>
                  <a:pt x="3761678" y="215484"/>
                </a:cubicBezTo>
                <a:cubicBezTo>
                  <a:pt x="3769588" y="213802"/>
                  <a:pt x="3777832" y="212371"/>
                  <a:pt x="3786414" y="211193"/>
                </a:cubicBezTo>
                <a:cubicBezTo>
                  <a:pt x="3794996" y="210015"/>
                  <a:pt x="3803158" y="209427"/>
                  <a:pt x="3810898" y="209427"/>
                </a:cubicBezTo>
                <a:cubicBezTo>
                  <a:pt x="3831764" y="209427"/>
                  <a:pt x="3849770" y="211867"/>
                  <a:pt x="3864916" y="216746"/>
                </a:cubicBezTo>
                <a:cubicBezTo>
                  <a:pt x="3880060" y="221626"/>
                  <a:pt x="3892512" y="228526"/>
                  <a:pt x="3902272" y="237444"/>
                </a:cubicBezTo>
                <a:cubicBezTo>
                  <a:pt x="3912032" y="246363"/>
                  <a:pt x="3919268" y="256880"/>
                  <a:pt x="3923980" y="268996"/>
                </a:cubicBezTo>
                <a:cubicBezTo>
                  <a:pt x="3928692" y="281112"/>
                  <a:pt x="3931048" y="294405"/>
                  <a:pt x="3931048" y="308877"/>
                </a:cubicBezTo>
                <a:cubicBezTo>
                  <a:pt x="3931048" y="327051"/>
                  <a:pt x="3926588" y="342700"/>
                  <a:pt x="3917668" y="355826"/>
                </a:cubicBezTo>
                <a:cubicBezTo>
                  <a:pt x="3908750" y="368951"/>
                  <a:pt x="3896214" y="378879"/>
                  <a:pt x="3880060" y="385610"/>
                </a:cubicBezTo>
                <a:cubicBezTo>
                  <a:pt x="3891840" y="391668"/>
                  <a:pt x="3901262" y="400419"/>
                  <a:pt x="3908330" y="411861"/>
                </a:cubicBezTo>
                <a:cubicBezTo>
                  <a:pt x="3915398" y="423304"/>
                  <a:pt x="3918932" y="435252"/>
                  <a:pt x="3918932" y="447704"/>
                </a:cubicBezTo>
                <a:cubicBezTo>
                  <a:pt x="3918932" y="460156"/>
                  <a:pt x="3916912" y="471767"/>
                  <a:pt x="3912874" y="482537"/>
                </a:cubicBezTo>
                <a:cubicBezTo>
                  <a:pt x="3908834" y="493306"/>
                  <a:pt x="3902608" y="502646"/>
                  <a:pt x="3894196" y="510555"/>
                </a:cubicBezTo>
                <a:cubicBezTo>
                  <a:pt x="3885780" y="518464"/>
                  <a:pt x="3875096" y="524606"/>
                  <a:pt x="3862138" y="528981"/>
                </a:cubicBezTo>
                <a:cubicBezTo>
                  <a:pt x="3849180" y="533356"/>
                  <a:pt x="3833952" y="535544"/>
                  <a:pt x="3816452" y="535544"/>
                </a:cubicBezTo>
                <a:close/>
                <a:moveTo>
                  <a:pt x="3567354" y="535544"/>
                </a:moveTo>
                <a:cubicBezTo>
                  <a:pt x="3549854" y="535544"/>
                  <a:pt x="3532268" y="532178"/>
                  <a:pt x="3514600" y="525447"/>
                </a:cubicBezTo>
                <a:cubicBezTo>
                  <a:pt x="3496930" y="518716"/>
                  <a:pt x="3481366" y="508283"/>
                  <a:pt x="3467904" y="494148"/>
                </a:cubicBezTo>
                <a:lnTo>
                  <a:pt x="3498698" y="450733"/>
                </a:lnTo>
                <a:cubicBezTo>
                  <a:pt x="3509130" y="461839"/>
                  <a:pt x="3519732" y="469748"/>
                  <a:pt x="3530502" y="474460"/>
                </a:cubicBezTo>
                <a:cubicBezTo>
                  <a:pt x="3541272" y="479171"/>
                  <a:pt x="3551536" y="481527"/>
                  <a:pt x="3561296" y="481527"/>
                </a:cubicBezTo>
                <a:cubicBezTo>
                  <a:pt x="3573076" y="481527"/>
                  <a:pt x="3582836" y="478078"/>
                  <a:pt x="3590576" y="471178"/>
                </a:cubicBezTo>
                <a:cubicBezTo>
                  <a:pt x="3598316" y="464279"/>
                  <a:pt x="3602186" y="454435"/>
                  <a:pt x="3602188" y="441646"/>
                </a:cubicBezTo>
                <a:cubicBezTo>
                  <a:pt x="3602186" y="432559"/>
                  <a:pt x="3599074" y="423641"/>
                  <a:pt x="3592848" y="414890"/>
                </a:cubicBezTo>
                <a:cubicBezTo>
                  <a:pt x="3586622" y="406140"/>
                  <a:pt x="3578712" y="397053"/>
                  <a:pt x="3569120" y="387630"/>
                </a:cubicBezTo>
                <a:cubicBezTo>
                  <a:pt x="3559528" y="378206"/>
                  <a:pt x="3549264" y="368362"/>
                  <a:pt x="3538326" y="358097"/>
                </a:cubicBezTo>
                <a:cubicBezTo>
                  <a:pt x="3527388" y="347833"/>
                  <a:pt x="3517124" y="336727"/>
                  <a:pt x="3507532" y="324779"/>
                </a:cubicBezTo>
                <a:cubicBezTo>
                  <a:pt x="3497940" y="312831"/>
                  <a:pt x="3490032" y="299790"/>
                  <a:pt x="3483806" y="285655"/>
                </a:cubicBezTo>
                <a:cubicBezTo>
                  <a:pt x="3477580" y="271520"/>
                  <a:pt x="3474466" y="256039"/>
                  <a:pt x="3474466" y="239211"/>
                </a:cubicBezTo>
                <a:cubicBezTo>
                  <a:pt x="3474466" y="237192"/>
                  <a:pt x="3474382" y="233658"/>
                  <a:pt x="3474214" y="228610"/>
                </a:cubicBezTo>
                <a:cubicBezTo>
                  <a:pt x="3474046" y="223562"/>
                  <a:pt x="3474466" y="219355"/>
                  <a:pt x="3475476" y="215989"/>
                </a:cubicBezTo>
                <a:lnTo>
                  <a:pt x="3679426" y="215989"/>
                </a:lnTo>
                <a:lnTo>
                  <a:pt x="3679426" y="267481"/>
                </a:lnTo>
                <a:lnTo>
                  <a:pt x="3545142" y="267481"/>
                </a:lnTo>
                <a:cubicBezTo>
                  <a:pt x="3545142" y="272530"/>
                  <a:pt x="3546908" y="278083"/>
                  <a:pt x="3550442" y="284141"/>
                </a:cubicBezTo>
                <a:cubicBezTo>
                  <a:pt x="3553976" y="290198"/>
                  <a:pt x="3558268" y="296172"/>
                  <a:pt x="3563316" y="302062"/>
                </a:cubicBezTo>
                <a:cubicBezTo>
                  <a:pt x="3568364" y="307952"/>
                  <a:pt x="3573748" y="313673"/>
                  <a:pt x="3579470" y="319226"/>
                </a:cubicBezTo>
                <a:cubicBezTo>
                  <a:pt x="3585190" y="324779"/>
                  <a:pt x="3590240" y="329575"/>
                  <a:pt x="3594614" y="333613"/>
                </a:cubicBezTo>
                <a:cubicBezTo>
                  <a:pt x="3603364" y="341691"/>
                  <a:pt x="3611946" y="350104"/>
                  <a:pt x="3620360" y="358855"/>
                </a:cubicBezTo>
                <a:cubicBezTo>
                  <a:pt x="3628774" y="367605"/>
                  <a:pt x="3636346" y="376692"/>
                  <a:pt x="3643078" y="386115"/>
                </a:cubicBezTo>
                <a:cubicBezTo>
                  <a:pt x="3649808" y="395539"/>
                  <a:pt x="3655194" y="405214"/>
                  <a:pt x="3659232" y="415143"/>
                </a:cubicBezTo>
                <a:cubicBezTo>
                  <a:pt x="3663270" y="425071"/>
                  <a:pt x="3665290" y="435420"/>
                  <a:pt x="3665290" y="446189"/>
                </a:cubicBezTo>
                <a:cubicBezTo>
                  <a:pt x="3665290" y="460998"/>
                  <a:pt x="3662598" y="474039"/>
                  <a:pt x="3657212" y="485313"/>
                </a:cubicBezTo>
                <a:cubicBezTo>
                  <a:pt x="3651828" y="496588"/>
                  <a:pt x="3644592" y="505927"/>
                  <a:pt x="3635506" y="513331"/>
                </a:cubicBezTo>
                <a:cubicBezTo>
                  <a:pt x="3626418" y="520735"/>
                  <a:pt x="3615986" y="526288"/>
                  <a:pt x="3604206" y="529990"/>
                </a:cubicBezTo>
                <a:cubicBezTo>
                  <a:pt x="3592426" y="533692"/>
                  <a:pt x="3580142" y="535544"/>
                  <a:pt x="3567354" y="535544"/>
                </a:cubicBezTo>
                <a:close/>
                <a:moveTo>
                  <a:pt x="3324752" y="535544"/>
                </a:moveTo>
                <a:cubicBezTo>
                  <a:pt x="3290088" y="535544"/>
                  <a:pt x="3263332" y="522081"/>
                  <a:pt x="3244486" y="495157"/>
                </a:cubicBezTo>
                <a:cubicBezTo>
                  <a:pt x="3225638" y="468233"/>
                  <a:pt x="3216214" y="427511"/>
                  <a:pt x="3216214" y="372990"/>
                </a:cubicBezTo>
                <a:cubicBezTo>
                  <a:pt x="3216214" y="317796"/>
                  <a:pt x="3225470" y="276737"/>
                  <a:pt x="3243980" y="249813"/>
                </a:cubicBezTo>
                <a:cubicBezTo>
                  <a:pt x="3262490" y="222889"/>
                  <a:pt x="3289414" y="209427"/>
                  <a:pt x="3324752" y="209427"/>
                </a:cubicBezTo>
                <a:cubicBezTo>
                  <a:pt x="3360090" y="209427"/>
                  <a:pt x="3387014" y="222889"/>
                  <a:pt x="3405524" y="249813"/>
                </a:cubicBezTo>
                <a:cubicBezTo>
                  <a:pt x="3424034" y="276737"/>
                  <a:pt x="3433290" y="317796"/>
                  <a:pt x="3433290" y="372990"/>
                </a:cubicBezTo>
                <a:cubicBezTo>
                  <a:pt x="3433290" y="427847"/>
                  <a:pt x="3424034" y="468654"/>
                  <a:pt x="3405524" y="495410"/>
                </a:cubicBezTo>
                <a:cubicBezTo>
                  <a:pt x="3387014" y="522166"/>
                  <a:pt x="3360090" y="535544"/>
                  <a:pt x="3324752" y="535544"/>
                </a:cubicBezTo>
                <a:close/>
                <a:moveTo>
                  <a:pt x="3062528" y="535544"/>
                </a:moveTo>
                <a:cubicBezTo>
                  <a:pt x="3045028" y="535544"/>
                  <a:pt x="3027444" y="532178"/>
                  <a:pt x="3009774" y="525447"/>
                </a:cubicBezTo>
                <a:cubicBezTo>
                  <a:pt x="2992106" y="518716"/>
                  <a:pt x="2976540" y="508283"/>
                  <a:pt x="2963078" y="494148"/>
                </a:cubicBezTo>
                <a:lnTo>
                  <a:pt x="2993872" y="450733"/>
                </a:lnTo>
                <a:cubicBezTo>
                  <a:pt x="3004306" y="461839"/>
                  <a:pt x="3014908" y="469748"/>
                  <a:pt x="3025676" y="474460"/>
                </a:cubicBezTo>
                <a:cubicBezTo>
                  <a:pt x="3036446" y="479171"/>
                  <a:pt x="3046712" y="481527"/>
                  <a:pt x="3056472" y="481527"/>
                </a:cubicBezTo>
                <a:cubicBezTo>
                  <a:pt x="3068250" y="481527"/>
                  <a:pt x="3078010" y="478078"/>
                  <a:pt x="3085752" y="471178"/>
                </a:cubicBezTo>
                <a:cubicBezTo>
                  <a:pt x="3093492" y="464279"/>
                  <a:pt x="3097362" y="454435"/>
                  <a:pt x="3097362" y="441646"/>
                </a:cubicBezTo>
                <a:cubicBezTo>
                  <a:pt x="3097362" y="432559"/>
                  <a:pt x="3094248" y="423641"/>
                  <a:pt x="3088022" y="414890"/>
                </a:cubicBezTo>
                <a:cubicBezTo>
                  <a:pt x="3081796" y="406140"/>
                  <a:pt x="3073888" y="397053"/>
                  <a:pt x="3064296" y="387630"/>
                </a:cubicBezTo>
                <a:cubicBezTo>
                  <a:pt x="3054704" y="378206"/>
                  <a:pt x="3044440" y="368362"/>
                  <a:pt x="3033502" y="358097"/>
                </a:cubicBezTo>
                <a:cubicBezTo>
                  <a:pt x="3022564" y="347833"/>
                  <a:pt x="3012298" y="336727"/>
                  <a:pt x="3002708" y="324779"/>
                </a:cubicBezTo>
                <a:cubicBezTo>
                  <a:pt x="2993116" y="312831"/>
                  <a:pt x="2985206" y="299790"/>
                  <a:pt x="2978980" y="285655"/>
                </a:cubicBezTo>
                <a:cubicBezTo>
                  <a:pt x="2972754" y="271520"/>
                  <a:pt x="2969642" y="256039"/>
                  <a:pt x="2969642" y="239211"/>
                </a:cubicBezTo>
                <a:cubicBezTo>
                  <a:pt x="2969642" y="237192"/>
                  <a:pt x="2969558" y="233658"/>
                  <a:pt x="2969388" y="228610"/>
                </a:cubicBezTo>
                <a:cubicBezTo>
                  <a:pt x="2969220" y="223562"/>
                  <a:pt x="2969640" y="219355"/>
                  <a:pt x="2970650" y="215989"/>
                </a:cubicBezTo>
                <a:lnTo>
                  <a:pt x="3174600" y="215989"/>
                </a:lnTo>
                <a:lnTo>
                  <a:pt x="3174600" y="267481"/>
                </a:lnTo>
                <a:lnTo>
                  <a:pt x="3040316" y="267481"/>
                </a:lnTo>
                <a:cubicBezTo>
                  <a:pt x="3040316" y="272530"/>
                  <a:pt x="3042084" y="278083"/>
                  <a:pt x="3045618" y="284141"/>
                </a:cubicBezTo>
                <a:cubicBezTo>
                  <a:pt x="3049152" y="290198"/>
                  <a:pt x="3053442" y="296172"/>
                  <a:pt x="3058490" y="302062"/>
                </a:cubicBezTo>
                <a:cubicBezTo>
                  <a:pt x="3063538" y="307952"/>
                  <a:pt x="3068924" y="313673"/>
                  <a:pt x="3074644" y="319226"/>
                </a:cubicBezTo>
                <a:cubicBezTo>
                  <a:pt x="3080366" y="324779"/>
                  <a:pt x="3085414" y="329575"/>
                  <a:pt x="3089790" y="333613"/>
                </a:cubicBezTo>
                <a:cubicBezTo>
                  <a:pt x="3098540" y="341691"/>
                  <a:pt x="3107122" y="350104"/>
                  <a:pt x="3115536" y="358855"/>
                </a:cubicBezTo>
                <a:cubicBezTo>
                  <a:pt x="3123950" y="367605"/>
                  <a:pt x="3131522" y="376692"/>
                  <a:pt x="3138252" y="386115"/>
                </a:cubicBezTo>
                <a:cubicBezTo>
                  <a:pt x="3144984" y="395539"/>
                  <a:pt x="3150368" y="405214"/>
                  <a:pt x="3154408" y="415143"/>
                </a:cubicBezTo>
                <a:cubicBezTo>
                  <a:pt x="3158446" y="425071"/>
                  <a:pt x="3160464" y="435420"/>
                  <a:pt x="3160464" y="446189"/>
                </a:cubicBezTo>
                <a:cubicBezTo>
                  <a:pt x="3160464" y="460998"/>
                  <a:pt x="3157772" y="474039"/>
                  <a:pt x="3152388" y="485313"/>
                </a:cubicBezTo>
                <a:cubicBezTo>
                  <a:pt x="3147002" y="496588"/>
                  <a:pt x="3139766" y="505927"/>
                  <a:pt x="3130680" y="513331"/>
                </a:cubicBezTo>
                <a:cubicBezTo>
                  <a:pt x="3121594" y="520735"/>
                  <a:pt x="3111160" y="526288"/>
                  <a:pt x="3099382" y="529990"/>
                </a:cubicBezTo>
                <a:cubicBezTo>
                  <a:pt x="3087602" y="533692"/>
                  <a:pt x="3075318" y="535544"/>
                  <a:pt x="3062528" y="535544"/>
                </a:cubicBezTo>
                <a:close/>
                <a:moveTo>
                  <a:pt x="2292890" y="561290"/>
                </a:moveTo>
                <a:cubicBezTo>
                  <a:pt x="2282120" y="561290"/>
                  <a:pt x="2272949" y="557756"/>
                  <a:pt x="2265377" y="550688"/>
                </a:cubicBezTo>
                <a:cubicBezTo>
                  <a:pt x="2257805" y="543621"/>
                  <a:pt x="2254018" y="533861"/>
                  <a:pt x="2254018" y="521408"/>
                </a:cubicBezTo>
                <a:cubicBezTo>
                  <a:pt x="2254018" y="509293"/>
                  <a:pt x="2257805" y="499701"/>
                  <a:pt x="2265377" y="492633"/>
                </a:cubicBezTo>
                <a:cubicBezTo>
                  <a:pt x="2272949" y="485566"/>
                  <a:pt x="2282120" y="482032"/>
                  <a:pt x="2292890" y="482032"/>
                </a:cubicBezTo>
                <a:cubicBezTo>
                  <a:pt x="2303660" y="482032"/>
                  <a:pt x="2312914" y="485566"/>
                  <a:pt x="2320655" y="492633"/>
                </a:cubicBezTo>
                <a:cubicBezTo>
                  <a:pt x="2328396" y="499701"/>
                  <a:pt x="2332266" y="509293"/>
                  <a:pt x="2332266" y="521408"/>
                </a:cubicBezTo>
                <a:cubicBezTo>
                  <a:pt x="2332266" y="533861"/>
                  <a:pt x="2328396" y="543621"/>
                  <a:pt x="2320655" y="550688"/>
                </a:cubicBezTo>
                <a:cubicBezTo>
                  <a:pt x="2312914" y="557756"/>
                  <a:pt x="2303660" y="561290"/>
                  <a:pt x="2292890" y="561290"/>
                </a:cubicBezTo>
                <a:close/>
                <a:moveTo>
                  <a:pt x="1959420" y="563309"/>
                </a:moveTo>
                <a:lnTo>
                  <a:pt x="1959420" y="511817"/>
                </a:lnTo>
                <a:lnTo>
                  <a:pt x="2025047" y="511817"/>
                </a:lnTo>
                <a:lnTo>
                  <a:pt x="2025047" y="310392"/>
                </a:lnTo>
                <a:cubicBezTo>
                  <a:pt x="2025047" y="277746"/>
                  <a:pt x="2031610" y="252926"/>
                  <a:pt x="2044735" y="235930"/>
                </a:cubicBezTo>
                <a:cubicBezTo>
                  <a:pt x="2057860" y="218934"/>
                  <a:pt x="2078727" y="210436"/>
                  <a:pt x="2107333" y="210436"/>
                </a:cubicBezTo>
                <a:cubicBezTo>
                  <a:pt x="2117767" y="210436"/>
                  <a:pt x="2127106" y="211109"/>
                  <a:pt x="2135351" y="212455"/>
                </a:cubicBezTo>
                <a:cubicBezTo>
                  <a:pt x="2143597" y="213802"/>
                  <a:pt x="2150580" y="215400"/>
                  <a:pt x="2156302" y="217251"/>
                </a:cubicBezTo>
                <a:cubicBezTo>
                  <a:pt x="2162023" y="219102"/>
                  <a:pt x="2166650" y="220869"/>
                  <a:pt x="2170184" y="222552"/>
                </a:cubicBezTo>
                <a:cubicBezTo>
                  <a:pt x="2173718" y="224235"/>
                  <a:pt x="2175990" y="225413"/>
                  <a:pt x="2176999" y="226086"/>
                </a:cubicBezTo>
                <a:lnTo>
                  <a:pt x="2168922" y="276063"/>
                </a:lnTo>
                <a:cubicBezTo>
                  <a:pt x="2166230" y="275054"/>
                  <a:pt x="2160677" y="272866"/>
                  <a:pt x="2152263" y="269501"/>
                </a:cubicBezTo>
                <a:cubicBezTo>
                  <a:pt x="2143849" y="266135"/>
                  <a:pt x="2133416" y="264452"/>
                  <a:pt x="2120964" y="264452"/>
                </a:cubicBezTo>
                <a:cubicBezTo>
                  <a:pt x="2111204" y="264452"/>
                  <a:pt x="2103126" y="267313"/>
                  <a:pt x="2096732" y="273034"/>
                </a:cubicBezTo>
                <a:cubicBezTo>
                  <a:pt x="2090338" y="278756"/>
                  <a:pt x="2087140" y="289694"/>
                  <a:pt x="2087140" y="305848"/>
                </a:cubicBezTo>
                <a:lnTo>
                  <a:pt x="2087140" y="563309"/>
                </a:lnTo>
                <a:close/>
                <a:moveTo>
                  <a:pt x="1607052" y="565833"/>
                </a:moveTo>
                <a:cubicBezTo>
                  <a:pt x="1594263" y="565833"/>
                  <a:pt x="1581811" y="564234"/>
                  <a:pt x="1569695" y="561037"/>
                </a:cubicBezTo>
                <a:cubicBezTo>
                  <a:pt x="1557579" y="557840"/>
                  <a:pt x="1546810" y="552455"/>
                  <a:pt x="1537386" y="544883"/>
                </a:cubicBezTo>
                <a:cubicBezTo>
                  <a:pt x="1527963" y="537310"/>
                  <a:pt x="1520474" y="527214"/>
                  <a:pt x="1514921" y="514593"/>
                </a:cubicBezTo>
                <a:cubicBezTo>
                  <a:pt x="1509368" y="501973"/>
                  <a:pt x="1506592" y="486071"/>
                  <a:pt x="1506592" y="466887"/>
                </a:cubicBezTo>
                <a:lnTo>
                  <a:pt x="1506592" y="453257"/>
                </a:lnTo>
                <a:lnTo>
                  <a:pt x="1454595" y="453257"/>
                </a:lnTo>
                <a:lnTo>
                  <a:pt x="1454595" y="401765"/>
                </a:lnTo>
                <a:lnTo>
                  <a:pt x="1506592" y="401765"/>
                </a:lnTo>
                <a:lnTo>
                  <a:pt x="1506592" y="215989"/>
                </a:lnTo>
                <a:lnTo>
                  <a:pt x="1569190" y="215989"/>
                </a:lnTo>
                <a:lnTo>
                  <a:pt x="1569190" y="401765"/>
                </a:lnTo>
                <a:lnTo>
                  <a:pt x="1666621" y="401765"/>
                </a:lnTo>
                <a:lnTo>
                  <a:pt x="1666621" y="453257"/>
                </a:lnTo>
                <a:lnTo>
                  <a:pt x="1569190" y="453257"/>
                </a:lnTo>
                <a:lnTo>
                  <a:pt x="1569190" y="465878"/>
                </a:lnTo>
                <a:cubicBezTo>
                  <a:pt x="1569190" y="475974"/>
                  <a:pt x="1570368" y="484135"/>
                  <a:pt x="1572724" y="490362"/>
                </a:cubicBezTo>
                <a:cubicBezTo>
                  <a:pt x="1575080" y="496588"/>
                  <a:pt x="1578193" y="501384"/>
                  <a:pt x="1582063" y="504749"/>
                </a:cubicBezTo>
                <a:cubicBezTo>
                  <a:pt x="1585933" y="508115"/>
                  <a:pt x="1590477" y="510302"/>
                  <a:pt x="1595693" y="511312"/>
                </a:cubicBezTo>
                <a:cubicBezTo>
                  <a:pt x="1600910" y="512322"/>
                  <a:pt x="1606379" y="512826"/>
                  <a:pt x="1612100" y="512826"/>
                </a:cubicBezTo>
                <a:cubicBezTo>
                  <a:pt x="1622533" y="512826"/>
                  <a:pt x="1633555" y="511396"/>
                  <a:pt x="1645166" y="508535"/>
                </a:cubicBezTo>
                <a:cubicBezTo>
                  <a:pt x="1656777" y="505675"/>
                  <a:pt x="1666453" y="502898"/>
                  <a:pt x="1674194" y="500206"/>
                </a:cubicBezTo>
                <a:lnTo>
                  <a:pt x="1684795" y="550688"/>
                </a:lnTo>
                <a:cubicBezTo>
                  <a:pt x="1673689" y="556073"/>
                  <a:pt x="1661236" y="559943"/>
                  <a:pt x="1647438" y="562299"/>
                </a:cubicBezTo>
                <a:cubicBezTo>
                  <a:pt x="1633639" y="564655"/>
                  <a:pt x="1620178" y="565833"/>
                  <a:pt x="1607052" y="565833"/>
                </a:cubicBezTo>
                <a:close/>
                <a:moveTo>
                  <a:pt x="0" y="796029"/>
                </a:moveTo>
                <a:lnTo>
                  <a:pt x="4876802" y="796029"/>
                </a:lnTo>
                <a:lnTo>
                  <a:pt x="4824822" y="344498"/>
                </a:lnTo>
                <a:cubicBezTo>
                  <a:pt x="4801968" y="145891"/>
                  <a:pt x="4682292" y="207"/>
                  <a:pt x="4541980" y="155"/>
                </a:cubicBezTo>
                <a:lnTo>
                  <a:pt x="0" y="0"/>
                </a:lnTo>
                <a:close/>
              </a:path>
            </a:pathLst>
          </a:custGeom>
          <a:solidFill>
            <a:schemeClr val="bg1"/>
          </a:solidFill>
          <a:ln w="2834" cap="flat">
            <a:noFill/>
            <a:prstDash val="solid"/>
            <a:miter/>
          </a:ln>
        </p:spPr>
        <p:txBody>
          <a:bodyPr wrap="square" rtlCol="0" anchor="ctr">
            <a:noAutofit/>
          </a:bodyPr>
          <a:lstStyle/>
          <a:p>
            <a:endParaRPr lang="en-US" dirty="0"/>
          </a:p>
        </p:txBody>
      </p:sp>
    </p:spTree>
    <p:extLst>
      <p:ext uri="{BB962C8B-B14F-4D97-AF65-F5344CB8AC3E}">
        <p14:creationId xmlns:p14="http://schemas.microsoft.com/office/powerpoint/2010/main" val="31656154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Title + content - blue back">
    <p:bg>
      <p:bgPr>
        <a:solidFill>
          <a:srgbClr val="12ABDB"/>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2618" y="2624"/>
          <a:ext cx="2617" cy="2621"/>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18" y="2624"/>
                        <a:ext cx="2617" cy="262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672755" y="416267"/>
            <a:ext cx="18773160" cy="1486667"/>
          </a:xfrm>
        </p:spPr>
        <p:txBody>
          <a:bodyPr vert="horz" lIns="0" tIns="0" rIns="0" bIns="0" rtlCol="0" anchor="ctr" anchorCtr="0">
            <a:noAutofit/>
          </a:bodyPr>
          <a:lstStyle>
            <a:lvl1pPr>
              <a:defRPr lang="en-GB" sz="4947" dirty="0">
                <a:solidFill>
                  <a:schemeClr val="bg1"/>
                </a:solidFill>
                <a:latin typeface="Ubuntu" panose="020B0504030602030204" pitchFamily="34" charset="0"/>
              </a:defRPr>
            </a:lvl1pPr>
          </a:lstStyle>
          <a:p>
            <a:pPr marL="0" lvl="0"/>
            <a:r>
              <a:rPr lang="en-US"/>
              <a:t>Click to edit Master title style</a:t>
            </a:r>
            <a:endParaRPr lang="en-GB"/>
          </a:p>
        </p:txBody>
      </p:sp>
      <p:sp>
        <p:nvSpPr>
          <p:cNvPr id="4" name="Retângulo 43">
            <a:extLst>
              <a:ext uri="{FF2B5EF4-FFF2-40B4-BE49-F238E27FC236}">
                <a16:creationId xmlns:a16="http://schemas.microsoft.com/office/drawing/2014/main" id="{FD297B69-E868-4B9A-AF44-CDF0A9819A86}"/>
              </a:ext>
            </a:extLst>
          </p:cNvPr>
          <p:cNvSpPr/>
          <p:nvPr userDrawn="1"/>
        </p:nvSpPr>
        <p:spPr>
          <a:xfrm>
            <a:off x="9828533" y="10829142"/>
            <a:ext cx="482824" cy="295337"/>
          </a:xfrm>
          <a:prstGeom prst="rect">
            <a:avLst/>
          </a:prstGeom>
        </p:spPr>
        <p:txBody>
          <a:bodyPr wrap="none">
            <a:spAutoFit/>
          </a:bodyPr>
          <a:lstStyle/>
          <a:p>
            <a:pPr algn="r"/>
            <a:fld id="{0502E5A9-B53C-401E-A0E0-4A359BB0A9E5}" type="slidenum">
              <a:rPr lang="en-US" sz="1319" smtClean="0">
                <a:solidFill>
                  <a:schemeClr val="bg1">
                    <a:lumMod val="85000"/>
                  </a:schemeClr>
                </a:solidFill>
                <a:latin typeface="Ubuntu" panose="020B0504030602030204" pitchFamily="34" charset="0"/>
                <a:cs typeface="Arial" panose="020B0604020202020204" pitchFamily="34" charset="0"/>
              </a:rPr>
              <a:t>‹#›</a:t>
            </a:fld>
            <a:endParaRPr lang="en-US" sz="1319">
              <a:solidFill>
                <a:schemeClr val="bg1">
                  <a:lumMod val="85000"/>
                </a:schemeClr>
              </a:solidFill>
              <a:latin typeface="Ubuntu" panose="020B0504030602030204" pitchFamily="34" charset="0"/>
              <a:cs typeface="Arial" panose="020B0604020202020204" pitchFamily="34" charset="0"/>
            </a:endParaRPr>
          </a:p>
        </p:txBody>
      </p:sp>
      <p:sp>
        <p:nvSpPr>
          <p:cNvPr id="6" name="Rectangle 27">
            <a:extLst>
              <a:ext uri="{FF2B5EF4-FFF2-40B4-BE49-F238E27FC236}">
                <a16:creationId xmlns:a16="http://schemas.microsoft.com/office/drawing/2014/main" id="{A1B7906D-4E14-47D9-92AC-B09D1C9F144C}"/>
              </a:ext>
            </a:extLst>
          </p:cNvPr>
          <p:cNvSpPr/>
          <p:nvPr userDrawn="1"/>
        </p:nvSpPr>
        <p:spPr>
          <a:xfrm>
            <a:off x="658187" y="10829493"/>
            <a:ext cx="5624345" cy="362509"/>
          </a:xfrm>
          <a:prstGeom prst="rect">
            <a:avLst/>
          </a:prstGeom>
        </p:spPr>
        <p:txBody>
          <a:bodyPr wrap="square" lIns="0" tIns="0" rIns="0" bIns="0" anchor="ctr" anchorCtr="0">
            <a:noAutofit/>
          </a:bodyPr>
          <a:lstStyle/>
          <a:p>
            <a:pPr marL="0" marR="0" lvl="0" indent="0" algn="l" defTabSz="1507846" rtl="0" eaLnBrk="1" fontAlgn="auto" latinLnBrk="0" hangingPunct="1">
              <a:lnSpc>
                <a:spcPct val="100000"/>
              </a:lnSpc>
              <a:spcBef>
                <a:spcPts val="0"/>
              </a:spcBef>
              <a:spcAft>
                <a:spcPts val="0"/>
              </a:spcAft>
              <a:buClrTx/>
              <a:buSzTx/>
              <a:buFontTx/>
              <a:buNone/>
              <a:tabLst/>
              <a:defRPr/>
            </a:pPr>
            <a:r>
              <a:rPr lang="en-US" sz="1319" kern="0">
                <a:solidFill>
                  <a:schemeClr val="bg1">
                    <a:lumMod val="85000"/>
                  </a:schemeClr>
                </a:solidFill>
                <a:latin typeface="Ubuntu" panose="020B0504030602030204" pitchFamily="34" charset="0"/>
                <a:cs typeface="Arial" panose="020B0604020202020204" pitchFamily="34" charset="0"/>
              </a:rPr>
              <a:t>Sogeti Global Overview</a:t>
            </a:r>
            <a:endParaRPr lang="en-GB" sz="1319" kern="0">
              <a:solidFill>
                <a:schemeClr val="bg1">
                  <a:lumMod val="85000"/>
                </a:schemeClr>
              </a:solidFill>
              <a:latin typeface="Ubuntu" panose="020B0504030602030204" pitchFamily="34" charset="0"/>
              <a:cs typeface="Arial" panose="020B0604020202020204" pitchFamily="34" charset="0"/>
            </a:endParaRPr>
          </a:p>
        </p:txBody>
      </p:sp>
      <p:sp>
        <p:nvSpPr>
          <p:cNvPr id="7" name="Rectangle 27">
            <a:extLst>
              <a:ext uri="{FF2B5EF4-FFF2-40B4-BE49-F238E27FC236}">
                <a16:creationId xmlns:a16="http://schemas.microsoft.com/office/drawing/2014/main" id="{0809E1AE-1AEC-49E5-86E2-3B4D9323E740}"/>
              </a:ext>
            </a:extLst>
          </p:cNvPr>
          <p:cNvSpPr/>
          <p:nvPr userDrawn="1"/>
        </p:nvSpPr>
        <p:spPr>
          <a:xfrm>
            <a:off x="13911021" y="10829493"/>
            <a:ext cx="5534894" cy="362509"/>
          </a:xfrm>
          <a:prstGeom prst="rect">
            <a:avLst/>
          </a:prstGeom>
        </p:spPr>
        <p:txBody>
          <a:bodyPr wrap="square" lIns="0" tIns="0" rIns="0" bIns="0" anchor="ctr" anchorCtr="0">
            <a:noAutofit/>
          </a:bodyPr>
          <a:lstStyle/>
          <a:p>
            <a:pPr marL="0" marR="0" lvl="0" indent="0" algn="r" defTabSz="1507846" rtl="0" eaLnBrk="1" fontAlgn="auto" latinLnBrk="0" hangingPunct="1">
              <a:lnSpc>
                <a:spcPct val="100000"/>
              </a:lnSpc>
              <a:spcBef>
                <a:spcPts val="0"/>
              </a:spcBef>
              <a:spcAft>
                <a:spcPts val="0"/>
              </a:spcAft>
              <a:buClrTx/>
              <a:buSzTx/>
              <a:buFontTx/>
              <a:buNone/>
              <a:tabLst/>
              <a:defRPr/>
            </a:pPr>
            <a:r>
              <a:rPr lang="en-US" sz="1319">
                <a:solidFill>
                  <a:schemeClr val="bg1">
                    <a:lumMod val="85000"/>
                  </a:schemeClr>
                </a:solidFill>
                <a:latin typeface="Ubuntu" panose="020B0504030602030204" pitchFamily="34" charset="0"/>
                <a:cs typeface="Arial" panose="020B0604020202020204" pitchFamily="34" charset="0"/>
              </a:rPr>
              <a:t>© 2022 Sogeti. All rights reserved</a:t>
            </a:r>
            <a:endParaRPr lang="en-GB" sz="1319" kern="0">
              <a:solidFill>
                <a:schemeClr val="bg1">
                  <a:lumMod val="85000"/>
                </a:schemeClr>
              </a:solidFill>
              <a:latin typeface="Ubuntu" panose="020B0504030602030204" pitchFamily="34" charset="0"/>
              <a:cs typeface="Arial" panose="020B0604020202020204" pitchFamily="34" charset="0"/>
            </a:endParaRPr>
          </a:p>
        </p:txBody>
      </p:sp>
      <p:sp>
        <p:nvSpPr>
          <p:cNvPr id="8" name="Text Placeholder 3">
            <a:extLst>
              <a:ext uri="{FF2B5EF4-FFF2-40B4-BE49-F238E27FC236}">
                <a16:creationId xmlns:a16="http://schemas.microsoft.com/office/drawing/2014/main" id="{F1399E04-AFF3-4639-8B46-1093AFA90B97}"/>
              </a:ext>
            </a:extLst>
          </p:cNvPr>
          <p:cNvSpPr>
            <a:spLocks noGrp="1"/>
          </p:cNvSpPr>
          <p:nvPr>
            <p:ph type="body" sz="quarter" idx="10"/>
          </p:nvPr>
        </p:nvSpPr>
        <p:spPr>
          <a:xfrm>
            <a:off x="672755" y="2261023"/>
            <a:ext cx="18773160" cy="8055751"/>
          </a:xfrm>
        </p:spPr>
        <p:txBody>
          <a:bodyPr tIns="36000">
            <a:noAutofit/>
          </a:bodyPr>
          <a:lstStyle>
            <a:lvl1pPr>
              <a:defRPr spc="-33" baseline="0">
                <a:solidFill>
                  <a:schemeClr val="bg1"/>
                </a:solidFill>
              </a:defRPr>
            </a:lvl1pPr>
            <a:lvl2pPr>
              <a:defRPr spc="-33" baseline="0">
                <a:solidFill>
                  <a:schemeClr val="bg1"/>
                </a:solidFill>
              </a:defRPr>
            </a:lvl2pPr>
            <a:lvl3pPr>
              <a:defRPr spc="-33" baseline="0">
                <a:solidFill>
                  <a:schemeClr val="bg1"/>
                </a:solidFill>
              </a:defRPr>
            </a:lvl3pPr>
            <a:lvl4pPr>
              <a:defRPr spc="-33" baseline="0">
                <a:solidFill>
                  <a:schemeClr val="bg1"/>
                </a:solidFill>
              </a:defRPr>
            </a:lvl4pPr>
            <a:lvl5pPr marL="1774860" indent="-376961">
              <a:defRPr spc="-33" baseline="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010781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Blank-White">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672755" y="668691"/>
            <a:ext cx="15661826" cy="1426539"/>
          </a:xfrm>
          <a:prstGeom prst="rect">
            <a:avLst/>
          </a:prstGeom>
        </p:spPr>
        <p:txBody>
          <a:bodyPr vert="horz" lIns="0" tIns="0" rIns="0" bIns="0" rtlCol="0" anchor="t">
            <a:normAutofit/>
          </a:bodyPr>
          <a:lstStyle>
            <a:lvl1pPr>
              <a:defRPr lang="pt-PT" b="1" i="0" dirty="0">
                <a:latin typeface="Ubuntu" panose="020B0504030602030204" pitchFamily="34" charset="0"/>
              </a:defRPr>
            </a:lvl1pPr>
          </a:lstStyle>
          <a:p>
            <a:pPr lvl="0">
              <a:lnSpc>
                <a:spcPts val="4947"/>
              </a:lnSpc>
            </a:pPr>
            <a:r>
              <a:rPr lang="en-US"/>
              <a:t>Click to add title</a:t>
            </a:r>
            <a:endParaRPr lang="pt-PT"/>
          </a:p>
        </p:txBody>
      </p:sp>
      <p:pic>
        <p:nvPicPr>
          <p:cNvPr id="5" name="Imagen 4">
            <a:extLst>
              <a:ext uri="{FF2B5EF4-FFF2-40B4-BE49-F238E27FC236}">
                <a16:creationId xmlns:a16="http://schemas.microsoft.com/office/drawing/2014/main" id="{0C29C71A-B665-46B6-9792-7D3B8F6B4BD9}"/>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7545396" y="503485"/>
            <a:ext cx="1962528" cy="1019036"/>
          </a:xfrm>
          <a:prstGeom prst="rect">
            <a:avLst/>
          </a:prstGeom>
        </p:spPr>
      </p:pic>
      <p:pic>
        <p:nvPicPr>
          <p:cNvPr id="2" name="Gráfico 1" descr="Icono de menú de hamburguesa con relleno sólido">
            <a:hlinkClick r:id="rId3" action="ppaction://hlinksldjump"/>
            <a:extLst>
              <a:ext uri="{FF2B5EF4-FFF2-40B4-BE49-F238E27FC236}">
                <a16:creationId xmlns:a16="http://schemas.microsoft.com/office/drawing/2014/main" id="{CEACDEA7-5047-4534-BEA9-3EEEB0DBBBC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36787" y="119391"/>
            <a:ext cx="383421" cy="384094"/>
          </a:xfrm>
          <a:prstGeom prst="rect">
            <a:avLst/>
          </a:prstGeom>
        </p:spPr>
      </p:pic>
    </p:spTree>
    <p:extLst>
      <p:ext uri="{BB962C8B-B14F-4D97-AF65-F5344CB8AC3E}">
        <p14:creationId xmlns:p14="http://schemas.microsoft.com/office/powerpoint/2010/main" val="259842134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Closing3">
    <p:spTree>
      <p:nvGrpSpPr>
        <p:cNvPr id="1" name=""/>
        <p:cNvGrpSpPr/>
        <p:nvPr/>
      </p:nvGrpSpPr>
      <p:grpSpPr>
        <a:xfrm>
          <a:off x="0" y="0"/>
          <a:ext cx="0" cy="0"/>
          <a:chOff x="0" y="0"/>
          <a:chExt cx="0" cy="0"/>
        </a:xfrm>
      </p:grpSpPr>
      <p:sp>
        <p:nvSpPr>
          <p:cNvPr id="10" name="Freeform 9"/>
          <p:cNvSpPr/>
          <p:nvPr userDrawn="1"/>
        </p:nvSpPr>
        <p:spPr bwMode="ltGray">
          <a:xfrm>
            <a:off x="0" y="0"/>
            <a:ext cx="10052050" cy="9574239"/>
          </a:xfrm>
          <a:custGeom>
            <a:avLst/>
            <a:gdLst>
              <a:gd name="connsiteX0" fmla="*/ 0 w 6096000"/>
              <a:gd name="connsiteY0" fmla="*/ 0 h 5796064"/>
              <a:gd name="connsiteX1" fmla="*/ 6096000 w 6096000"/>
              <a:gd name="connsiteY1" fmla="*/ 0 h 5796064"/>
              <a:gd name="connsiteX2" fmla="*/ 6096000 w 6096000"/>
              <a:gd name="connsiteY2" fmla="*/ 133757 h 5796064"/>
              <a:gd name="connsiteX3" fmla="*/ 6096000 w 6096000"/>
              <a:gd name="connsiteY3" fmla="*/ 4034055 h 5796064"/>
              <a:gd name="connsiteX4" fmla="*/ 0 w 6096000"/>
              <a:gd name="connsiteY4" fmla="*/ 5309105 h 5796064"/>
              <a:gd name="connsiteX5" fmla="*/ 0 w 6096000"/>
              <a:gd name="connsiteY5" fmla="*/ 8972 h 5796064"/>
              <a:gd name="connsiteX6" fmla="*/ 0 w 6096000"/>
              <a:gd name="connsiteY6" fmla="*/ 0 h 579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0" h="5796064">
                <a:moveTo>
                  <a:pt x="0" y="0"/>
                </a:moveTo>
                <a:lnTo>
                  <a:pt x="6096000" y="0"/>
                </a:lnTo>
                <a:lnTo>
                  <a:pt x="6096000" y="133757"/>
                </a:lnTo>
                <a:cubicBezTo>
                  <a:pt x="6096000" y="1105896"/>
                  <a:pt x="6096000" y="2375629"/>
                  <a:pt x="6096000" y="4034055"/>
                </a:cubicBezTo>
                <a:cubicBezTo>
                  <a:pt x="6096000" y="6848354"/>
                  <a:pt x="721895" y="5492896"/>
                  <a:pt x="0" y="5309105"/>
                </a:cubicBezTo>
                <a:cubicBezTo>
                  <a:pt x="0" y="5309105"/>
                  <a:pt x="0" y="5309105"/>
                  <a:pt x="0" y="8972"/>
                </a:cubicBezTo>
                <a:lnTo>
                  <a:pt x="0" y="0"/>
                </a:lnTo>
                <a:close/>
              </a:path>
            </a:pathLst>
          </a:cu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09" dirty="0">
              <a:solidFill>
                <a:schemeClr val="tx1"/>
              </a:solidFill>
            </a:endParaRPr>
          </a:p>
        </p:txBody>
      </p:sp>
      <p:sp>
        <p:nvSpPr>
          <p:cNvPr id="23" name="Rectangle 22"/>
          <p:cNvSpPr/>
          <p:nvPr userDrawn="1"/>
        </p:nvSpPr>
        <p:spPr bwMode="white">
          <a:xfrm>
            <a:off x="693431" y="7592467"/>
            <a:ext cx="6594305" cy="737253"/>
          </a:xfrm>
          <a:prstGeom prst="rect">
            <a:avLst/>
          </a:prstGeom>
        </p:spPr>
        <p:txBody>
          <a:bodyPr wrap="square" lIns="0" tIns="0" rIns="0" bIns="0" anchor="b" anchorCtr="0">
            <a:spAutoFit/>
          </a:bodyPr>
          <a:lstStyle/>
          <a:p>
            <a:pPr algn="l">
              <a:spcAft>
                <a:spcPts val="989"/>
              </a:spcAft>
            </a:pPr>
            <a:r>
              <a:rPr lang="en-US" sz="1319" noProof="0">
                <a:solidFill>
                  <a:schemeClr val="bg1"/>
                </a:solidFill>
                <a:latin typeface="Ubuntu" panose="020B0504030602030204" pitchFamily="34" charset="0"/>
                <a:cs typeface="Arial"/>
              </a:rPr>
              <a:t>This message contains information that may be privileged or confidential and is the property of the Capgemini Group.</a:t>
            </a:r>
          </a:p>
          <a:p>
            <a:pPr algn="l">
              <a:spcAft>
                <a:spcPts val="989"/>
              </a:spcAft>
            </a:pPr>
            <a:r>
              <a:rPr lang="en-US" sz="1319" noProof="0">
                <a:solidFill>
                  <a:schemeClr val="bg1"/>
                </a:solidFill>
                <a:latin typeface="Ubuntu" panose="020B0504030602030204" pitchFamily="34" charset="0"/>
                <a:cs typeface="Arial"/>
              </a:rPr>
              <a:t>Copyright</a:t>
            </a:r>
            <a:r>
              <a:rPr lang="en-US" sz="1319" baseline="30000" noProof="0">
                <a:solidFill>
                  <a:schemeClr val="bg1"/>
                </a:solidFill>
                <a:latin typeface="Ubuntu" panose="020B0504030602030204" pitchFamily="34" charset="0"/>
                <a:cs typeface="Arial"/>
              </a:rPr>
              <a:t>©</a:t>
            </a:r>
            <a:r>
              <a:rPr lang="en-US" sz="1319" noProof="0">
                <a:solidFill>
                  <a:schemeClr val="bg1"/>
                </a:solidFill>
                <a:latin typeface="Ubuntu" panose="020B0504030602030204" pitchFamily="34" charset="0"/>
                <a:cs typeface="Arial"/>
              </a:rPr>
              <a:t> 2022 Sogeti. All rights reserved.</a:t>
            </a: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6890336" y="679706"/>
            <a:ext cx="2600965" cy="1355257"/>
          </a:xfrm>
          <a:prstGeom prst="rect">
            <a:avLst/>
          </a:prstGeom>
        </p:spPr>
      </p:pic>
      <p:pic>
        <p:nvPicPr>
          <p:cNvPr id="9" name="Picture 2" descr="D:\My Work\Template\Icons\Social Media\LinkedIN.png">
            <a:hlinkClick r:id="rId3"/>
            <a:extLst>
              <a:ext uri="{FF2B5EF4-FFF2-40B4-BE49-F238E27FC236}">
                <a16:creationId xmlns:a16="http://schemas.microsoft.com/office/drawing/2014/main" id="{69B0AD73-FA6F-418A-94C3-EED4E25A5325}"/>
              </a:ext>
            </a:extLst>
          </p:cNvPr>
          <p:cNvPicPr>
            <a:picLocks noChangeAspect="1" noChangeArrowheads="1"/>
          </p:cNvPicPr>
          <p:nvPr userDrawn="1"/>
        </p:nvPicPr>
        <p:blipFill>
          <a:blip r:embed="rId4" cstate="print"/>
          <a:srcRect/>
          <a:stretch>
            <a:fillRect/>
          </a:stretch>
        </p:blipFill>
        <p:spPr bwMode="auto">
          <a:xfrm>
            <a:off x="693431" y="6545298"/>
            <a:ext cx="549425" cy="550389"/>
          </a:xfrm>
          <a:prstGeom prst="rect">
            <a:avLst/>
          </a:prstGeom>
          <a:noFill/>
        </p:spPr>
      </p:pic>
      <p:pic>
        <p:nvPicPr>
          <p:cNvPr id="12" name="Picture 5" descr="D:\My Work\Template\Icons\Social Media\Twitter.png">
            <a:hlinkClick r:id="rId5"/>
            <a:extLst>
              <a:ext uri="{FF2B5EF4-FFF2-40B4-BE49-F238E27FC236}">
                <a16:creationId xmlns:a16="http://schemas.microsoft.com/office/drawing/2014/main" id="{CD01C794-85B7-4ED7-A647-3BFD39BDA81E}"/>
              </a:ext>
            </a:extLst>
          </p:cNvPr>
          <p:cNvPicPr>
            <a:picLocks noChangeAspect="1" noChangeArrowheads="1"/>
          </p:cNvPicPr>
          <p:nvPr userDrawn="1"/>
        </p:nvPicPr>
        <p:blipFill>
          <a:blip r:embed="rId6" cstate="print"/>
          <a:srcRect/>
          <a:stretch>
            <a:fillRect/>
          </a:stretch>
        </p:blipFill>
        <p:spPr bwMode="auto">
          <a:xfrm>
            <a:off x="1325602" y="6545298"/>
            <a:ext cx="549425" cy="550389"/>
          </a:xfrm>
          <a:prstGeom prst="rect">
            <a:avLst/>
          </a:prstGeom>
          <a:noFill/>
        </p:spPr>
      </p:pic>
      <p:pic>
        <p:nvPicPr>
          <p:cNvPr id="13" name="Picture 6" descr="D:\My Work\Template\Icons\Social Media\YouTube.png">
            <a:hlinkClick r:id="rId7"/>
            <a:extLst>
              <a:ext uri="{FF2B5EF4-FFF2-40B4-BE49-F238E27FC236}">
                <a16:creationId xmlns:a16="http://schemas.microsoft.com/office/drawing/2014/main" id="{721FA104-A027-4E51-8E5C-6108C26E223D}"/>
              </a:ext>
            </a:extLst>
          </p:cNvPr>
          <p:cNvPicPr>
            <a:picLocks noChangeAspect="1" noChangeArrowheads="1"/>
          </p:cNvPicPr>
          <p:nvPr userDrawn="1"/>
        </p:nvPicPr>
        <p:blipFill>
          <a:blip r:embed="rId8" cstate="print"/>
          <a:srcRect/>
          <a:stretch>
            <a:fillRect/>
          </a:stretch>
        </p:blipFill>
        <p:spPr bwMode="auto">
          <a:xfrm>
            <a:off x="1957773" y="6545298"/>
            <a:ext cx="549425" cy="550389"/>
          </a:xfrm>
          <a:prstGeom prst="rect">
            <a:avLst/>
          </a:prstGeom>
          <a:noFill/>
        </p:spPr>
      </p:pic>
      <p:sp>
        <p:nvSpPr>
          <p:cNvPr id="14" name="Rectangle 13">
            <a:extLst>
              <a:ext uri="{FF2B5EF4-FFF2-40B4-BE49-F238E27FC236}">
                <a16:creationId xmlns:a16="http://schemas.microsoft.com/office/drawing/2014/main" id="{16F70F3E-1B6F-463A-B9AF-F5110998898F}"/>
              </a:ext>
            </a:extLst>
          </p:cNvPr>
          <p:cNvSpPr/>
          <p:nvPr userDrawn="1"/>
        </p:nvSpPr>
        <p:spPr>
          <a:xfrm>
            <a:off x="11071064" y="1507036"/>
            <a:ext cx="7425879" cy="78767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gn="l">
              <a:lnSpc>
                <a:spcPct val="300000"/>
              </a:lnSpc>
            </a:pPr>
            <a:r>
              <a:rPr lang="en-US" sz="2309" b="1">
                <a:solidFill>
                  <a:srgbClr val="2B0A3D"/>
                </a:solidFill>
                <a:latin typeface="Ubuntu" panose="020B0504030602030204" pitchFamily="34" charset="0"/>
              </a:rPr>
              <a:t>About Sogeti</a:t>
            </a:r>
            <a:r>
              <a:rPr lang="en-GB" sz="2638" b="1" kern="1200">
                <a:solidFill>
                  <a:schemeClr val="lt1"/>
                </a:solidFill>
                <a:effectLst/>
                <a:latin typeface="Ubuntu" panose="020B0504030602030204" pitchFamily="34" charset="0"/>
                <a:ea typeface="+mn-ea"/>
                <a:cs typeface="+mn-cs"/>
              </a:rPr>
              <a:t> </a:t>
            </a:r>
          </a:p>
          <a:p>
            <a:pPr marL="0" marR="0" lvl="0" indent="0" algn="l" defTabSz="1507846" rtl="0" eaLnBrk="1" fontAlgn="auto" latinLnBrk="0" hangingPunct="1">
              <a:lnSpc>
                <a:spcPct val="100000"/>
              </a:lnSpc>
              <a:spcBef>
                <a:spcPts val="0"/>
              </a:spcBef>
              <a:spcAft>
                <a:spcPts val="0"/>
              </a:spcAft>
              <a:buClrTx/>
              <a:buSzTx/>
              <a:buFontTx/>
              <a:buNone/>
              <a:tabLst/>
              <a:defRPr/>
            </a:pPr>
            <a:r>
              <a:rPr lang="en-GB" sz="1731" kern="1200">
                <a:solidFill>
                  <a:schemeClr val="tx1"/>
                </a:solidFill>
                <a:effectLst/>
                <a:latin typeface="Ubuntu Light" panose="020B0304030602030204" pitchFamily="34" charset="0"/>
                <a:ea typeface="+mn-ea"/>
                <a:cs typeface="+mn-cs"/>
              </a:rPr>
              <a:t>Part of the Capgemini Group, Sogeti makes business value through technology for organizations that need to implement innovation at speed and want a local partner with global scale. With a hands-on culture and close proximity to its clients, Sogeti implements solutions that will help organizations work faster, better, and smarter. By combining its agility and speed of implementation through a DevOps approach, Sogeti delivers innovative solutions in quality engineering, cloud and application development, all driven by AI, data and automation.</a:t>
            </a:r>
          </a:p>
          <a:p>
            <a:pPr marL="0" marR="0" lvl="0" indent="0" algn="l" defTabSz="1507846" rtl="0" eaLnBrk="1" fontAlgn="auto" latinLnBrk="0" hangingPunct="1">
              <a:lnSpc>
                <a:spcPct val="100000"/>
              </a:lnSpc>
              <a:spcBef>
                <a:spcPts val="0"/>
              </a:spcBef>
              <a:spcAft>
                <a:spcPts val="0"/>
              </a:spcAft>
              <a:buClrTx/>
              <a:buSzTx/>
              <a:buFontTx/>
              <a:buNone/>
              <a:tabLst/>
              <a:defRPr/>
            </a:pPr>
            <a:endParaRPr lang="en-GB" sz="1731" kern="1200">
              <a:solidFill>
                <a:schemeClr val="tx1"/>
              </a:solidFill>
              <a:effectLst/>
              <a:latin typeface="Ubuntu Light" panose="020B0304030602030204" pitchFamily="34" charset="0"/>
              <a:ea typeface="+mn-ea"/>
              <a:cs typeface="+mn-cs"/>
            </a:endParaRPr>
          </a:p>
          <a:p>
            <a:pPr marL="0" marR="0" lvl="0" indent="0" algn="l" defTabSz="1507846" rtl="0" eaLnBrk="1" fontAlgn="auto" latinLnBrk="0" hangingPunct="1">
              <a:lnSpc>
                <a:spcPct val="100000"/>
              </a:lnSpc>
              <a:spcBef>
                <a:spcPts val="0"/>
              </a:spcBef>
              <a:spcAft>
                <a:spcPts val="0"/>
              </a:spcAft>
              <a:buClrTx/>
              <a:buSzTx/>
              <a:buFontTx/>
              <a:buNone/>
              <a:tabLst/>
              <a:defRPr/>
            </a:pPr>
            <a:r>
              <a:rPr lang="en-GB" sz="1731" kern="1200">
                <a:solidFill>
                  <a:schemeClr val="tx1"/>
                </a:solidFill>
                <a:effectLst/>
                <a:latin typeface="Ubuntu Light" panose="020B0304030602030204" pitchFamily="34" charset="0"/>
                <a:ea typeface="+mn-ea"/>
                <a:cs typeface="+mn-cs"/>
              </a:rPr>
              <a:t>Visit us at </a:t>
            </a:r>
            <a:r>
              <a:rPr lang="en-GB" sz="1731" kern="1200">
                <a:solidFill>
                  <a:schemeClr val="tx1"/>
                </a:solidFill>
                <a:effectLst/>
                <a:latin typeface="Ubuntu Light" panose="020B0304030602030204" pitchFamily="34" charset="0"/>
                <a:ea typeface="+mn-ea"/>
                <a:cs typeface="+mn-cs"/>
                <a:hlinkClick r:id="rId9"/>
              </a:rPr>
              <a:t>www.sogeti.com</a:t>
            </a:r>
            <a:endParaRPr lang="en-GB" sz="1731" kern="1200">
              <a:solidFill>
                <a:schemeClr val="tx1"/>
              </a:solidFill>
              <a:effectLst/>
              <a:latin typeface="Ubuntu Light" panose="020B0304030602030204" pitchFamily="34" charset="0"/>
              <a:ea typeface="+mn-ea"/>
              <a:cs typeface="+mn-cs"/>
            </a:endParaRPr>
          </a:p>
          <a:p>
            <a:endParaRPr lang="en-GB" sz="1731" kern="1200">
              <a:solidFill>
                <a:schemeClr val="tx1"/>
              </a:solidFill>
              <a:effectLst/>
              <a:latin typeface="Ubuntu Light" panose="020B0304030602030204" pitchFamily="34" charset="0"/>
              <a:ea typeface="+mn-ea"/>
              <a:cs typeface="+mn-cs"/>
            </a:endParaRPr>
          </a:p>
          <a:p>
            <a:r>
              <a:rPr lang="en-GB" sz="1731" kern="1200">
                <a:solidFill>
                  <a:schemeClr val="tx1"/>
                </a:solidFill>
                <a:effectLst/>
                <a:latin typeface="Ubuntu Light" panose="020B0304030602030204" pitchFamily="34" charset="0"/>
                <a:ea typeface="+mn-ea"/>
                <a:cs typeface="+mn-cs"/>
              </a:rPr>
              <a:t> </a:t>
            </a:r>
          </a:p>
          <a:p>
            <a:r>
              <a:rPr lang="en-GB" sz="1731" kern="1200">
                <a:solidFill>
                  <a:schemeClr val="tx1"/>
                </a:solidFill>
                <a:effectLst/>
                <a:latin typeface="Ubuntu Light" panose="020B0304030602030204" pitchFamily="34" charset="0"/>
                <a:ea typeface="+mn-ea"/>
                <a:cs typeface="+mn-cs"/>
              </a:rPr>
              <a:t>Capgemini is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over 340,000 team members in more than 50 countries. With its strong 55-year heritage and deep industry expertise, Capgemini is trusted by its clients to address the entire breadth of their business needs, from strategy and design to operations, </a:t>
            </a:r>
            <a:r>
              <a:rPr lang="en-GB" sz="1731" kern="1200" err="1">
                <a:solidFill>
                  <a:schemeClr val="tx1"/>
                </a:solidFill>
                <a:effectLst/>
                <a:latin typeface="Ubuntu Light" panose="020B0304030602030204" pitchFamily="34" charset="0"/>
                <a:ea typeface="+mn-ea"/>
                <a:cs typeface="+mn-cs"/>
              </a:rPr>
              <a:t>fueled</a:t>
            </a:r>
            <a:r>
              <a:rPr lang="en-GB" sz="1731" kern="1200">
                <a:solidFill>
                  <a:schemeClr val="tx1"/>
                </a:solidFill>
                <a:effectLst/>
                <a:latin typeface="Ubuntu Light" panose="020B0304030602030204" pitchFamily="34" charset="0"/>
                <a:ea typeface="+mn-ea"/>
                <a:cs typeface="+mn-cs"/>
              </a:rPr>
              <a:t> by the fast evolving and innovative world of cloud, data, AI, connectivity, software, digital engineering and platforms. The Group reported in 2021 global revenues of €18 billion.. Get The Future You Want | </a:t>
            </a:r>
            <a:r>
              <a:rPr lang="en-GB" sz="1731" kern="1200">
                <a:solidFill>
                  <a:schemeClr val="tx1"/>
                </a:solidFill>
                <a:effectLst/>
                <a:latin typeface="Ubuntu Light" panose="020B0304030602030204" pitchFamily="34" charset="0"/>
                <a:ea typeface="+mn-ea"/>
                <a:cs typeface="+mn-cs"/>
                <a:hlinkClick r:id="rId10"/>
              </a:rPr>
              <a:t>www.capgemini.com</a:t>
            </a:r>
            <a:endParaRPr lang="en-GB" sz="1731" kern="1200">
              <a:solidFill>
                <a:schemeClr val="tx1"/>
              </a:solidFill>
              <a:effectLst/>
              <a:latin typeface="Ubuntu Light" panose="020B0304030602030204" pitchFamily="34" charset="0"/>
              <a:ea typeface="+mn-ea"/>
              <a:cs typeface="+mn-cs"/>
            </a:endParaRPr>
          </a:p>
          <a:p>
            <a:endParaRPr lang="en-GB" sz="1731" kern="1200">
              <a:solidFill>
                <a:schemeClr val="tx1"/>
              </a:solidFill>
              <a:effectLst/>
              <a:latin typeface="Ubuntu Light" panose="020B0304030602030204" pitchFamily="34" charset="0"/>
              <a:ea typeface="+mn-ea"/>
              <a:cs typeface="+mn-cs"/>
            </a:endParaRPr>
          </a:p>
          <a:p>
            <a:endParaRPr lang="en-GB" sz="1731" kern="1200">
              <a:solidFill>
                <a:schemeClr val="tx1"/>
              </a:solidFill>
              <a:effectLst/>
              <a:latin typeface="Ubuntu Light" panose="020B0304030602030204" pitchFamily="34" charset="0"/>
              <a:ea typeface="+mn-ea"/>
              <a:cs typeface="+mn-cs"/>
            </a:endParaRPr>
          </a:p>
        </p:txBody>
      </p:sp>
    </p:spTree>
    <p:extLst>
      <p:ext uri="{BB962C8B-B14F-4D97-AF65-F5344CB8AC3E}">
        <p14:creationId xmlns:p14="http://schemas.microsoft.com/office/powerpoint/2010/main" val="9552158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A62DA153-754E-1401-E6C1-386FD5388CF6}"/>
              </a:ext>
            </a:extLst>
          </p:cNvPr>
          <p:cNvPicPr>
            <a:picLocks noChangeAspect="1"/>
          </p:cNvPicPr>
          <p:nvPr userDrawn="1"/>
        </p:nvPicPr>
        <p:blipFill>
          <a:blip r:embed="rId2"/>
          <a:stretch>
            <a:fillRect/>
          </a:stretch>
        </p:blipFill>
        <p:spPr>
          <a:xfrm>
            <a:off x="0" y="-25400"/>
            <a:ext cx="20104100" cy="11353800"/>
          </a:xfrm>
          <a:prstGeom prst="rect">
            <a:avLst/>
          </a:prstGeom>
        </p:spPr>
      </p:pic>
      <p:sp>
        <p:nvSpPr>
          <p:cNvPr id="9" name="Rectángulo 8">
            <a:extLst>
              <a:ext uri="{FF2B5EF4-FFF2-40B4-BE49-F238E27FC236}">
                <a16:creationId xmlns:a16="http://schemas.microsoft.com/office/drawing/2014/main" id="{3F90CFEE-F33C-2F9D-40DF-8EA853D9E733}"/>
              </a:ext>
            </a:extLst>
          </p:cNvPr>
          <p:cNvSpPr/>
          <p:nvPr userDrawn="1"/>
        </p:nvSpPr>
        <p:spPr>
          <a:xfrm>
            <a:off x="4870450" y="0"/>
            <a:ext cx="15233650" cy="11328400"/>
          </a:xfrm>
          <a:prstGeom prst="rect">
            <a:avLst/>
          </a:prstGeom>
          <a:gradFill flip="none" rotWithShape="1">
            <a:gsLst>
              <a:gs pos="0">
                <a:schemeClr val="tx1">
                  <a:alpha val="0"/>
                </a:schemeClr>
              </a:gs>
              <a:gs pos="91000">
                <a:schemeClr val="tx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 name="Holder 4"/>
          <p:cNvSpPr>
            <a:spLocks noGrp="1"/>
          </p:cNvSpPr>
          <p:nvPr>
            <p:ph type="ftr" sz="quarter" idx="5"/>
          </p:nvPr>
        </p:nvSpPr>
        <p:spPr>
          <a:xfrm>
            <a:off x="16647741" y="10759212"/>
            <a:ext cx="2962677" cy="200055"/>
          </a:xfrm>
          <a:prstGeom prst="rect">
            <a:avLst/>
          </a:prstGeom>
        </p:spPr>
        <p:txBody>
          <a:bodyPr lIns="0" tIns="0" rIns="0" bIns="0"/>
          <a:lstStyle>
            <a:lvl1pPr>
              <a:defRPr sz="1300" b="0" i="0">
                <a:solidFill>
                  <a:schemeClr val="bg1"/>
                </a:solidFill>
                <a:latin typeface="Ubuntu Light"/>
                <a:cs typeface="Ubuntu Light"/>
              </a:defRPr>
            </a:lvl1pPr>
          </a:lstStyle>
          <a:p>
            <a:pPr marL="26034">
              <a:spcBef>
                <a:spcPts val="30"/>
              </a:spcBef>
            </a:pPr>
            <a:r>
              <a:rPr lang="es-ES" err="1"/>
              <a:t>Public</a:t>
            </a:r>
            <a:r>
              <a:rPr lang="es-ES" spc="-40"/>
              <a:t> </a:t>
            </a:r>
            <a:r>
              <a:rPr lang="es-ES"/>
              <a:t>©</a:t>
            </a:r>
            <a:r>
              <a:rPr lang="es-ES" spc="-40"/>
              <a:t> </a:t>
            </a:r>
            <a:r>
              <a:rPr lang="es-ES"/>
              <a:t>2023</a:t>
            </a:r>
            <a:r>
              <a:rPr lang="es-ES" spc="-40"/>
              <a:t> </a:t>
            </a:r>
            <a:r>
              <a:rPr lang="es-ES" spc="-10"/>
              <a:t>Sogeti.</a:t>
            </a:r>
            <a:r>
              <a:rPr lang="es-ES" spc="-35"/>
              <a:t> </a:t>
            </a:r>
            <a:r>
              <a:rPr lang="es-ES" err="1"/>
              <a:t>All</a:t>
            </a:r>
            <a:r>
              <a:rPr lang="es-ES" spc="-40"/>
              <a:t> </a:t>
            </a:r>
            <a:r>
              <a:rPr lang="es-ES" err="1"/>
              <a:t>rights</a:t>
            </a:r>
            <a:r>
              <a:rPr lang="es-ES" spc="-40"/>
              <a:t> </a:t>
            </a:r>
            <a:r>
              <a:rPr lang="es-ES" spc="-10" err="1"/>
              <a:t>reserved</a:t>
            </a:r>
            <a:endParaRPr lang="es-ES" spc="-10"/>
          </a:p>
        </p:txBody>
      </p:sp>
      <p:sp>
        <p:nvSpPr>
          <p:cNvPr id="2" name="CuadroTexto 1">
            <a:extLst>
              <a:ext uri="{FF2B5EF4-FFF2-40B4-BE49-F238E27FC236}">
                <a16:creationId xmlns:a16="http://schemas.microsoft.com/office/drawing/2014/main" id="{72E5CF79-7DA3-E21E-3060-87CB44907F25}"/>
              </a:ext>
            </a:extLst>
          </p:cNvPr>
          <p:cNvSpPr txBox="1"/>
          <p:nvPr userDrawn="1"/>
        </p:nvSpPr>
        <p:spPr>
          <a:xfrm>
            <a:off x="755650" y="10845800"/>
            <a:ext cx="7772400" cy="292388"/>
          </a:xfrm>
          <a:prstGeom prst="rect">
            <a:avLst/>
          </a:prstGeom>
          <a:noFill/>
        </p:spPr>
        <p:txBody>
          <a:bodyPr wrap="square" rtlCol="0">
            <a:spAutoFit/>
          </a:bodyPr>
          <a:lstStyle/>
          <a:p>
            <a:r>
              <a:rPr lang="es-ES" sz="1300" b="0" i="0">
                <a:solidFill>
                  <a:schemeClr val="bg1"/>
                </a:solidFill>
                <a:latin typeface="Ubuntu Medium" panose="020B0504030602030204" pitchFamily="34" charset="0"/>
              </a:rPr>
              <a:t>#FlourishingDigitalBusinessWithQuality </a:t>
            </a:r>
            <a:r>
              <a:rPr lang="es-ES" sz="1300" b="1" i="0">
                <a:solidFill>
                  <a:schemeClr val="bg1"/>
                </a:solidFill>
                <a:latin typeface="Ubuntu" panose="020B0504030602030204" pitchFamily="34" charset="0"/>
              </a:rPr>
              <a:t> </a:t>
            </a:r>
            <a:r>
              <a:rPr lang="es-ES" sz="1300" b="1" i="0">
                <a:solidFill>
                  <a:srgbClr val="290E3B"/>
                </a:solidFill>
                <a:latin typeface="Ubuntu" panose="020B0504030602030204" pitchFamily="34" charset="0"/>
              </a:rPr>
              <a:t>·</a:t>
            </a:r>
            <a:r>
              <a:rPr lang="es-ES" sz="1300" b="0" i="0">
                <a:solidFill>
                  <a:schemeClr val="tx2"/>
                </a:solidFill>
                <a:latin typeface="Ubuntu Medium" panose="020B0504030602030204" pitchFamily="34" charset="0"/>
              </a:rPr>
              <a:t>   </a:t>
            </a:r>
            <a:r>
              <a:rPr lang="es-ES" sz="1300" b="1" i="0">
                <a:solidFill>
                  <a:srgbClr val="12A9D8"/>
                </a:solidFill>
                <a:latin typeface="Ubuntu" panose="020B0504030602030204" pitchFamily="34" charset="0"/>
              </a:rPr>
              <a:t>Sogeti España</a:t>
            </a:r>
          </a:p>
        </p:txBody>
      </p:sp>
      <p:sp>
        <p:nvSpPr>
          <p:cNvPr id="5" name="Forma libre 4">
            <a:extLst>
              <a:ext uri="{FF2B5EF4-FFF2-40B4-BE49-F238E27FC236}">
                <a16:creationId xmlns:a16="http://schemas.microsoft.com/office/drawing/2014/main" id="{FBAABD7F-C513-9B40-6AE2-E43DB3944CCE}"/>
              </a:ext>
            </a:extLst>
          </p:cNvPr>
          <p:cNvSpPr/>
          <p:nvPr userDrawn="1"/>
        </p:nvSpPr>
        <p:spPr>
          <a:xfrm flipV="1">
            <a:off x="755650" y="10384024"/>
            <a:ext cx="2362200" cy="385576"/>
          </a:xfrm>
          <a:custGeom>
            <a:avLst/>
            <a:gdLst/>
            <a:ahLst/>
            <a:cxnLst/>
            <a:rect l="l" t="t" r="r" b="b"/>
            <a:pathLst>
              <a:path w="4876802" h="796029">
                <a:moveTo>
                  <a:pt x="2572782" y="405299"/>
                </a:moveTo>
                <a:cubicBezTo>
                  <a:pt x="2589609" y="405299"/>
                  <a:pt x="2601809" y="398820"/>
                  <a:pt x="2609382" y="385863"/>
                </a:cubicBezTo>
                <a:cubicBezTo>
                  <a:pt x="2616954" y="372906"/>
                  <a:pt x="2620740" y="355826"/>
                  <a:pt x="2620740" y="334623"/>
                </a:cubicBezTo>
                <a:cubicBezTo>
                  <a:pt x="2620740" y="313420"/>
                  <a:pt x="2616618" y="296256"/>
                  <a:pt x="2608372" y="283131"/>
                </a:cubicBezTo>
                <a:cubicBezTo>
                  <a:pt x="2600126" y="270006"/>
                  <a:pt x="2587927" y="263443"/>
                  <a:pt x="2571772" y="263443"/>
                </a:cubicBezTo>
                <a:cubicBezTo>
                  <a:pt x="2554945" y="263443"/>
                  <a:pt x="2542744" y="270006"/>
                  <a:pt x="2535172" y="283131"/>
                </a:cubicBezTo>
                <a:cubicBezTo>
                  <a:pt x="2527600" y="296256"/>
                  <a:pt x="2523814" y="313420"/>
                  <a:pt x="2523814" y="334623"/>
                </a:cubicBezTo>
                <a:cubicBezTo>
                  <a:pt x="2523814" y="355826"/>
                  <a:pt x="2527937" y="372906"/>
                  <a:pt x="2536182" y="385863"/>
                </a:cubicBezTo>
                <a:cubicBezTo>
                  <a:pt x="2544428" y="398820"/>
                  <a:pt x="2556628" y="405299"/>
                  <a:pt x="2572782" y="405299"/>
                </a:cubicBezTo>
                <a:close/>
                <a:moveTo>
                  <a:pt x="1810782" y="405299"/>
                </a:moveTo>
                <a:cubicBezTo>
                  <a:pt x="1827610" y="405299"/>
                  <a:pt x="1839810" y="398820"/>
                  <a:pt x="1847382" y="385863"/>
                </a:cubicBezTo>
                <a:cubicBezTo>
                  <a:pt x="1854954" y="372906"/>
                  <a:pt x="1858740" y="355826"/>
                  <a:pt x="1858740" y="334623"/>
                </a:cubicBezTo>
                <a:cubicBezTo>
                  <a:pt x="1858740" y="313420"/>
                  <a:pt x="1854618" y="296256"/>
                  <a:pt x="1846372" y="283131"/>
                </a:cubicBezTo>
                <a:cubicBezTo>
                  <a:pt x="1838127" y="270006"/>
                  <a:pt x="1825927" y="263443"/>
                  <a:pt x="1809772" y="263443"/>
                </a:cubicBezTo>
                <a:cubicBezTo>
                  <a:pt x="1792945" y="263443"/>
                  <a:pt x="1780745" y="270006"/>
                  <a:pt x="1773173" y="283131"/>
                </a:cubicBezTo>
                <a:cubicBezTo>
                  <a:pt x="1765600" y="296256"/>
                  <a:pt x="1761814" y="313420"/>
                  <a:pt x="1761814" y="334623"/>
                </a:cubicBezTo>
                <a:cubicBezTo>
                  <a:pt x="1761814" y="355826"/>
                  <a:pt x="1765937" y="372906"/>
                  <a:pt x="1774182" y="385863"/>
                </a:cubicBezTo>
                <a:cubicBezTo>
                  <a:pt x="1782428" y="398820"/>
                  <a:pt x="1794628" y="405299"/>
                  <a:pt x="1810782" y="405299"/>
                </a:cubicBezTo>
                <a:close/>
                <a:moveTo>
                  <a:pt x="810657" y="405299"/>
                </a:moveTo>
                <a:cubicBezTo>
                  <a:pt x="827485" y="405299"/>
                  <a:pt x="839684" y="398820"/>
                  <a:pt x="847257" y="385863"/>
                </a:cubicBezTo>
                <a:cubicBezTo>
                  <a:pt x="854829" y="372906"/>
                  <a:pt x="858615" y="355826"/>
                  <a:pt x="858616" y="334623"/>
                </a:cubicBezTo>
                <a:cubicBezTo>
                  <a:pt x="858615" y="313420"/>
                  <a:pt x="854493" y="296256"/>
                  <a:pt x="846247" y="283131"/>
                </a:cubicBezTo>
                <a:cubicBezTo>
                  <a:pt x="838002" y="270006"/>
                  <a:pt x="825802" y="263443"/>
                  <a:pt x="809647" y="263443"/>
                </a:cubicBezTo>
                <a:cubicBezTo>
                  <a:pt x="792820" y="263443"/>
                  <a:pt x="780620" y="270006"/>
                  <a:pt x="773048" y="283131"/>
                </a:cubicBezTo>
                <a:cubicBezTo>
                  <a:pt x="765475" y="296256"/>
                  <a:pt x="761689" y="313420"/>
                  <a:pt x="761689" y="334623"/>
                </a:cubicBezTo>
                <a:cubicBezTo>
                  <a:pt x="761689" y="355826"/>
                  <a:pt x="765812" y="372906"/>
                  <a:pt x="774057" y="385863"/>
                </a:cubicBezTo>
                <a:cubicBezTo>
                  <a:pt x="782303" y="398820"/>
                  <a:pt x="794503" y="405299"/>
                  <a:pt x="810657" y="405299"/>
                </a:cubicBezTo>
                <a:close/>
                <a:moveTo>
                  <a:pt x="3325256" y="411861"/>
                </a:moveTo>
                <a:cubicBezTo>
                  <a:pt x="3316506" y="411861"/>
                  <a:pt x="3309608" y="408496"/>
                  <a:pt x="3304560" y="401765"/>
                </a:cubicBezTo>
                <a:cubicBezTo>
                  <a:pt x="3299512" y="395034"/>
                  <a:pt x="3296988" y="387125"/>
                  <a:pt x="3296988" y="378038"/>
                </a:cubicBezTo>
                <a:cubicBezTo>
                  <a:pt x="3296988" y="368951"/>
                  <a:pt x="3299512" y="361126"/>
                  <a:pt x="3304560" y="354564"/>
                </a:cubicBezTo>
                <a:cubicBezTo>
                  <a:pt x="3309608" y="348001"/>
                  <a:pt x="3316506" y="344720"/>
                  <a:pt x="3325256" y="344720"/>
                </a:cubicBezTo>
                <a:cubicBezTo>
                  <a:pt x="3333334" y="344720"/>
                  <a:pt x="3339980" y="348001"/>
                  <a:pt x="3345198" y="354564"/>
                </a:cubicBezTo>
                <a:cubicBezTo>
                  <a:pt x="3350414" y="361126"/>
                  <a:pt x="3353022" y="368951"/>
                  <a:pt x="3353022" y="378038"/>
                </a:cubicBezTo>
                <a:cubicBezTo>
                  <a:pt x="3353022" y="387125"/>
                  <a:pt x="3350414" y="395034"/>
                  <a:pt x="3345198" y="401765"/>
                </a:cubicBezTo>
                <a:cubicBezTo>
                  <a:pt x="3339980" y="408496"/>
                  <a:pt x="3333334" y="411861"/>
                  <a:pt x="3325256" y="411861"/>
                </a:cubicBezTo>
                <a:close/>
                <a:moveTo>
                  <a:pt x="2207070" y="453257"/>
                </a:moveTo>
                <a:lnTo>
                  <a:pt x="2207070" y="401765"/>
                </a:lnTo>
                <a:lnTo>
                  <a:pt x="2272697" y="401765"/>
                </a:lnTo>
                <a:lnTo>
                  <a:pt x="2272697" y="314430"/>
                </a:lnTo>
                <a:cubicBezTo>
                  <a:pt x="2272697" y="297939"/>
                  <a:pt x="2274043" y="283299"/>
                  <a:pt x="2276735" y="270510"/>
                </a:cubicBezTo>
                <a:cubicBezTo>
                  <a:pt x="2279428" y="257721"/>
                  <a:pt x="2284055" y="246868"/>
                  <a:pt x="2290618" y="237949"/>
                </a:cubicBezTo>
                <a:cubicBezTo>
                  <a:pt x="2297181" y="229031"/>
                  <a:pt x="2305931" y="222215"/>
                  <a:pt x="2316869" y="217504"/>
                </a:cubicBezTo>
                <a:cubicBezTo>
                  <a:pt x="2327807" y="212792"/>
                  <a:pt x="2341353" y="210436"/>
                  <a:pt x="2357508" y="210436"/>
                </a:cubicBezTo>
                <a:cubicBezTo>
                  <a:pt x="2366931" y="210436"/>
                  <a:pt x="2377280" y="211530"/>
                  <a:pt x="2388554" y="213718"/>
                </a:cubicBezTo>
                <a:cubicBezTo>
                  <a:pt x="2399829" y="215905"/>
                  <a:pt x="2411860" y="220028"/>
                  <a:pt x="2424649" y="226086"/>
                </a:cubicBezTo>
                <a:lnTo>
                  <a:pt x="2416572" y="276063"/>
                </a:lnTo>
                <a:cubicBezTo>
                  <a:pt x="2406475" y="271352"/>
                  <a:pt x="2397388" y="268239"/>
                  <a:pt x="2389312" y="266724"/>
                </a:cubicBezTo>
                <a:cubicBezTo>
                  <a:pt x="2381234" y="265210"/>
                  <a:pt x="2374335" y="264452"/>
                  <a:pt x="2368614" y="264452"/>
                </a:cubicBezTo>
                <a:cubicBezTo>
                  <a:pt x="2356498" y="264452"/>
                  <a:pt x="2347832" y="267902"/>
                  <a:pt x="2342615" y="274801"/>
                </a:cubicBezTo>
                <a:cubicBezTo>
                  <a:pt x="2337398" y="281701"/>
                  <a:pt x="2334790" y="292218"/>
                  <a:pt x="2334790" y="306353"/>
                </a:cubicBezTo>
                <a:lnTo>
                  <a:pt x="2334790" y="453257"/>
                </a:lnTo>
                <a:close/>
                <a:moveTo>
                  <a:pt x="1088092" y="457800"/>
                </a:moveTo>
                <a:cubicBezTo>
                  <a:pt x="1064870" y="457800"/>
                  <a:pt x="1044593" y="455949"/>
                  <a:pt x="1027260" y="452247"/>
                </a:cubicBezTo>
                <a:cubicBezTo>
                  <a:pt x="1009928" y="448545"/>
                  <a:pt x="993016" y="443665"/>
                  <a:pt x="976526" y="437607"/>
                </a:cubicBezTo>
                <a:lnTo>
                  <a:pt x="976526" y="215989"/>
                </a:lnTo>
                <a:lnTo>
                  <a:pt x="1039124" y="215989"/>
                </a:lnTo>
                <a:lnTo>
                  <a:pt x="1039124" y="392173"/>
                </a:lnTo>
                <a:cubicBezTo>
                  <a:pt x="1047874" y="394529"/>
                  <a:pt x="1056456" y="396128"/>
                  <a:pt x="1064870" y="396969"/>
                </a:cubicBezTo>
                <a:cubicBezTo>
                  <a:pt x="1073284" y="397810"/>
                  <a:pt x="1081866" y="398231"/>
                  <a:pt x="1090616" y="398231"/>
                </a:cubicBezTo>
                <a:cubicBezTo>
                  <a:pt x="1094318" y="398231"/>
                  <a:pt x="1098861" y="398063"/>
                  <a:pt x="1104246" y="397726"/>
                </a:cubicBezTo>
                <a:cubicBezTo>
                  <a:pt x="1109631" y="397390"/>
                  <a:pt x="1115184" y="396801"/>
                  <a:pt x="1120905" y="395959"/>
                </a:cubicBezTo>
                <a:cubicBezTo>
                  <a:pt x="1126627" y="395118"/>
                  <a:pt x="1132264" y="394192"/>
                  <a:pt x="1137817" y="393183"/>
                </a:cubicBezTo>
                <a:cubicBezTo>
                  <a:pt x="1143370" y="392173"/>
                  <a:pt x="1148166" y="391164"/>
                  <a:pt x="1152205" y="390154"/>
                </a:cubicBezTo>
                <a:lnTo>
                  <a:pt x="1163311" y="447704"/>
                </a:lnTo>
                <a:cubicBezTo>
                  <a:pt x="1157589" y="449723"/>
                  <a:pt x="1151111" y="451322"/>
                  <a:pt x="1143875" y="452500"/>
                </a:cubicBezTo>
                <a:cubicBezTo>
                  <a:pt x="1136639" y="453678"/>
                  <a:pt x="1129487" y="454687"/>
                  <a:pt x="1122420" y="455529"/>
                </a:cubicBezTo>
                <a:cubicBezTo>
                  <a:pt x="1115352" y="456370"/>
                  <a:pt x="1108706" y="456959"/>
                  <a:pt x="1102479" y="457296"/>
                </a:cubicBezTo>
                <a:cubicBezTo>
                  <a:pt x="1096253" y="457632"/>
                  <a:pt x="1091457" y="457800"/>
                  <a:pt x="1088092" y="457800"/>
                </a:cubicBezTo>
                <a:close/>
                <a:moveTo>
                  <a:pt x="2572782" y="459315"/>
                </a:moveTo>
                <a:cubicBezTo>
                  <a:pt x="2556628" y="459315"/>
                  <a:pt x="2541651" y="456370"/>
                  <a:pt x="2527852" y="450480"/>
                </a:cubicBezTo>
                <a:cubicBezTo>
                  <a:pt x="2514054" y="444591"/>
                  <a:pt x="2502190" y="436177"/>
                  <a:pt x="2492262" y="425239"/>
                </a:cubicBezTo>
                <a:cubicBezTo>
                  <a:pt x="2482334" y="414301"/>
                  <a:pt x="2474594" y="401176"/>
                  <a:pt x="2469040" y="385863"/>
                </a:cubicBezTo>
                <a:cubicBezTo>
                  <a:pt x="2463487" y="370550"/>
                  <a:pt x="2460711" y="353638"/>
                  <a:pt x="2460711" y="335128"/>
                </a:cubicBezTo>
                <a:cubicBezTo>
                  <a:pt x="2460711" y="316281"/>
                  <a:pt x="2463403" y="299201"/>
                  <a:pt x="2468788" y="283888"/>
                </a:cubicBezTo>
                <a:cubicBezTo>
                  <a:pt x="2474173" y="268575"/>
                  <a:pt x="2481829" y="255366"/>
                  <a:pt x="2491758" y="244259"/>
                </a:cubicBezTo>
                <a:cubicBezTo>
                  <a:pt x="2501686" y="233153"/>
                  <a:pt x="2513465" y="224571"/>
                  <a:pt x="2527095" y="218513"/>
                </a:cubicBezTo>
                <a:cubicBezTo>
                  <a:pt x="2540726" y="212455"/>
                  <a:pt x="2555954" y="209427"/>
                  <a:pt x="2572782" y="209427"/>
                </a:cubicBezTo>
                <a:cubicBezTo>
                  <a:pt x="2589609" y="209427"/>
                  <a:pt x="2604838" y="212455"/>
                  <a:pt x="2618468" y="218513"/>
                </a:cubicBezTo>
                <a:cubicBezTo>
                  <a:pt x="2632098" y="224571"/>
                  <a:pt x="2643794" y="233153"/>
                  <a:pt x="2653554" y="244259"/>
                </a:cubicBezTo>
                <a:cubicBezTo>
                  <a:pt x="2663314" y="255366"/>
                  <a:pt x="2670886" y="268575"/>
                  <a:pt x="2676271" y="283888"/>
                </a:cubicBezTo>
                <a:cubicBezTo>
                  <a:pt x="2681656" y="299201"/>
                  <a:pt x="2684348" y="316281"/>
                  <a:pt x="2684348" y="335128"/>
                </a:cubicBezTo>
                <a:cubicBezTo>
                  <a:pt x="2684348" y="353638"/>
                  <a:pt x="2681656" y="370550"/>
                  <a:pt x="2676271" y="385863"/>
                </a:cubicBezTo>
                <a:cubicBezTo>
                  <a:pt x="2670886" y="401176"/>
                  <a:pt x="2663230" y="414301"/>
                  <a:pt x="2653302" y="425239"/>
                </a:cubicBezTo>
                <a:cubicBezTo>
                  <a:pt x="2643373" y="436177"/>
                  <a:pt x="2631594" y="444591"/>
                  <a:pt x="2617964" y="450480"/>
                </a:cubicBezTo>
                <a:cubicBezTo>
                  <a:pt x="2604334" y="456370"/>
                  <a:pt x="2589273" y="459315"/>
                  <a:pt x="2572782" y="459315"/>
                </a:cubicBezTo>
                <a:close/>
                <a:moveTo>
                  <a:pt x="1810782" y="459315"/>
                </a:moveTo>
                <a:cubicBezTo>
                  <a:pt x="1794628" y="459315"/>
                  <a:pt x="1779651" y="456370"/>
                  <a:pt x="1765853" y="450480"/>
                </a:cubicBezTo>
                <a:cubicBezTo>
                  <a:pt x="1752054" y="444591"/>
                  <a:pt x="1740191" y="436177"/>
                  <a:pt x="1730262" y="425239"/>
                </a:cubicBezTo>
                <a:cubicBezTo>
                  <a:pt x="1720334" y="414301"/>
                  <a:pt x="1712594" y="401176"/>
                  <a:pt x="1707040" y="385863"/>
                </a:cubicBezTo>
                <a:cubicBezTo>
                  <a:pt x="1701488" y="370550"/>
                  <a:pt x="1698711" y="353638"/>
                  <a:pt x="1698711" y="335128"/>
                </a:cubicBezTo>
                <a:cubicBezTo>
                  <a:pt x="1698711" y="316281"/>
                  <a:pt x="1701403" y="299201"/>
                  <a:pt x="1706788" y="283888"/>
                </a:cubicBezTo>
                <a:cubicBezTo>
                  <a:pt x="1712173" y="268575"/>
                  <a:pt x="1719829" y="255366"/>
                  <a:pt x="1729758" y="244259"/>
                </a:cubicBezTo>
                <a:cubicBezTo>
                  <a:pt x="1739686" y="233153"/>
                  <a:pt x="1751465" y="224571"/>
                  <a:pt x="1765095" y="218513"/>
                </a:cubicBezTo>
                <a:cubicBezTo>
                  <a:pt x="1778726" y="212455"/>
                  <a:pt x="1793954" y="209427"/>
                  <a:pt x="1810782" y="209427"/>
                </a:cubicBezTo>
                <a:cubicBezTo>
                  <a:pt x="1827610" y="209427"/>
                  <a:pt x="1842838" y="212455"/>
                  <a:pt x="1856469" y="218513"/>
                </a:cubicBezTo>
                <a:cubicBezTo>
                  <a:pt x="1870099" y="224571"/>
                  <a:pt x="1881794" y="233153"/>
                  <a:pt x="1891554" y="244259"/>
                </a:cubicBezTo>
                <a:cubicBezTo>
                  <a:pt x="1901314" y="255366"/>
                  <a:pt x="1908886" y="268575"/>
                  <a:pt x="1914271" y="283888"/>
                </a:cubicBezTo>
                <a:cubicBezTo>
                  <a:pt x="1919656" y="299201"/>
                  <a:pt x="1922348" y="316281"/>
                  <a:pt x="1922348" y="335128"/>
                </a:cubicBezTo>
                <a:cubicBezTo>
                  <a:pt x="1922348" y="353638"/>
                  <a:pt x="1919656" y="370550"/>
                  <a:pt x="1914271" y="385863"/>
                </a:cubicBezTo>
                <a:cubicBezTo>
                  <a:pt x="1908886" y="401176"/>
                  <a:pt x="1901230" y="414301"/>
                  <a:pt x="1891302" y="425239"/>
                </a:cubicBezTo>
                <a:cubicBezTo>
                  <a:pt x="1881374" y="436177"/>
                  <a:pt x="1869594" y="444591"/>
                  <a:pt x="1855964" y="450480"/>
                </a:cubicBezTo>
                <a:cubicBezTo>
                  <a:pt x="1842334" y="456370"/>
                  <a:pt x="1827273" y="459315"/>
                  <a:pt x="1810782" y="459315"/>
                </a:cubicBezTo>
                <a:close/>
                <a:moveTo>
                  <a:pt x="810657" y="459315"/>
                </a:moveTo>
                <a:cubicBezTo>
                  <a:pt x="794503" y="459315"/>
                  <a:pt x="779526" y="456370"/>
                  <a:pt x="765728" y="450480"/>
                </a:cubicBezTo>
                <a:cubicBezTo>
                  <a:pt x="751929" y="444591"/>
                  <a:pt x="740066" y="436177"/>
                  <a:pt x="730138" y="425239"/>
                </a:cubicBezTo>
                <a:cubicBezTo>
                  <a:pt x="720209" y="414301"/>
                  <a:pt x="712469" y="401176"/>
                  <a:pt x="706916" y="385863"/>
                </a:cubicBezTo>
                <a:cubicBezTo>
                  <a:pt x="701362" y="370550"/>
                  <a:pt x="698586" y="353638"/>
                  <a:pt x="698586" y="335128"/>
                </a:cubicBezTo>
                <a:cubicBezTo>
                  <a:pt x="698586" y="316281"/>
                  <a:pt x="701278" y="299201"/>
                  <a:pt x="706663" y="283888"/>
                </a:cubicBezTo>
                <a:cubicBezTo>
                  <a:pt x="712048" y="268575"/>
                  <a:pt x="719704" y="255366"/>
                  <a:pt x="729633" y="244259"/>
                </a:cubicBezTo>
                <a:cubicBezTo>
                  <a:pt x="739561" y="233153"/>
                  <a:pt x="751340" y="224571"/>
                  <a:pt x="764970" y="218513"/>
                </a:cubicBezTo>
                <a:cubicBezTo>
                  <a:pt x="778601" y="212455"/>
                  <a:pt x="793830" y="209427"/>
                  <a:pt x="810657" y="209427"/>
                </a:cubicBezTo>
                <a:cubicBezTo>
                  <a:pt x="827485" y="209427"/>
                  <a:pt x="842713" y="212455"/>
                  <a:pt x="856344" y="218513"/>
                </a:cubicBezTo>
                <a:cubicBezTo>
                  <a:pt x="869974" y="224571"/>
                  <a:pt x="881669" y="233153"/>
                  <a:pt x="891429" y="244259"/>
                </a:cubicBezTo>
                <a:cubicBezTo>
                  <a:pt x="901189" y="255366"/>
                  <a:pt x="908761" y="268575"/>
                  <a:pt x="914146" y="283888"/>
                </a:cubicBezTo>
                <a:cubicBezTo>
                  <a:pt x="919531" y="299201"/>
                  <a:pt x="922223" y="316281"/>
                  <a:pt x="922223" y="335128"/>
                </a:cubicBezTo>
                <a:cubicBezTo>
                  <a:pt x="922223" y="353638"/>
                  <a:pt x="919531" y="370550"/>
                  <a:pt x="914146" y="385863"/>
                </a:cubicBezTo>
                <a:cubicBezTo>
                  <a:pt x="908761" y="401176"/>
                  <a:pt x="901105" y="414301"/>
                  <a:pt x="891177" y="425239"/>
                </a:cubicBezTo>
                <a:cubicBezTo>
                  <a:pt x="881248" y="436177"/>
                  <a:pt x="869469" y="444591"/>
                  <a:pt x="855839" y="450480"/>
                </a:cubicBezTo>
                <a:cubicBezTo>
                  <a:pt x="842209" y="456370"/>
                  <a:pt x="827148" y="459315"/>
                  <a:pt x="810657" y="459315"/>
                </a:cubicBezTo>
                <a:close/>
                <a:moveTo>
                  <a:pt x="546919" y="477993"/>
                </a:moveTo>
                <a:cubicBezTo>
                  <a:pt x="563410" y="477993"/>
                  <a:pt x="576620" y="474207"/>
                  <a:pt x="586548" y="466635"/>
                </a:cubicBezTo>
                <a:cubicBezTo>
                  <a:pt x="596476" y="459062"/>
                  <a:pt x="601441" y="446189"/>
                  <a:pt x="601441" y="428016"/>
                </a:cubicBezTo>
                <a:cubicBezTo>
                  <a:pt x="601441" y="408832"/>
                  <a:pt x="596392" y="395286"/>
                  <a:pt x="586296" y="387377"/>
                </a:cubicBezTo>
                <a:cubicBezTo>
                  <a:pt x="576199" y="379468"/>
                  <a:pt x="561223" y="375514"/>
                  <a:pt x="541366" y="375514"/>
                </a:cubicBezTo>
                <a:lnTo>
                  <a:pt x="516125" y="375514"/>
                </a:lnTo>
                <a:lnTo>
                  <a:pt x="516125" y="476479"/>
                </a:lnTo>
                <a:cubicBezTo>
                  <a:pt x="519827" y="477152"/>
                  <a:pt x="524960" y="477573"/>
                  <a:pt x="531522" y="477741"/>
                </a:cubicBezTo>
                <a:cubicBezTo>
                  <a:pt x="538085" y="477909"/>
                  <a:pt x="543217" y="477993"/>
                  <a:pt x="546919" y="477993"/>
                </a:cubicBezTo>
                <a:close/>
                <a:moveTo>
                  <a:pt x="3324752" y="482537"/>
                </a:moveTo>
                <a:cubicBezTo>
                  <a:pt x="3341916" y="482537"/>
                  <a:pt x="3354958" y="473198"/>
                  <a:pt x="3363876" y="454519"/>
                </a:cubicBezTo>
                <a:cubicBezTo>
                  <a:pt x="3372794" y="435841"/>
                  <a:pt x="3377254" y="408664"/>
                  <a:pt x="3377254" y="372990"/>
                </a:cubicBezTo>
                <a:cubicBezTo>
                  <a:pt x="3377254" y="336979"/>
                  <a:pt x="3372794" y="309634"/>
                  <a:pt x="3363876" y="290956"/>
                </a:cubicBezTo>
                <a:cubicBezTo>
                  <a:pt x="3354958" y="272277"/>
                  <a:pt x="3341916" y="262938"/>
                  <a:pt x="3324752" y="262938"/>
                </a:cubicBezTo>
                <a:cubicBezTo>
                  <a:pt x="3307924" y="262938"/>
                  <a:pt x="3294968" y="272277"/>
                  <a:pt x="3285880" y="290956"/>
                </a:cubicBezTo>
                <a:cubicBezTo>
                  <a:pt x="3276794" y="309634"/>
                  <a:pt x="3272250" y="336979"/>
                  <a:pt x="3272250" y="372990"/>
                </a:cubicBezTo>
                <a:cubicBezTo>
                  <a:pt x="3272250" y="408664"/>
                  <a:pt x="3276794" y="435841"/>
                  <a:pt x="3285880" y="454519"/>
                </a:cubicBezTo>
                <a:cubicBezTo>
                  <a:pt x="3294968" y="473198"/>
                  <a:pt x="3307924" y="482537"/>
                  <a:pt x="3324752" y="482537"/>
                </a:cubicBezTo>
                <a:close/>
                <a:moveTo>
                  <a:pt x="1323054" y="522923"/>
                </a:moveTo>
                <a:lnTo>
                  <a:pt x="1260961" y="512826"/>
                </a:lnTo>
                <a:lnTo>
                  <a:pt x="1260961" y="453257"/>
                </a:lnTo>
                <a:lnTo>
                  <a:pt x="1206945" y="453257"/>
                </a:lnTo>
                <a:lnTo>
                  <a:pt x="1206945" y="401765"/>
                </a:lnTo>
                <a:lnTo>
                  <a:pt x="1260961" y="401765"/>
                </a:lnTo>
                <a:lnTo>
                  <a:pt x="1260961" y="304334"/>
                </a:lnTo>
                <a:cubicBezTo>
                  <a:pt x="1260961" y="284477"/>
                  <a:pt x="1262980" y="268407"/>
                  <a:pt x="1267019" y="256123"/>
                </a:cubicBezTo>
                <a:cubicBezTo>
                  <a:pt x="1271057" y="243839"/>
                  <a:pt x="1276947" y="234331"/>
                  <a:pt x="1284688" y="227600"/>
                </a:cubicBezTo>
                <a:cubicBezTo>
                  <a:pt x="1292428" y="220869"/>
                  <a:pt x="1301852" y="216326"/>
                  <a:pt x="1312958" y="213970"/>
                </a:cubicBezTo>
                <a:cubicBezTo>
                  <a:pt x="1324064" y="211614"/>
                  <a:pt x="1336853" y="210436"/>
                  <a:pt x="1351325" y="210436"/>
                </a:cubicBezTo>
                <a:cubicBezTo>
                  <a:pt x="1363777" y="210436"/>
                  <a:pt x="1376650" y="211446"/>
                  <a:pt x="1389944" y="213465"/>
                </a:cubicBezTo>
                <a:cubicBezTo>
                  <a:pt x="1403238" y="215484"/>
                  <a:pt x="1415606" y="218850"/>
                  <a:pt x="1427048" y="223562"/>
                </a:cubicBezTo>
                <a:lnTo>
                  <a:pt x="1418466" y="277073"/>
                </a:lnTo>
                <a:cubicBezTo>
                  <a:pt x="1412745" y="274381"/>
                  <a:pt x="1407444" y="272193"/>
                  <a:pt x="1402564" y="270510"/>
                </a:cubicBezTo>
                <a:cubicBezTo>
                  <a:pt x="1397684" y="268828"/>
                  <a:pt x="1392973" y="267566"/>
                  <a:pt x="1388429" y="266724"/>
                </a:cubicBezTo>
                <a:cubicBezTo>
                  <a:pt x="1383886" y="265883"/>
                  <a:pt x="1379174" y="265294"/>
                  <a:pt x="1374294" y="264957"/>
                </a:cubicBezTo>
                <a:cubicBezTo>
                  <a:pt x="1369414" y="264621"/>
                  <a:pt x="1364114" y="264452"/>
                  <a:pt x="1358392" y="264452"/>
                </a:cubicBezTo>
                <a:cubicBezTo>
                  <a:pt x="1353007" y="264452"/>
                  <a:pt x="1348127" y="264957"/>
                  <a:pt x="1343752" y="265967"/>
                </a:cubicBezTo>
                <a:cubicBezTo>
                  <a:pt x="1339377" y="266977"/>
                  <a:pt x="1335675" y="268996"/>
                  <a:pt x="1332646" y="272025"/>
                </a:cubicBezTo>
                <a:cubicBezTo>
                  <a:pt x="1329617" y="275054"/>
                  <a:pt x="1327261" y="279261"/>
                  <a:pt x="1325579" y="284645"/>
                </a:cubicBezTo>
                <a:cubicBezTo>
                  <a:pt x="1323896" y="290030"/>
                  <a:pt x="1323054" y="297098"/>
                  <a:pt x="1323054" y="305848"/>
                </a:cubicBezTo>
                <a:lnTo>
                  <a:pt x="1323054" y="401765"/>
                </a:lnTo>
                <a:lnTo>
                  <a:pt x="1422505" y="401765"/>
                </a:lnTo>
                <a:lnTo>
                  <a:pt x="1422505" y="453257"/>
                </a:lnTo>
                <a:lnTo>
                  <a:pt x="1323054" y="453257"/>
                </a:lnTo>
                <a:close/>
                <a:moveTo>
                  <a:pt x="539852" y="532010"/>
                </a:moveTo>
                <a:cubicBezTo>
                  <a:pt x="534131" y="532010"/>
                  <a:pt x="527568" y="531841"/>
                  <a:pt x="520164" y="531505"/>
                </a:cubicBezTo>
                <a:cubicBezTo>
                  <a:pt x="512760" y="531168"/>
                  <a:pt x="505187" y="530748"/>
                  <a:pt x="497447" y="530243"/>
                </a:cubicBezTo>
                <a:cubicBezTo>
                  <a:pt x="489706" y="529738"/>
                  <a:pt x="482049" y="528981"/>
                  <a:pt x="474477" y="527971"/>
                </a:cubicBezTo>
                <a:cubicBezTo>
                  <a:pt x="466905" y="526961"/>
                  <a:pt x="460090" y="525784"/>
                  <a:pt x="454032" y="524437"/>
                </a:cubicBezTo>
                <a:lnTo>
                  <a:pt x="454032" y="215989"/>
                </a:lnTo>
                <a:lnTo>
                  <a:pt x="516125" y="215989"/>
                </a:lnTo>
                <a:lnTo>
                  <a:pt x="516125" y="321498"/>
                </a:lnTo>
                <a:lnTo>
                  <a:pt x="538337" y="321498"/>
                </a:lnTo>
                <a:cubicBezTo>
                  <a:pt x="578723" y="321498"/>
                  <a:pt x="609938" y="329827"/>
                  <a:pt x="631982" y="346486"/>
                </a:cubicBezTo>
                <a:cubicBezTo>
                  <a:pt x="654026" y="363146"/>
                  <a:pt x="665048" y="390154"/>
                  <a:pt x="665048" y="427511"/>
                </a:cubicBezTo>
                <a:cubicBezTo>
                  <a:pt x="665048" y="464531"/>
                  <a:pt x="654111" y="491203"/>
                  <a:pt x="632235" y="507526"/>
                </a:cubicBezTo>
                <a:cubicBezTo>
                  <a:pt x="610359" y="523848"/>
                  <a:pt x="579565" y="532010"/>
                  <a:pt x="539852" y="532010"/>
                </a:cubicBezTo>
                <a:close/>
                <a:moveTo>
                  <a:pt x="3816452" y="535544"/>
                </a:moveTo>
                <a:cubicBezTo>
                  <a:pt x="3797604" y="535544"/>
                  <a:pt x="3780694" y="532430"/>
                  <a:pt x="3765716" y="526204"/>
                </a:cubicBezTo>
                <a:cubicBezTo>
                  <a:pt x="3750740" y="519978"/>
                  <a:pt x="3738708" y="513836"/>
                  <a:pt x="3729622" y="507778"/>
                </a:cubicBezTo>
                <a:lnTo>
                  <a:pt x="3751834" y="462344"/>
                </a:lnTo>
                <a:cubicBezTo>
                  <a:pt x="3760248" y="468065"/>
                  <a:pt x="3770260" y="472861"/>
                  <a:pt x="3781872" y="476731"/>
                </a:cubicBezTo>
                <a:cubicBezTo>
                  <a:pt x="3793482" y="480602"/>
                  <a:pt x="3805178" y="482537"/>
                  <a:pt x="3816956" y="482537"/>
                </a:cubicBezTo>
                <a:cubicBezTo>
                  <a:pt x="3829072" y="482537"/>
                  <a:pt x="3838580" y="479255"/>
                  <a:pt x="3845480" y="472693"/>
                </a:cubicBezTo>
                <a:cubicBezTo>
                  <a:pt x="3852378" y="466130"/>
                  <a:pt x="3855828" y="457127"/>
                  <a:pt x="3855828" y="445685"/>
                </a:cubicBezTo>
                <a:cubicBezTo>
                  <a:pt x="3855828" y="437944"/>
                  <a:pt x="3854230" y="431550"/>
                  <a:pt x="3851032" y="426501"/>
                </a:cubicBezTo>
                <a:cubicBezTo>
                  <a:pt x="3847836" y="421453"/>
                  <a:pt x="3843712" y="417414"/>
                  <a:pt x="3838664" y="414385"/>
                </a:cubicBezTo>
                <a:cubicBezTo>
                  <a:pt x="3833616" y="411357"/>
                  <a:pt x="3827894" y="409169"/>
                  <a:pt x="3821500" y="407823"/>
                </a:cubicBezTo>
                <a:cubicBezTo>
                  <a:pt x="3815106" y="406477"/>
                  <a:pt x="3808712" y="405803"/>
                  <a:pt x="3802316" y="405803"/>
                </a:cubicBezTo>
                <a:lnTo>
                  <a:pt x="3779094" y="405803"/>
                </a:lnTo>
                <a:lnTo>
                  <a:pt x="3779094" y="354311"/>
                </a:lnTo>
                <a:lnTo>
                  <a:pt x="3798278" y="354311"/>
                </a:lnTo>
                <a:cubicBezTo>
                  <a:pt x="3818470" y="354311"/>
                  <a:pt x="3835130" y="351030"/>
                  <a:pt x="3848256" y="344467"/>
                </a:cubicBezTo>
                <a:cubicBezTo>
                  <a:pt x="3861380" y="337904"/>
                  <a:pt x="3867944" y="326378"/>
                  <a:pt x="3867944" y="309887"/>
                </a:cubicBezTo>
                <a:cubicBezTo>
                  <a:pt x="3867944" y="296425"/>
                  <a:pt x="3863652" y="285150"/>
                  <a:pt x="3855072" y="276063"/>
                </a:cubicBezTo>
                <a:cubicBezTo>
                  <a:pt x="3846488" y="266977"/>
                  <a:pt x="3831596" y="262433"/>
                  <a:pt x="3810394" y="262433"/>
                </a:cubicBezTo>
                <a:cubicBezTo>
                  <a:pt x="3793230" y="262433"/>
                  <a:pt x="3778506" y="264284"/>
                  <a:pt x="3766222" y="267986"/>
                </a:cubicBezTo>
                <a:cubicBezTo>
                  <a:pt x="3753938" y="271688"/>
                  <a:pt x="3743924" y="275222"/>
                  <a:pt x="3736184" y="278588"/>
                </a:cubicBezTo>
                <a:lnTo>
                  <a:pt x="3724068" y="226591"/>
                </a:lnTo>
                <a:cubicBezTo>
                  <a:pt x="3727770" y="224908"/>
                  <a:pt x="3732988" y="223057"/>
                  <a:pt x="3739718" y="221037"/>
                </a:cubicBezTo>
                <a:cubicBezTo>
                  <a:pt x="3746450" y="219018"/>
                  <a:pt x="3753770" y="217167"/>
                  <a:pt x="3761678" y="215484"/>
                </a:cubicBezTo>
                <a:cubicBezTo>
                  <a:pt x="3769588" y="213802"/>
                  <a:pt x="3777832" y="212371"/>
                  <a:pt x="3786414" y="211193"/>
                </a:cubicBezTo>
                <a:cubicBezTo>
                  <a:pt x="3794996" y="210015"/>
                  <a:pt x="3803158" y="209427"/>
                  <a:pt x="3810898" y="209427"/>
                </a:cubicBezTo>
                <a:cubicBezTo>
                  <a:pt x="3831764" y="209427"/>
                  <a:pt x="3849770" y="211867"/>
                  <a:pt x="3864916" y="216746"/>
                </a:cubicBezTo>
                <a:cubicBezTo>
                  <a:pt x="3880060" y="221626"/>
                  <a:pt x="3892512" y="228526"/>
                  <a:pt x="3902272" y="237444"/>
                </a:cubicBezTo>
                <a:cubicBezTo>
                  <a:pt x="3912032" y="246363"/>
                  <a:pt x="3919268" y="256880"/>
                  <a:pt x="3923980" y="268996"/>
                </a:cubicBezTo>
                <a:cubicBezTo>
                  <a:pt x="3928692" y="281112"/>
                  <a:pt x="3931048" y="294405"/>
                  <a:pt x="3931048" y="308877"/>
                </a:cubicBezTo>
                <a:cubicBezTo>
                  <a:pt x="3931048" y="327051"/>
                  <a:pt x="3926588" y="342700"/>
                  <a:pt x="3917668" y="355826"/>
                </a:cubicBezTo>
                <a:cubicBezTo>
                  <a:pt x="3908750" y="368951"/>
                  <a:pt x="3896214" y="378879"/>
                  <a:pt x="3880060" y="385610"/>
                </a:cubicBezTo>
                <a:cubicBezTo>
                  <a:pt x="3891840" y="391668"/>
                  <a:pt x="3901262" y="400419"/>
                  <a:pt x="3908330" y="411861"/>
                </a:cubicBezTo>
                <a:cubicBezTo>
                  <a:pt x="3915398" y="423304"/>
                  <a:pt x="3918932" y="435252"/>
                  <a:pt x="3918932" y="447704"/>
                </a:cubicBezTo>
                <a:cubicBezTo>
                  <a:pt x="3918932" y="460156"/>
                  <a:pt x="3916912" y="471767"/>
                  <a:pt x="3912874" y="482537"/>
                </a:cubicBezTo>
                <a:cubicBezTo>
                  <a:pt x="3908834" y="493306"/>
                  <a:pt x="3902608" y="502646"/>
                  <a:pt x="3894196" y="510555"/>
                </a:cubicBezTo>
                <a:cubicBezTo>
                  <a:pt x="3885780" y="518464"/>
                  <a:pt x="3875096" y="524606"/>
                  <a:pt x="3862138" y="528981"/>
                </a:cubicBezTo>
                <a:cubicBezTo>
                  <a:pt x="3849180" y="533356"/>
                  <a:pt x="3833952" y="535544"/>
                  <a:pt x="3816452" y="535544"/>
                </a:cubicBezTo>
                <a:close/>
                <a:moveTo>
                  <a:pt x="3567354" y="535544"/>
                </a:moveTo>
                <a:cubicBezTo>
                  <a:pt x="3549854" y="535544"/>
                  <a:pt x="3532268" y="532178"/>
                  <a:pt x="3514600" y="525447"/>
                </a:cubicBezTo>
                <a:cubicBezTo>
                  <a:pt x="3496930" y="518716"/>
                  <a:pt x="3481366" y="508283"/>
                  <a:pt x="3467904" y="494148"/>
                </a:cubicBezTo>
                <a:lnTo>
                  <a:pt x="3498698" y="450733"/>
                </a:lnTo>
                <a:cubicBezTo>
                  <a:pt x="3509130" y="461839"/>
                  <a:pt x="3519732" y="469748"/>
                  <a:pt x="3530502" y="474460"/>
                </a:cubicBezTo>
                <a:cubicBezTo>
                  <a:pt x="3541272" y="479171"/>
                  <a:pt x="3551536" y="481527"/>
                  <a:pt x="3561296" y="481527"/>
                </a:cubicBezTo>
                <a:cubicBezTo>
                  <a:pt x="3573076" y="481527"/>
                  <a:pt x="3582836" y="478078"/>
                  <a:pt x="3590576" y="471178"/>
                </a:cubicBezTo>
                <a:cubicBezTo>
                  <a:pt x="3598316" y="464279"/>
                  <a:pt x="3602186" y="454435"/>
                  <a:pt x="3602188" y="441646"/>
                </a:cubicBezTo>
                <a:cubicBezTo>
                  <a:pt x="3602186" y="432559"/>
                  <a:pt x="3599074" y="423641"/>
                  <a:pt x="3592848" y="414890"/>
                </a:cubicBezTo>
                <a:cubicBezTo>
                  <a:pt x="3586622" y="406140"/>
                  <a:pt x="3578712" y="397053"/>
                  <a:pt x="3569120" y="387630"/>
                </a:cubicBezTo>
                <a:cubicBezTo>
                  <a:pt x="3559528" y="378206"/>
                  <a:pt x="3549264" y="368362"/>
                  <a:pt x="3538326" y="358097"/>
                </a:cubicBezTo>
                <a:cubicBezTo>
                  <a:pt x="3527388" y="347833"/>
                  <a:pt x="3517124" y="336727"/>
                  <a:pt x="3507532" y="324779"/>
                </a:cubicBezTo>
                <a:cubicBezTo>
                  <a:pt x="3497940" y="312831"/>
                  <a:pt x="3490032" y="299790"/>
                  <a:pt x="3483806" y="285655"/>
                </a:cubicBezTo>
                <a:cubicBezTo>
                  <a:pt x="3477580" y="271520"/>
                  <a:pt x="3474466" y="256039"/>
                  <a:pt x="3474466" y="239211"/>
                </a:cubicBezTo>
                <a:cubicBezTo>
                  <a:pt x="3474466" y="237192"/>
                  <a:pt x="3474382" y="233658"/>
                  <a:pt x="3474214" y="228610"/>
                </a:cubicBezTo>
                <a:cubicBezTo>
                  <a:pt x="3474046" y="223562"/>
                  <a:pt x="3474466" y="219355"/>
                  <a:pt x="3475476" y="215989"/>
                </a:cubicBezTo>
                <a:lnTo>
                  <a:pt x="3679426" y="215989"/>
                </a:lnTo>
                <a:lnTo>
                  <a:pt x="3679426" y="267481"/>
                </a:lnTo>
                <a:lnTo>
                  <a:pt x="3545142" y="267481"/>
                </a:lnTo>
                <a:cubicBezTo>
                  <a:pt x="3545142" y="272530"/>
                  <a:pt x="3546908" y="278083"/>
                  <a:pt x="3550442" y="284141"/>
                </a:cubicBezTo>
                <a:cubicBezTo>
                  <a:pt x="3553976" y="290198"/>
                  <a:pt x="3558268" y="296172"/>
                  <a:pt x="3563316" y="302062"/>
                </a:cubicBezTo>
                <a:cubicBezTo>
                  <a:pt x="3568364" y="307952"/>
                  <a:pt x="3573748" y="313673"/>
                  <a:pt x="3579470" y="319226"/>
                </a:cubicBezTo>
                <a:cubicBezTo>
                  <a:pt x="3585190" y="324779"/>
                  <a:pt x="3590240" y="329575"/>
                  <a:pt x="3594614" y="333613"/>
                </a:cubicBezTo>
                <a:cubicBezTo>
                  <a:pt x="3603364" y="341691"/>
                  <a:pt x="3611946" y="350104"/>
                  <a:pt x="3620360" y="358855"/>
                </a:cubicBezTo>
                <a:cubicBezTo>
                  <a:pt x="3628774" y="367605"/>
                  <a:pt x="3636346" y="376692"/>
                  <a:pt x="3643078" y="386115"/>
                </a:cubicBezTo>
                <a:cubicBezTo>
                  <a:pt x="3649808" y="395539"/>
                  <a:pt x="3655194" y="405214"/>
                  <a:pt x="3659232" y="415143"/>
                </a:cubicBezTo>
                <a:cubicBezTo>
                  <a:pt x="3663270" y="425071"/>
                  <a:pt x="3665290" y="435420"/>
                  <a:pt x="3665290" y="446189"/>
                </a:cubicBezTo>
                <a:cubicBezTo>
                  <a:pt x="3665290" y="460998"/>
                  <a:pt x="3662598" y="474039"/>
                  <a:pt x="3657212" y="485313"/>
                </a:cubicBezTo>
                <a:cubicBezTo>
                  <a:pt x="3651828" y="496588"/>
                  <a:pt x="3644592" y="505927"/>
                  <a:pt x="3635506" y="513331"/>
                </a:cubicBezTo>
                <a:cubicBezTo>
                  <a:pt x="3626418" y="520735"/>
                  <a:pt x="3615986" y="526288"/>
                  <a:pt x="3604206" y="529990"/>
                </a:cubicBezTo>
                <a:cubicBezTo>
                  <a:pt x="3592426" y="533692"/>
                  <a:pt x="3580142" y="535544"/>
                  <a:pt x="3567354" y="535544"/>
                </a:cubicBezTo>
                <a:close/>
                <a:moveTo>
                  <a:pt x="3324752" y="535544"/>
                </a:moveTo>
                <a:cubicBezTo>
                  <a:pt x="3290088" y="535544"/>
                  <a:pt x="3263332" y="522081"/>
                  <a:pt x="3244486" y="495157"/>
                </a:cubicBezTo>
                <a:cubicBezTo>
                  <a:pt x="3225638" y="468233"/>
                  <a:pt x="3216214" y="427511"/>
                  <a:pt x="3216214" y="372990"/>
                </a:cubicBezTo>
                <a:cubicBezTo>
                  <a:pt x="3216214" y="317796"/>
                  <a:pt x="3225470" y="276737"/>
                  <a:pt x="3243980" y="249813"/>
                </a:cubicBezTo>
                <a:cubicBezTo>
                  <a:pt x="3262490" y="222889"/>
                  <a:pt x="3289414" y="209427"/>
                  <a:pt x="3324752" y="209427"/>
                </a:cubicBezTo>
                <a:cubicBezTo>
                  <a:pt x="3360090" y="209427"/>
                  <a:pt x="3387014" y="222889"/>
                  <a:pt x="3405524" y="249813"/>
                </a:cubicBezTo>
                <a:cubicBezTo>
                  <a:pt x="3424034" y="276737"/>
                  <a:pt x="3433290" y="317796"/>
                  <a:pt x="3433290" y="372990"/>
                </a:cubicBezTo>
                <a:cubicBezTo>
                  <a:pt x="3433290" y="427847"/>
                  <a:pt x="3424034" y="468654"/>
                  <a:pt x="3405524" y="495410"/>
                </a:cubicBezTo>
                <a:cubicBezTo>
                  <a:pt x="3387014" y="522166"/>
                  <a:pt x="3360090" y="535544"/>
                  <a:pt x="3324752" y="535544"/>
                </a:cubicBezTo>
                <a:close/>
                <a:moveTo>
                  <a:pt x="3062528" y="535544"/>
                </a:moveTo>
                <a:cubicBezTo>
                  <a:pt x="3045028" y="535544"/>
                  <a:pt x="3027444" y="532178"/>
                  <a:pt x="3009774" y="525447"/>
                </a:cubicBezTo>
                <a:cubicBezTo>
                  <a:pt x="2992106" y="518716"/>
                  <a:pt x="2976540" y="508283"/>
                  <a:pt x="2963078" y="494148"/>
                </a:cubicBezTo>
                <a:lnTo>
                  <a:pt x="2993872" y="450733"/>
                </a:lnTo>
                <a:cubicBezTo>
                  <a:pt x="3004306" y="461839"/>
                  <a:pt x="3014908" y="469748"/>
                  <a:pt x="3025676" y="474460"/>
                </a:cubicBezTo>
                <a:cubicBezTo>
                  <a:pt x="3036446" y="479171"/>
                  <a:pt x="3046712" y="481527"/>
                  <a:pt x="3056472" y="481527"/>
                </a:cubicBezTo>
                <a:cubicBezTo>
                  <a:pt x="3068250" y="481527"/>
                  <a:pt x="3078010" y="478078"/>
                  <a:pt x="3085752" y="471178"/>
                </a:cubicBezTo>
                <a:cubicBezTo>
                  <a:pt x="3093492" y="464279"/>
                  <a:pt x="3097362" y="454435"/>
                  <a:pt x="3097362" y="441646"/>
                </a:cubicBezTo>
                <a:cubicBezTo>
                  <a:pt x="3097362" y="432559"/>
                  <a:pt x="3094248" y="423641"/>
                  <a:pt x="3088022" y="414890"/>
                </a:cubicBezTo>
                <a:cubicBezTo>
                  <a:pt x="3081796" y="406140"/>
                  <a:pt x="3073888" y="397053"/>
                  <a:pt x="3064296" y="387630"/>
                </a:cubicBezTo>
                <a:cubicBezTo>
                  <a:pt x="3054704" y="378206"/>
                  <a:pt x="3044440" y="368362"/>
                  <a:pt x="3033502" y="358097"/>
                </a:cubicBezTo>
                <a:cubicBezTo>
                  <a:pt x="3022564" y="347833"/>
                  <a:pt x="3012298" y="336727"/>
                  <a:pt x="3002708" y="324779"/>
                </a:cubicBezTo>
                <a:cubicBezTo>
                  <a:pt x="2993116" y="312831"/>
                  <a:pt x="2985206" y="299790"/>
                  <a:pt x="2978980" y="285655"/>
                </a:cubicBezTo>
                <a:cubicBezTo>
                  <a:pt x="2972754" y="271520"/>
                  <a:pt x="2969642" y="256039"/>
                  <a:pt x="2969642" y="239211"/>
                </a:cubicBezTo>
                <a:cubicBezTo>
                  <a:pt x="2969642" y="237192"/>
                  <a:pt x="2969558" y="233658"/>
                  <a:pt x="2969388" y="228610"/>
                </a:cubicBezTo>
                <a:cubicBezTo>
                  <a:pt x="2969220" y="223562"/>
                  <a:pt x="2969640" y="219355"/>
                  <a:pt x="2970650" y="215989"/>
                </a:cubicBezTo>
                <a:lnTo>
                  <a:pt x="3174600" y="215989"/>
                </a:lnTo>
                <a:lnTo>
                  <a:pt x="3174600" y="267481"/>
                </a:lnTo>
                <a:lnTo>
                  <a:pt x="3040316" y="267481"/>
                </a:lnTo>
                <a:cubicBezTo>
                  <a:pt x="3040316" y="272530"/>
                  <a:pt x="3042084" y="278083"/>
                  <a:pt x="3045618" y="284141"/>
                </a:cubicBezTo>
                <a:cubicBezTo>
                  <a:pt x="3049152" y="290198"/>
                  <a:pt x="3053442" y="296172"/>
                  <a:pt x="3058490" y="302062"/>
                </a:cubicBezTo>
                <a:cubicBezTo>
                  <a:pt x="3063538" y="307952"/>
                  <a:pt x="3068924" y="313673"/>
                  <a:pt x="3074644" y="319226"/>
                </a:cubicBezTo>
                <a:cubicBezTo>
                  <a:pt x="3080366" y="324779"/>
                  <a:pt x="3085414" y="329575"/>
                  <a:pt x="3089790" y="333613"/>
                </a:cubicBezTo>
                <a:cubicBezTo>
                  <a:pt x="3098540" y="341691"/>
                  <a:pt x="3107122" y="350104"/>
                  <a:pt x="3115536" y="358855"/>
                </a:cubicBezTo>
                <a:cubicBezTo>
                  <a:pt x="3123950" y="367605"/>
                  <a:pt x="3131522" y="376692"/>
                  <a:pt x="3138252" y="386115"/>
                </a:cubicBezTo>
                <a:cubicBezTo>
                  <a:pt x="3144984" y="395539"/>
                  <a:pt x="3150368" y="405214"/>
                  <a:pt x="3154408" y="415143"/>
                </a:cubicBezTo>
                <a:cubicBezTo>
                  <a:pt x="3158446" y="425071"/>
                  <a:pt x="3160464" y="435420"/>
                  <a:pt x="3160464" y="446189"/>
                </a:cubicBezTo>
                <a:cubicBezTo>
                  <a:pt x="3160464" y="460998"/>
                  <a:pt x="3157772" y="474039"/>
                  <a:pt x="3152388" y="485313"/>
                </a:cubicBezTo>
                <a:cubicBezTo>
                  <a:pt x="3147002" y="496588"/>
                  <a:pt x="3139766" y="505927"/>
                  <a:pt x="3130680" y="513331"/>
                </a:cubicBezTo>
                <a:cubicBezTo>
                  <a:pt x="3121594" y="520735"/>
                  <a:pt x="3111160" y="526288"/>
                  <a:pt x="3099382" y="529990"/>
                </a:cubicBezTo>
                <a:cubicBezTo>
                  <a:pt x="3087602" y="533692"/>
                  <a:pt x="3075318" y="535544"/>
                  <a:pt x="3062528" y="535544"/>
                </a:cubicBezTo>
                <a:close/>
                <a:moveTo>
                  <a:pt x="2292890" y="561290"/>
                </a:moveTo>
                <a:cubicBezTo>
                  <a:pt x="2282120" y="561290"/>
                  <a:pt x="2272949" y="557756"/>
                  <a:pt x="2265377" y="550688"/>
                </a:cubicBezTo>
                <a:cubicBezTo>
                  <a:pt x="2257805" y="543621"/>
                  <a:pt x="2254018" y="533861"/>
                  <a:pt x="2254018" y="521408"/>
                </a:cubicBezTo>
                <a:cubicBezTo>
                  <a:pt x="2254018" y="509293"/>
                  <a:pt x="2257805" y="499701"/>
                  <a:pt x="2265377" y="492633"/>
                </a:cubicBezTo>
                <a:cubicBezTo>
                  <a:pt x="2272949" y="485566"/>
                  <a:pt x="2282120" y="482032"/>
                  <a:pt x="2292890" y="482032"/>
                </a:cubicBezTo>
                <a:cubicBezTo>
                  <a:pt x="2303660" y="482032"/>
                  <a:pt x="2312914" y="485566"/>
                  <a:pt x="2320655" y="492633"/>
                </a:cubicBezTo>
                <a:cubicBezTo>
                  <a:pt x="2328396" y="499701"/>
                  <a:pt x="2332266" y="509293"/>
                  <a:pt x="2332266" y="521408"/>
                </a:cubicBezTo>
                <a:cubicBezTo>
                  <a:pt x="2332266" y="533861"/>
                  <a:pt x="2328396" y="543621"/>
                  <a:pt x="2320655" y="550688"/>
                </a:cubicBezTo>
                <a:cubicBezTo>
                  <a:pt x="2312914" y="557756"/>
                  <a:pt x="2303660" y="561290"/>
                  <a:pt x="2292890" y="561290"/>
                </a:cubicBezTo>
                <a:close/>
                <a:moveTo>
                  <a:pt x="1959420" y="563309"/>
                </a:moveTo>
                <a:lnTo>
                  <a:pt x="1959420" y="511817"/>
                </a:lnTo>
                <a:lnTo>
                  <a:pt x="2025047" y="511817"/>
                </a:lnTo>
                <a:lnTo>
                  <a:pt x="2025047" y="310392"/>
                </a:lnTo>
                <a:cubicBezTo>
                  <a:pt x="2025047" y="277746"/>
                  <a:pt x="2031610" y="252926"/>
                  <a:pt x="2044735" y="235930"/>
                </a:cubicBezTo>
                <a:cubicBezTo>
                  <a:pt x="2057860" y="218934"/>
                  <a:pt x="2078727" y="210436"/>
                  <a:pt x="2107333" y="210436"/>
                </a:cubicBezTo>
                <a:cubicBezTo>
                  <a:pt x="2117767" y="210436"/>
                  <a:pt x="2127106" y="211109"/>
                  <a:pt x="2135351" y="212455"/>
                </a:cubicBezTo>
                <a:cubicBezTo>
                  <a:pt x="2143597" y="213802"/>
                  <a:pt x="2150580" y="215400"/>
                  <a:pt x="2156302" y="217251"/>
                </a:cubicBezTo>
                <a:cubicBezTo>
                  <a:pt x="2162023" y="219102"/>
                  <a:pt x="2166650" y="220869"/>
                  <a:pt x="2170184" y="222552"/>
                </a:cubicBezTo>
                <a:cubicBezTo>
                  <a:pt x="2173718" y="224235"/>
                  <a:pt x="2175990" y="225413"/>
                  <a:pt x="2176999" y="226086"/>
                </a:cubicBezTo>
                <a:lnTo>
                  <a:pt x="2168922" y="276063"/>
                </a:lnTo>
                <a:cubicBezTo>
                  <a:pt x="2166230" y="275054"/>
                  <a:pt x="2160677" y="272866"/>
                  <a:pt x="2152263" y="269501"/>
                </a:cubicBezTo>
                <a:cubicBezTo>
                  <a:pt x="2143849" y="266135"/>
                  <a:pt x="2133416" y="264452"/>
                  <a:pt x="2120964" y="264452"/>
                </a:cubicBezTo>
                <a:cubicBezTo>
                  <a:pt x="2111204" y="264452"/>
                  <a:pt x="2103126" y="267313"/>
                  <a:pt x="2096732" y="273034"/>
                </a:cubicBezTo>
                <a:cubicBezTo>
                  <a:pt x="2090338" y="278756"/>
                  <a:pt x="2087140" y="289694"/>
                  <a:pt x="2087140" y="305848"/>
                </a:cubicBezTo>
                <a:lnTo>
                  <a:pt x="2087140" y="563309"/>
                </a:lnTo>
                <a:close/>
                <a:moveTo>
                  <a:pt x="1607052" y="565833"/>
                </a:moveTo>
                <a:cubicBezTo>
                  <a:pt x="1594263" y="565833"/>
                  <a:pt x="1581811" y="564234"/>
                  <a:pt x="1569695" y="561037"/>
                </a:cubicBezTo>
                <a:cubicBezTo>
                  <a:pt x="1557579" y="557840"/>
                  <a:pt x="1546810" y="552455"/>
                  <a:pt x="1537386" y="544883"/>
                </a:cubicBezTo>
                <a:cubicBezTo>
                  <a:pt x="1527963" y="537310"/>
                  <a:pt x="1520474" y="527214"/>
                  <a:pt x="1514921" y="514593"/>
                </a:cubicBezTo>
                <a:cubicBezTo>
                  <a:pt x="1509368" y="501973"/>
                  <a:pt x="1506592" y="486071"/>
                  <a:pt x="1506592" y="466887"/>
                </a:cubicBezTo>
                <a:lnTo>
                  <a:pt x="1506592" y="453257"/>
                </a:lnTo>
                <a:lnTo>
                  <a:pt x="1454595" y="453257"/>
                </a:lnTo>
                <a:lnTo>
                  <a:pt x="1454595" y="401765"/>
                </a:lnTo>
                <a:lnTo>
                  <a:pt x="1506592" y="401765"/>
                </a:lnTo>
                <a:lnTo>
                  <a:pt x="1506592" y="215989"/>
                </a:lnTo>
                <a:lnTo>
                  <a:pt x="1569190" y="215989"/>
                </a:lnTo>
                <a:lnTo>
                  <a:pt x="1569190" y="401765"/>
                </a:lnTo>
                <a:lnTo>
                  <a:pt x="1666621" y="401765"/>
                </a:lnTo>
                <a:lnTo>
                  <a:pt x="1666621" y="453257"/>
                </a:lnTo>
                <a:lnTo>
                  <a:pt x="1569190" y="453257"/>
                </a:lnTo>
                <a:lnTo>
                  <a:pt x="1569190" y="465878"/>
                </a:lnTo>
                <a:cubicBezTo>
                  <a:pt x="1569190" y="475974"/>
                  <a:pt x="1570368" y="484135"/>
                  <a:pt x="1572724" y="490362"/>
                </a:cubicBezTo>
                <a:cubicBezTo>
                  <a:pt x="1575080" y="496588"/>
                  <a:pt x="1578193" y="501384"/>
                  <a:pt x="1582063" y="504749"/>
                </a:cubicBezTo>
                <a:cubicBezTo>
                  <a:pt x="1585933" y="508115"/>
                  <a:pt x="1590477" y="510302"/>
                  <a:pt x="1595693" y="511312"/>
                </a:cubicBezTo>
                <a:cubicBezTo>
                  <a:pt x="1600910" y="512322"/>
                  <a:pt x="1606379" y="512826"/>
                  <a:pt x="1612100" y="512826"/>
                </a:cubicBezTo>
                <a:cubicBezTo>
                  <a:pt x="1622533" y="512826"/>
                  <a:pt x="1633555" y="511396"/>
                  <a:pt x="1645166" y="508535"/>
                </a:cubicBezTo>
                <a:cubicBezTo>
                  <a:pt x="1656777" y="505675"/>
                  <a:pt x="1666453" y="502898"/>
                  <a:pt x="1674194" y="500206"/>
                </a:cubicBezTo>
                <a:lnTo>
                  <a:pt x="1684795" y="550688"/>
                </a:lnTo>
                <a:cubicBezTo>
                  <a:pt x="1673689" y="556073"/>
                  <a:pt x="1661236" y="559943"/>
                  <a:pt x="1647438" y="562299"/>
                </a:cubicBezTo>
                <a:cubicBezTo>
                  <a:pt x="1633639" y="564655"/>
                  <a:pt x="1620178" y="565833"/>
                  <a:pt x="1607052" y="565833"/>
                </a:cubicBezTo>
                <a:close/>
                <a:moveTo>
                  <a:pt x="0" y="796029"/>
                </a:moveTo>
                <a:lnTo>
                  <a:pt x="4876802" y="796029"/>
                </a:lnTo>
                <a:lnTo>
                  <a:pt x="4824822" y="344498"/>
                </a:lnTo>
                <a:cubicBezTo>
                  <a:pt x="4801968" y="145891"/>
                  <a:pt x="4682292" y="207"/>
                  <a:pt x="4541980" y="155"/>
                </a:cubicBezTo>
                <a:lnTo>
                  <a:pt x="0" y="0"/>
                </a:lnTo>
                <a:close/>
              </a:path>
            </a:pathLst>
          </a:custGeom>
          <a:solidFill>
            <a:schemeClr val="bg1"/>
          </a:solidFill>
          <a:ln w="2834" cap="flat">
            <a:noFill/>
            <a:prstDash val="solid"/>
            <a:miter/>
          </a:ln>
        </p:spPr>
        <p:txBody>
          <a:bodyPr wrap="square" rtlCol="0" anchor="ctr">
            <a:noAutofit/>
          </a:bodyPr>
          <a:lstStyle/>
          <a:p>
            <a:endParaRPr lang="en-US"/>
          </a:p>
        </p:txBody>
      </p:sp>
      <p:pic>
        <p:nvPicPr>
          <p:cNvPr id="8" name="Imagen 7" descr="Un dibujo de una cara feliz&#10;&#10;Descripción generada automáticamente con confianza baja">
            <a:extLst>
              <a:ext uri="{FF2B5EF4-FFF2-40B4-BE49-F238E27FC236}">
                <a16:creationId xmlns:a16="http://schemas.microsoft.com/office/drawing/2014/main" id="{A82FAAE7-F450-2EFB-B470-9CA2B285AACF}"/>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7824450" y="406400"/>
            <a:ext cx="1801936" cy="934010"/>
          </a:xfrm>
          <a:prstGeom prst="rect">
            <a:avLst/>
          </a:prstGeom>
        </p:spPr>
      </p:pic>
    </p:spTree>
    <p:extLst>
      <p:ext uri="{BB962C8B-B14F-4D97-AF65-F5344CB8AC3E}">
        <p14:creationId xmlns:p14="http://schemas.microsoft.com/office/powerpoint/2010/main" val="49993797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2_Two columns">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6733E381-C11A-4F10-88ED-DDEA4B9167E2}"/>
              </a:ext>
            </a:extLst>
          </p:cNvPr>
          <p:cNvSpPr>
            <a:spLocks noGrp="1"/>
          </p:cNvSpPr>
          <p:nvPr>
            <p:ph type="title" hasCustomPrompt="1"/>
          </p:nvPr>
        </p:nvSpPr>
        <p:spPr>
          <a:xfrm>
            <a:off x="1095999" y="857554"/>
            <a:ext cx="4092485" cy="3819921"/>
          </a:xfrm>
          <a:prstGeom prst="rect">
            <a:avLst/>
          </a:prstGeom>
        </p:spPr>
        <p:txBody>
          <a:bodyPr vert="horz" lIns="0" tIns="0" rIns="0" bIns="0" rtlCol="0" anchor="t">
            <a:normAutofit/>
          </a:bodyPr>
          <a:lstStyle>
            <a:lvl1pPr>
              <a:defRPr lang="pt-PT" b="0" dirty="0">
                <a:solidFill>
                  <a:schemeClr val="accent1"/>
                </a:solidFill>
                <a:latin typeface="Ubuntu" panose="020B0504030602030204" pitchFamily="34" charset="0"/>
              </a:defRPr>
            </a:lvl1pPr>
          </a:lstStyle>
          <a:p>
            <a:pPr lvl="0">
              <a:lnSpc>
                <a:spcPts val="4947"/>
              </a:lnSpc>
            </a:pPr>
            <a:r>
              <a:rPr lang="en-US"/>
              <a:t>Click to insert title</a:t>
            </a:r>
            <a:endParaRPr lang="pt-PT"/>
          </a:p>
        </p:txBody>
      </p:sp>
      <p:sp>
        <p:nvSpPr>
          <p:cNvPr id="26" name="Retângulo 43">
            <a:extLst>
              <a:ext uri="{FF2B5EF4-FFF2-40B4-BE49-F238E27FC236}">
                <a16:creationId xmlns:a16="http://schemas.microsoft.com/office/drawing/2014/main" id="{834ADCB4-BFB1-450D-8F6D-64217F4CD92C}"/>
              </a:ext>
            </a:extLst>
          </p:cNvPr>
          <p:cNvSpPr/>
          <p:nvPr userDrawn="1"/>
        </p:nvSpPr>
        <p:spPr>
          <a:xfrm>
            <a:off x="15481621" y="10824915"/>
            <a:ext cx="4274077" cy="362509"/>
          </a:xfrm>
          <a:prstGeom prst="rect">
            <a:avLst/>
          </a:prstGeom>
        </p:spPr>
        <p:txBody>
          <a:bodyPr wrap="none" lIns="0" tIns="0" rIns="0" bIns="0" anchor="ctr">
            <a:noAutofit/>
          </a:bodyPr>
          <a:lstStyle/>
          <a:p>
            <a:pPr algn="r">
              <a:lnSpc>
                <a:spcPct val="100000"/>
              </a:lnSpc>
            </a:pPr>
            <a:r>
              <a:rPr lang="en-US" sz="1319">
                <a:solidFill>
                  <a:schemeClr val="bg2">
                    <a:lumMod val="50000"/>
                  </a:schemeClr>
                </a:solidFill>
                <a:cs typeface="Arial" panose="020B0604020202020204" pitchFamily="34" charset="0"/>
              </a:rPr>
              <a:t>© 2022 Sogeti. All rights reserved.</a:t>
            </a:r>
          </a:p>
        </p:txBody>
      </p:sp>
      <p:pic>
        <p:nvPicPr>
          <p:cNvPr id="17" name="Imagen 16">
            <a:extLst>
              <a:ext uri="{FF2B5EF4-FFF2-40B4-BE49-F238E27FC236}">
                <a16:creationId xmlns:a16="http://schemas.microsoft.com/office/drawing/2014/main" id="{B19D9FA0-2C4F-C34D-8626-CD98EE45060D}"/>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7684885" y="463736"/>
            <a:ext cx="1857835" cy="964675"/>
          </a:xfrm>
          <a:prstGeom prst="rect">
            <a:avLst/>
          </a:prstGeom>
        </p:spPr>
      </p:pic>
      <p:grpSp>
        <p:nvGrpSpPr>
          <p:cNvPr id="6" name="Grupo 5">
            <a:extLst>
              <a:ext uri="{FF2B5EF4-FFF2-40B4-BE49-F238E27FC236}">
                <a16:creationId xmlns:a16="http://schemas.microsoft.com/office/drawing/2014/main" id="{680C26BF-65C4-4DCE-A95A-DE56A0707409}"/>
              </a:ext>
            </a:extLst>
          </p:cNvPr>
          <p:cNvGrpSpPr/>
          <p:nvPr userDrawn="1"/>
        </p:nvGrpSpPr>
        <p:grpSpPr>
          <a:xfrm>
            <a:off x="14174663" y="8492988"/>
            <a:ext cx="5929437" cy="2206623"/>
            <a:chOff x="3127029" y="829145"/>
            <a:chExt cx="8153400" cy="3028950"/>
          </a:xfrm>
        </p:grpSpPr>
        <p:pic>
          <p:nvPicPr>
            <p:cNvPr id="7" name="Imagen 6" descr="Imagen en blanco y negro&#10;&#10;Descripción generada automáticamente con confianza baja">
              <a:extLst>
                <a:ext uri="{FF2B5EF4-FFF2-40B4-BE49-F238E27FC236}">
                  <a16:creationId xmlns:a16="http://schemas.microsoft.com/office/drawing/2014/main" id="{56B94984-F553-4961-B895-CFB3949E2F96}"/>
                </a:ext>
              </a:extLst>
            </p:cNvPr>
            <p:cNvPicPr>
              <a:picLocks noChangeAspect="1"/>
            </p:cNvPicPr>
            <p:nvPr/>
          </p:nvPicPr>
          <p:blipFill rotWithShape="1">
            <a:blip r:embed="rId3">
              <a:duotone>
                <a:prstClr val="black"/>
                <a:sysClr val="windowText" lastClr="000000">
                  <a:tint val="45000"/>
                  <a:satMod val="400000"/>
                </a:sysClr>
              </a:duotone>
              <a:alphaModFix/>
              <a:extLst>
                <a:ext uri="{BEBA8EAE-BF5A-486C-A8C5-ECC9F3942E4B}">
                  <a14:imgProps xmlns:a14="http://schemas.microsoft.com/office/drawing/2010/main">
                    <a14:imgLayer r:embed="rId4">
                      <a14:imgEffect>
                        <a14:colorTemperature colorTemp="6059"/>
                      </a14:imgEffect>
                      <a14:imgEffect>
                        <a14:saturation sat="399000"/>
                      </a14:imgEffect>
                    </a14:imgLayer>
                  </a14:imgProps>
                </a:ext>
                <a:ext uri="{28A0092B-C50C-407E-A947-70E740481C1C}">
                  <a14:useLocalDpi xmlns:a14="http://schemas.microsoft.com/office/drawing/2010/main"/>
                </a:ext>
              </a:extLst>
            </a:blip>
            <a:srcRect/>
            <a:stretch/>
          </p:blipFill>
          <p:spPr>
            <a:xfrm>
              <a:off x="3127029" y="829145"/>
              <a:ext cx="8153400" cy="3028950"/>
            </a:xfrm>
            <a:prstGeom prst="rect">
              <a:avLst/>
            </a:prstGeom>
          </p:spPr>
        </p:pic>
        <p:sp>
          <p:nvSpPr>
            <p:cNvPr id="8" name="Rectángulo 7">
              <a:extLst>
                <a:ext uri="{FF2B5EF4-FFF2-40B4-BE49-F238E27FC236}">
                  <a16:creationId xmlns:a16="http://schemas.microsoft.com/office/drawing/2014/main" id="{47716A5E-984D-42A6-AD7E-B014BD591642}"/>
                </a:ext>
              </a:extLst>
            </p:cNvPr>
            <p:cNvSpPr/>
            <p:nvPr/>
          </p:nvSpPr>
          <p:spPr>
            <a:xfrm>
              <a:off x="6464255" y="2615873"/>
              <a:ext cx="2079042" cy="492358"/>
            </a:xfrm>
            <a:prstGeom prst="rect">
              <a:avLst/>
            </a:prstGeom>
            <a:noFill/>
          </p:spPr>
          <p:txBody>
            <a:bodyPr wrap="none" lIns="91440" tIns="45720" rIns="91440" bIns="45720">
              <a:spAutoFit/>
              <a:scene3d>
                <a:camera prst="isometricTopUp"/>
                <a:lightRig rig="threePt" dir="t"/>
              </a:scene3d>
            </a:bodyPr>
            <a:lstStyle/>
            <a:p>
              <a:pPr algn="ctr"/>
              <a:r>
                <a:rPr lang="es-ES" sz="1731">
                  <a:ln w="0"/>
                  <a:solidFill>
                    <a:srgbClr val="2B0A3D"/>
                  </a:solidFill>
                  <a:latin typeface="Ubuntu Mono" panose="020B0509030602030204" pitchFamily="49" charset="0"/>
                </a:rPr>
                <a:t>SERVICE CARD</a:t>
              </a:r>
            </a:p>
          </p:txBody>
        </p:sp>
        <p:sp>
          <p:nvSpPr>
            <p:cNvPr id="10" name="Rectángulo 9">
              <a:extLst>
                <a:ext uri="{FF2B5EF4-FFF2-40B4-BE49-F238E27FC236}">
                  <a16:creationId xmlns:a16="http://schemas.microsoft.com/office/drawing/2014/main" id="{28CC9414-BA70-4022-B8FB-7F20E767E217}"/>
                </a:ext>
              </a:extLst>
            </p:cNvPr>
            <p:cNvSpPr/>
            <p:nvPr/>
          </p:nvSpPr>
          <p:spPr>
            <a:xfrm>
              <a:off x="7240788" y="3191612"/>
              <a:ext cx="2928278" cy="405398"/>
            </a:xfrm>
            <a:prstGeom prst="rect">
              <a:avLst/>
            </a:prstGeom>
            <a:noFill/>
          </p:spPr>
          <p:txBody>
            <a:bodyPr wrap="square" lIns="91440" tIns="45720" rIns="91440" bIns="45720">
              <a:spAutoFit/>
              <a:scene3d>
                <a:camera prst="isometricTopUp"/>
                <a:lightRig rig="threePt" dir="t"/>
              </a:scene3d>
            </a:bodyPr>
            <a:lstStyle/>
            <a:p>
              <a:pPr algn="ctr"/>
              <a:r>
                <a:rPr lang="es-ES" sz="1319" dirty="0">
                  <a:ln w="0"/>
                  <a:solidFill>
                    <a:srgbClr val="2B0A3D"/>
                  </a:solidFill>
                  <a:latin typeface="Ubuntu" panose="020B0504030602030204" pitchFamily="34" charset="0"/>
                </a:rPr>
                <a:t>SOGETI SPAIN</a:t>
              </a:r>
            </a:p>
          </p:txBody>
        </p:sp>
      </p:grpSp>
      <p:sp>
        <p:nvSpPr>
          <p:cNvPr id="11" name="CuadroTexto 10">
            <a:extLst>
              <a:ext uri="{FF2B5EF4-FFF2-40B4-BE49-F238E27FC236}">
                <a16:creationId xmlns:a16="http://schemas.microsoft.com/office/drawing/2014/main" id="{4ECD243A-7E1C-4490-8EA8-D0BD6188A55D}"/>
              </a:ext>
            </a:extLst>
          </p:cNvPr>
          <p:cNvSpPr txBox="1"/>
          <p:nvPr userDrawn="1"/>
        </p:nvSpPr>
        <p:spPr>
          <a:xfrm>
            <a:off x="934893" y="425414"/>
            <a:ext cx="3773699" cy="371512"/>
          </a:xfrm>
          <a:prstGeom prst="rect">
            <a:avLst/>
          </a:prstGeom>
          <a:noFill/>
        </p:spPr>
        <p:txBody>
          <a:bodyPr wrap="square">
            <a:spAutoFit/>
          </a:bodyPr>
          <a:lstStyle/>
          <a:p>
            <a:r>
              <a:rPr lang="es-ES" sz="1814">
                <a:solidFill>
                  <a:schemeClr val="accent4"/>
                </a:solidFill>
                <a:latin typeface="Ubuntu" panose="020B0504030602030204" pitchFamily="34" charset="0"/>
              </a:rPr>
              <a:t>#</a:t>
            </a:r>
            <a:r>
              <a:rPr lang="es-ES" sz="1814">
                <a:solidFill>
                  <a:schemeClr val="accent2"/>
                </a:solidFill>
                <a:latin typeface="Ubuntu" panose="020B0504030602030204" pitchFamily="34" charset="0"/>
              </a:rPr>
              <a:t>AccelerateWithSogeti</a:t>
            </a:r>
          </a:p>
        </p:txBody>
      </p:sp>
      <p:pic>
        <p:nvPicPr>
          <p:cNvPr id="13" name="Imagen 12" descr="Imagen en blanco y negro&#10;&#10;Descripción generada automáticamente con confianza media">
            <a:extLst>
              <a:ext uri="{FF2B5EF4-FFF2-40B4-BE49-F238E27FC236}">
                <a16:creationId xmlns:a16="http://schemas.microsoft.com/office/drawing/2014/main" id="{65D9ED12-FA7E-4775-AC96-089DCB369DF4}"/>
              </a:ext>
            </a:extLst>
          </p:cNvPr>
          <p:cNvPicPr>
            <a:picLocks noChangeAspect="1"/>
          </p:cNvPicPr>
          <p:nvPr userDrawn="1"/>
        </p:nvPicPr>
        <p:blipFill>
          <a:blip r:embed="rId5"/>
          <a:stretch>
            <a:fillRect/>
          </a:stretch>
        </p:blipFill>
        <p:spPr>
          <a:xfrm>
            <a:off x="0" y="641484"/>
            <a:ext cx="780356" cy="786927"/>
          </a:xfrm>
          <a:prstGeom prst="rect">
            <a:avLst/>
          </a:prstGeom>
        </p:spPr>
      </p:pic>
      <p:pic>
        <p:nvPicPr>
          <p:cNvPr id="2" name="Picture 2">
            <a:extLst>
              <a:ext uri="{FF2B5EF4-FFF2-40B4-BE49-F238E27FC236}">
                <a16:creationId xmlns:a16="http://schemas.microsoft.com/office/drawing/2014/main" id="{E373F80E-5A34-47E9-B31D-40B350DE3D95}"/>
              </a:ext>
            </a:extLst>
          </p:cNvPr>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auto">
          <a:xfrm>
            <a:off x="18821171" y="9750999"/>
            <a:ext cx="934527" cy="936167"/>
          </a:xfrm>
          <a:prstGeom prst="rect">
            <a:avLst/>
          </a:prstGeom>
          <a:noFill/>
          <a:extLst>
            <a:ext uri="{909E8E84-426E-40DD-AFC4-6F175D3DCCD1}">
              <a14:hiddenFill xmlns:a14="http://schemas.microsoft.com/office/drawing/2010/main">
                <a:solidFill>
                  <a:srgbClr val="FFFFFF"/>
                </a:solidFill>
              </a14:hiddenFill>
            </a:ext>
          </a:extLst>
        </p:spPr>
      </p:pic>
      <p:pic>
        <p:nvPicPr>
          <p:cNvPr id="3" name="Gráfico 2" descr="Icono de menú de hamburguesa con relleno sólido">
            <a:hlinkClick r:id="" action="ppaction://noaction"/>
            <a:extLst>
              <a:ext uri="{FF2B5EF4-FFF2-40B4-BE49-F238E27FC236}">
                <a16:creationId xmlns:a16="http://schemas.microsoft.com/office/drawing/2014/main" id="{1F717593-7F9D-4404-A6DB-4ED9E5C236C1}"/>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6246519" y="10803331"/>
            <a:ext cx="383421" cy="384094"/>
          </a:xfrm>
          <a:prstGeom prst="rect">
            <a:avLst/>
          </a:prstGeom>
        </p:spPr>
      </p:pic>
    </p:spTree>
    <p:extLst>
      <p:ext uri="{BB962C8B-B14F-4D97-AF65-F5344CB8AC3E}">
        <p14:creationId xmlns:p14="http://schemas.microsoft.com/office/powerpoint/2010/main" val="417057791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Solo el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3E5D3C9-0567-764B-B5AB-5B6359092AA2}"/>
              </a:ext>
            </a:extLst>
          </p:cNvPr>
          <p:cNvSpPr>
            <a:spLocks noGrp="1"/>
          </p:cNvSpPr>
          <p:nvPr>
            <p:ph type="title"/>
          </p:nvPr>
        </p:nvSpPr>
        <p:spPr>
          <a:xfrm>
            <a:off x="9675097" y="400692"/>
            <a:ext cx="9926401" cy="1436961"/>
          </a:xfrm>
          <a:prstGeom prst="rect">
            <a:avLst/>
          </a:prstGeom>
        </p:spPr>
        <p:txBody>
          <a:bodyPr/>
          <a:lstStyle>
            <a:lvl1pPr algn="r">
              <a:defRPr sz="4617" b="0" i="0">
                <a:solidFill>
                  <a:schemeClr val="tx1">
                    <a:lumMod val="50000"/>
                    <a:lumOff val="50000"/>
                  </a:schemeClr>
                </a:solidFill>
                <a:latin typeface="Gill Sans MT" panose="020B0502020104020203" pitchFamily="34" charset="77"/>
              </a:defRPr>
            </a:lvl1pPr>
          </a:lstStyle>
          <a:p>
            <a:r>
              <a:rPr lang="es-ES" dirty="0"/>
              <a:t>Haga clic para modificar el estilo de título del patrón</a:t>
            </a:r>
            <a:endParaRPr lang="en-US" dirty="0"/>
          </a:p>
        </p:txBody>
      </p:sp>
      <p:sp>
        <p:nvSpPr>
          <p:cNvPr id="7" name="Rectangle 2">
            <a:extLst>
              <a:ext uri="{FF2B5EF4-FFF2-40B4-BE49-F238E27FC236}">
                <a16:creationId xmlns:a16="http://schemas.microsoft.com/office/drawing/2014/main" id="{5933062E-7EC6-2B4C-81C5-07E4D3791CE3}"/>
              </a:ext>
            </a:extLst>
          </p:cNvPr>
          <p:cNvSpPr>
            <a:spLocks noChangeArrowheads="1"/>
          </p:cNvSpPr>
          <p:nvPr userDrawn="1"/>
        </p:nvSpPr>
        <p:spPr bwMode="auto">
          <a:xfrm>
            <a:off x="0" y="-149228"/>
            <a:ext cx="304572" cy="4292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50781" tIns="75390" rIns="150781" bIns="75390" numCol="1" anchor="ctr" anchorCtr="0" compatLnSpc="1">
            <a:prstTxWarp prst="textNoShape">
              <a:avLst/>
            </a:prstTxWarp>
            <a:spAutoFit/>
          </a:bodyPr>
          <a:lstStyle/>
          <a:p>
            <a:endParaRPr lang="en-US"/>
          </a:p>
        </p:txBody>
      </p:sp>
      <p:pic>
        <p:nvPicPr>
          <p:cNvPr id="24" name="Imagen 23">
            <a:extLst>
              <a:ext uri="{FF2B5EF4-FFF2-40B4-BE49-F238E27FC236}">
                <a16:creationId xmlns:a16="http://schemas.microsoft.com/office/drawing/2014/main" id="{5CFB6048-AB32-A942-A7C7-6CB9EF19C71D}"/>
              </a:ext>
            </a:extLst>
          </p:cNvPr>
          <p:cNvPicPr>
            <a:picLocks noChangeAspect="1"/>
          </p:cNvPicPr>
          <p:nvPr userDrawn="1"/>
        </p:nvPicPr>
        <p:blipFill>
          <a:blip r:embed="rId2"/>
          <a:stretch>
            <a:fillRect/>
          </a:stretch>
        </p:blipFill>
        <p:spPr>
          <a:xfrm>
            <a:off x="18219342" y="10263941"/>
            <a:ext cx="1400976" cy="727451"/>
          </a:xfrm>
          <a:prstGeom prst="rect">
            <a:avLst/>
          </a:prstGeom>
        </p:spPr>
      </p:pic>
      <p:sp>
        <p:nvSpPr>
          <p:cNvPr id="11" name="Título 10">
            <a:extLst>
              <a:ext uri="{FF2B5EF4-FFF2-40B4-BE49-F238E27FC236}">
                <a16:creationId xmlns:a16="http://schemas.microsoft.com/office/drawing/2014/main" id="{3F03D4E6-FFE8-8447-A6E6-2CFEF2586CA4}"/>
              </a:ext>
            </a:extLst>
          </p:cNvPr>
          <p:cNvSpPr txBox="1">
            <a:spLocks/>
          </p:cNvSpPr>
          <p:nvPr userDrawn="1"/>
        </p:nvSpPr>
        <p:spPr>
          <a:xfrm>
            <a:off x="578979" y="-125871"/>
            <a:ext cx="3776909" cy="1276733"/>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lang="pt-PT" sz="2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pPr>
              <a:lnSpc>
                <a:spcPts val="9564"/>
              </a:lnSpc>
            </a:pPr>
            <a:r>
              <a:rPr lang="en-US" sz="2638" b="1" dirty="0" err="1">
                <a:solidFill>
                  <a:srgbClr val="0071AA"/>
                </a:solidFill>
                <a:latin typeface="Ubuntu" panose="020B0504030602030204" pitchFamily="34" charset="0"/>
              </a:rPr>
              <a:t>QA</a:t>
            </a:r>
            <a:r>
              <a:rPr lang="en-US" sz="2638" b="1" dirty="0" err="1">
                <a:solidFill>
                  <a:schemeClr val="accent2"/>
                </a:solidFill>
                <a:latin typeface="Ubuntu" panose="020B0504030602030204" pitchFamily="34" charset="0"/>
              </a:rPr>
              <a:t>Dashboards</a:t>
            </a:r>
            <a:r>
              <a:rPr lang="en-US" sz="2638" b="1" dirty="0">
                <a:solidFill>
                  <a:srgbClr val="FF6327"/>
                </a:solidFill>
                <a:latin typeface="Ubuntu" panose="020B0504030602030204" pitchFamily="34" charset="0"/>
              </a:rPr>
              <a:t>.</a:t>
            </a:r>
          </a:p>
          <a:p>
            <a:pPr>
              <a:lnSpc>
                <a:spcPts val="9564"/>
              </a:lnSpc>
            </a:pPr>
            <a:endParaRPr lang="en-US" sz="2638" b="1" dirty="0">
              <a:solidFill>
                <a:srgbClr val="FF6327"/>
              </a:solidFill>
              <a:latin typeface="Ubuntu" panose="020B0504030602030204" pitchFamily="34" charset="0"/>
            </a:endParaRPr>
          </a:p>
        </p:txBody>
      </p:sp>
      <p:sp>
        <p:nvSpPr>
          <p:cNvPr id="3" name="Rectángulo 2">
            <a:extLst>
              <a:ext uri="{FF2B5EF4-FFF2-40B4-BE49-F238E27FC236}">
                <a16:creationId xmlns:a16="http://schemas.microsoft.com/office/drawing/2014/main" id="{8224B1D0-B001-0343-84A6-0CF30EFCA8EF}"/>
              </a:ext>
            </a:extLst>
          </p:cNvPr>
          <p:cNvSpPr/>
          <p:nvPr userDrawn="1"/>
        </p:nvSpPr>
        <p:spPr>
          <a:xfrm>
            <a:off x="464615" y="824240"/>
            <a:ext cx="11182906" cy="358688"/>
          </a:xfrm>
          <a:prstGeom prst="rect">
            <a:avLst/>
          </a:prstGeom>
        </p:spPr>
        <p:txBody>
          <a:bodyPr wrap="square">
            <a:spAutoFit/>
          </a:bodyPr>
          <a:lstStyle/>
          <a:p>
            <a:r>
              <a:rPr lang="es-ES_tradnl" sz="1731" b="1" noProof="0" dirty="0" err="1">
                <a:solidFill>
                  <a:srgbClr val="2D0439"/>
                </a:solidFill>
                <a:latin typeface="Ubuntu" panose="020B0504030602030204" pitchFamily="34" charset="0"/>
              </a:rPr>
              <a:t>Dashboards</a:t>
            </a:r>
            <a:r>
              <a:rPr lang="es-ES_tradnl" sz="1731" b="1" noProof="0" dirty="0">
                <a:solidFill>
                  <a:srgbClr val="2D0439"/>
                </a:solidFill>
                <a:latin typeface="Ubuntu" panose="020B0504030602030204" pitchFamily="34" charset="0"/>
              </a:rPr>
              <a:t> </a:t>
            </a:r>
            <a:r>
              <a:rPr lang="es-ES_tradnl" sz="1731" b="0" noProof="0" dirty="0">
                <a:solidFill>
                  <a:srgbClr val="2D0439"/>
                </a:solidFill>
                <a:latin typeface="Ubuntu" panose="020B0504030602030204" pitchFamily="34" charset="0"/>
              </a:rPr>
              <a:t>para el gobierno de QA.</a:t>
            </a:r>
          </a:p>
        </p:txBody>
      </p:sp>
    </p:spTree>
    <p:extLst>
      <p:ext uri="{BB962C8B-B14F-4D97-AF65-F5344CB8AC3E}">
        <p14:creationId xmlns:p14="http://schemas.microsoft.com/office/powerpoint/2010/main" val="391091055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672755" y="668691"/>
            <a:ext cx="15661826" cy="1426539"/>
          </a:xfrm>
          <a:prstGeom prst="rect">
            <a:avLst/>
          </a:prstGeom>
        </p:spPr>
        <p:txBody>
          <a:bodyPr vert="horz" lIns="0" tIns="0" rIns="0" bIns="0" rtlCol="0" anchor="t">
            <a:normAutofit/>
          </a:bodyPr>
          <a:lstStyle>
            <a:lvl1pPr>
              <a:defRPr lang="pt-PT" b="1" i="0" dirty="0">
                <a:latin typeface="Ubuntu" panose="020B0504030602030204" pitchFamily="34" charset="0"/>
              </a:defRPr>
            </a:lvl1pPr>
          </a:lstStyle>
          <a:p>
            <a:pPr lvl="0">
              <a:lnSpc>
                <a:spcPts val="4947"/>
              </a:lnSpc>
            </a:pPr>
            <a:r>
              <a:rPr lang="en-US"/>
              <a:t>Click to add title</a:t>
            </a:r>
            <a:endParaRPr lang="pt-PT"/>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626297" y="10829141"/>
            <a:ext cx="4274077" cy="362509"/>
          </a:xfrm>
          <a:prstGeom prst="rect">
            <a:avLst/>
          </a:prstGeom>
        </p:spPr>
        <p:txBody>
          <a:bodyPr wrap="none" lIns="0" tIns="0" rIns="0" bIns="0" anchor="ctr">
            <a:noAutofit/>
          </a:bodyPr>
          <a:lstStyle/>
          <a:p>
            <a:pPr>
              <a:lnSpc>
                <a:spcPct val="100000"/>
              </a:lnSpc>
            </a:pPr>
            <a:r>
              <a:rPr lang="en-US" sz="1319" dirty="0">
                <a:solidFill>
                  <a:schemeClr val="bg2">
                    <a:lumMod val="50000"/>
                  </a:schemeClr>
                </a:solidFill>
                <a:cs typeface="Arial" panose="020B0604020202020204" pitchFamily="34" charset="0"/>
              </a:rPr>
              <a:t>© 2023 Sogeti. All rights reserved.</a:t>
            </a:r>
          </a:p>
        </p:txBody>
      </p:sp>
      <p:pic>
        <p:nvPicPr>
          <p:cNvPr id="5" name="Imagen 4">
            <a:extLst>
              <a:ext uri="{FF2B5EF4-FFF2-40B4-BE49-F238E27FC236}">
                <a16:creationId xmlns:a16="http://schemas.microsoft.com/office/drawing/2014/main" id="{0C29C71A-B665-46B6-9792-7D3B8F6B4BD9}"/>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7545396" y="503485"/>
            <a:ext cx="1962528" cy="1019036"/>
          </a:xfrm>
          <a:prstGeom prst="rect">
            <a:avLst/>
          </a:prstGeom>
        </p:spPr>
      </p:pic>
      <p:pic>
        <p:nvPicPr>
          <p:cNvPr id="7" name="Gráfico 6" descr="Inicio">
            <a:hlinkClick r:id="rId3" action="ppaction://hlinksldjump" tooltip="Inicio"/>
            <a:extLst>
              <a:ext uri="{FF2B5EF4-FFF2-40B4-BE49-F238E27FC236}">
                <a16:creationId xmlns:a16="http://schemas.microsoft.com/office/drawing/2014/main" id="{86A47990-4F87-43ED-B4DC-90926D5B28F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7116710" y="10782089"/>
            <a:ext cx="409220" cy="382908"/>
          </a:xfrm>
          <a:prstGeom prst="rect">
            <a:avLst/>
          </a:prstGeom>
        </p:spPr>
      </p:pic>
      <p:pic>
        <p:nvPicPr>
          <p:cNvPr id="8" name="Gráfico 7" descr="Marca de verificación">
            <a:hlinkClick r:id="" action="ppaction://noaction"/>
            <a:extLst>
              <a:ext uri="{FF2B5EF4-FFF2-40B4-BE49-F238E27FC236}">
                <a16:creationId xmlns:a16="http://schemas.microsoft.com/office/drawing/2014/main" id="{F09C4264-8D72-476C-8482-8237E177A63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8452954" y="10767559"/>
            <a:ext cx="345848" cy="397437"/>
          </a:xfrm>
          <a:prstGeom prst="rect">
            <a:avLst/>
          </a:prstGeom>
        </p:spPr>
      </p:pic>
      <p:pic>
        <p:nvPicPr>
          <p:cNvPr id="10" name="Gráfico 9" descr="Bombilla y equipo">
            <a:hlinkClick r:id="" action="ppaction://noaction" tooltip="SogetiLabs"/>
            <a:extLst>
              <a:ext uri="{FF2B5EF4-FFF2-40B4-BE49-F238E27FC236}">
                <a16:creationId xmlns:a16="http://schemas.microsoft.com/office/drawing/2014/main" id="{A2F8AA67-C828-416B-B005-B0B99C86AE38}"/>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8047416" y="10815812"/>
            <a:ext cx="345848" cy="323611"/>
          </a:xfrm>
          <a:prstGeom prst="rect">
            <a:avLst/>
          </a:prstGeom>
        </p:spPr>
      </p:pic>
      <p:pic>
        <p:nvPicPr>
          <p:cNvPr id="11" name="Gráfico 10" descr="Repetir">
            <a:hlinkClick r:id="" action="ppaction://noaction"/>
            <a:extLst>
              <a:ext uri="{FF2B5EF4-FFF2-40B4-BE49-F238E27FC236}">
                <a16:creationId xmlns:a16="http://schemas.microsoft.com/office/drawing/2014/main" id="{44FDB50D-8174-41C0-A5DD-1A8B0BF33223}"/>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17600342" y="10788032"/>
            <a:ext cx="364036" cy="382908"/>
          </a:xfrm>
          <a:prstGeom prst="rect">
            <a:avLst/>
          </a:prstGeom>
        </p:spPr>
      </p:pic>
      <p:pic>
        <p:nvPicPr>
          <p:cNvPr id="12" name="Gráfico 11" descr="Discurso">
            <a:hlinkClick r:id="rId12" action="ppaction://hlinksldjump" tooltip="Customer stories"/>
            <a:extLst>
              <a:ext uri="{FF2B5EF4-FFF2-40B4-BE49-F238E27FC236}">
                <a16:creationId xmlns:a16="http://schemas.microsoft.com/office/drawing/2014/main" id="{DF94310E-F253-4E90-8477-2F5EC0336E1C}"/>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9399330" y="10788032"/>
            <a:ext cx="406455" cy="455011"/>
          </a:xfrm>
          <a:prstGeom prst="rect">
            <a:avLst/>
          </a:prstGeom>
        </p:spPr>
      </p:pic>
      <p:pic>
        <p:nvPicPr>
          <p:cNvPr id="13" name="Gráfico 12" descr="Diseño web">
            <a:hlinkClick r:id="" action="ppaction://noaction"/>
            <a:extLst>
              <a:ext uri="{FF2B5EF4-FFF2-40B4-BE49-F238E27FC236}">
                <a16:creationId xmlns:a16="http://schemas.microsoft.com/office/drawing/2014/main" id="{A33271D7-0119-4F23-8CDF-BADA19A768C8}"/>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a:off x="18895257" y="10777216"/>
            <a:ext cx="407618" cy="408333"/>
          </a:xfrm>
          <a:prstGeom prst="rect">
            <a:avLst/>
          </a:prstGeom>
        </p:spPr>
      </p:pic>
    </p:spTree>
    <p:extLst>
      <p:ext uri="{BB962C8B-B14F-4D97-AF65-F5344CB8AC3E}">
        <p14:creationId xmlns:p14="http://schemas.microsoft.com/office/powerpoint/2010/main" val="175338768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_Blank-White">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672755" y="668691"/>
            <a:ext cx="15661826" cy="1426539"/>
          </a:xfrm>
          <a:prstGeom prst="rect">
            <a:avLst/>
          </a:prstGeom>
        </p:spPr>
        <p:txBody>
          <a:bodyPr vert="horz" lIns="0" tIns="0" rIns="0" bIns="0" rtlCol="0" anchor="t">
            <a:normAutofit/>
          </a:bodyPr>
          <a:lstStyle>
            <a:lvl1pPr>
              <a:defRPr lang="pt-PT" b="1" i="0" dirty="0">
                <a:latin typeface="Ubuntu" panose="020B0504030602030204" pitchFamily="34" charset="0"/>
              </a:defRPr>
            </a:lvl1pPr>
          </a:lstStyle>
          <a:p>
            <a:pPr lvl="0">
              <a:lnSpc>
                <a:spcPts val="4947"/>
              </a:lnSpc>
            </a:pPr>
            <a:r>
              <a:rPr lang="en-US"/>
              <a:t>Click to add title</a:t>
            </a:r>
            <a:endParaRPr lang="pt-PT"/>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626297" y="10829141"/>
            <a:ext cx="4274077" cy="362509"/>
          </a:xfrm>
          <a:prstGeom prst="rect">
            <a:avLst/>
          </a:prstGeom>
        </p:spPr>
        <p:txBody>
          <a:bodyPr wrap="none" lIns="0" tIns="0" rIns="0" bIns="0" anchor="ctr">
            <a:noAutofit/>
          </a:bodyPr>
          <a:lstStyle/>
          <a:p>
            <a:pPr>
              <a:lnSpc>
                <a:spcPct val="100000"/>
              </a:lnSpc>
            </a:pPr>
            <a:r>
              <a:rPr lang="en-US" sz="1319">
                <a:solidFill>
                  <a:schemeClr val="bg2">
                    <a:lumMod val="50000"/>
                  </a:schemeClr>
                </a:solidFill>
                <a:cs typeface="Arial" panose="020B0604020202020204" pitchFamily="34" charset="0"/>
              </a:rPr>
              <a:t>© 2020 Sogeti. All rights reserved.</a:t>
            </a:r>
          </a:p>
        </p:txBody>
      </p:sp>
      <p:pic>
        <p:nvPicPr>
          <p:cNvPr id="7" name="Gráfico 6" descr="Inicio">
            <a:hlinkClick r:id="rId2" action="ppaction://hlinksldjump" tooltip="Inicio"/>
            <a:extLst>
              <a:ext uri="{FF2B5EF4-FFF2-40B4-BE49-F238E27FC236}">
                <a16:creationId xmlns:a16="http://schemas.microsoft.com/office/drawing/2014/main" id="{3B826228-1357-424A-93BC-09F8E8312AE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7116710" y="10782089"/>
            <a:ext cx="409220" cy="382908"/>
          </a:xfrm>
          <a:prstGeom prst="rect">
            <a:avLst/>
          </a:prstGeom>
        </p:spPr>
      </p:pic>
      <p:pic>
        <p:nvPicPr>
          <p:cNvPr id="8" name="Gráfico 7" descr="Marca de verificación">
            <a:hlinkClick r:id="" action="ppaction://noaction"/>
            <a:extLst>
              <a:ext uri="{FF2B5EF4-FFF2-40B4-BE49-F238E27FC236}">
                <a16:creationId xmlns:a16="http://schemas.microsoft.com/office/drawing/2014/main" id="{A9D88D05-B555-4105-B160-2515484CE3BE}"/>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8452954" y="10767559"/>
            <a:ext cx="345848" cy="397437"/>
          </a:xfrm>
          <a:prstGeom prst="rect">
            <a:avLst/>
          </a:prstGeom>
        </p:spPr>
      </p:pic>
      <p:pic>
        <p:nvPicPr>
          <p:cNvPr id="10" name="Gráfico 9" descr="Bombilla y equipo">
            <a:hlinkClick r:id="" action="ppaction://noaction" tooltip="SogetiLabs"/>
            <a:extLst>
              <a:ext uri="{FF2B5EF4-FFF2-40B4-BE49-F238E27FC236}">
                <a16:creationId xmlns:a16="http://schemas.microsoft.com/office/drawing/2014/main" id="{6BD3EDC8-38F5-49A5-8F3B-EAF423D92D94}"/>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8047416" y="10815812"/>
            <a:ext cx="345848" cy="323611"/>
          </a:xfrm>
          <a:prstGeom prst="rect">
            <a:avLst/>
          </a:prstGeom>
        </p:spPr>
      </p:pic>
      <p:pic>
        <p:nvPicPr>
          <p:cNvPr id="11" name="Gráfico 10" descr="Repetir">
            <a:hlinkClick r:id="" action="ppaction://noaction"/>
            <a:extLst>
              <a:ext uri="{FF2B5EF4-FFF2-40B4-BE49-F238E27FC236}">
                <a16:creationId xmlns:a16="http://schemas.microsoft.com/office/drawing/2014/main" id="{417A97FF-C031-46D6-9330-26FE23D28EBE}"/>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17600342" y="10788032"/>
            <a:ext cx="364036" cy="382908"/>
          </a:xfrm>
          <a:prstGeom prst="rect">
            <a:avLst/>
          </a:prstGeom>
        </p:spPr>
      </p:pic>
      <p:pic>
        <p:nvPicPr>
          <p:cNvPr id="12" name="Gráfico 11" descr="Discurso">
            <a:hlinkClick r:id="rId11" action="ppaction://hlinksldjump" tooltip="Customer stories"/>
            <a:extLst>
              <a:ext uri="{FF2B5EF4-FFF2-40B4-BE49-F238E27FC236}">
                <a16:creationId xmlns:a16="http://schemas.microsoft.com/office/drawing/2014/main" id="{B07188C4-3463-4A9C-9C6C-52BAB98F6AAA}"/>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19399330" y="10788032"/>
            <a:ext cx="406455" cy="455011"/>
          </a:xfrm>
          <a:prstGeom prst="rect">
            <a:avLst/>
          </a:prstGeom>
        </p:spPr>
      </p:pic>
      <p:pic>
        <p:nvPicPr>
          <p:cNvPr id="13" name="Gráfico 12" descr="Diseño web">
            <a:hlinkClick r:id="" action="ppaction://noaction"/>
            <a:extLst>
              <a:ext uri="{FF2B5EF4-FFF2-40B4-BE49-F238E27FC236}">
                <a16:creationId xmlns:a16="http://schemas.microsoft.com/office/drawing/2014/main" id="{410D0330-7D7C-4386-998A-CDFFDCA73CD2}"/>
              </a:ext>
            </a:extLst>
          </p:cNvPr>
          <p:cNvPicPr>
            <a:picLocks noChangeAspect="1"/>
          </p:cNvPicPr>
          <p:nvPr userDrawn="1"/>
        </p:nvPicPr>
        <p:blipFill>
          <a:blip r:embed="rId14">
            <a:extLst>
              <a:ext uri="{96DAC541-7B7A-43D3-8B79-37D633B846F1}">
                <asvg:svgBlip xmlns:asvg="http://schemas.microsoft.com/office/drawing/2016/SVG/main" r:embed="rId15"/>
              </a:ext>
            </a:extLst>
          </a:blip>
          <a:stretch>
            <a:fillRect/>
          </a:stretch>
        </p:blipFill>
        <p:spPr>
          <a:xfrm>
            <a:off x="18895257" y="10777216"/>
            <a:ext cx="407618" cy="408333"/>
          </a:xfrm>
          <a:prstGeom prst="rect">
            <a:avLst/>
          </a:prstGeom>
        </p:spPr>
      </p:pic>
    </p:spTree>
    <p:extLst>
      <p:ext uri="{BB962C8B-B14F-4D97-AF65-F5344CB8AC3E}">
        <p14:creationId xmlns:p14="http://schemas.microsoft.com/office/powerpoint/2010/main" val="86387848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Blank-White">
    <p:spTree>
      <p:nvGrpSpPr>
        <p:cNvPr id="1" name=""/>
        <p:cNvGrpSpPr/>
        <p:nvPr/>
      </p:nvGrpSpPr>
      <p:grpSpPr>
        <a:xfrm>
          <a:off x="0" y="0"/>
          <a:ext cx="0" cy="0"/>
          <a:chOff x="0" y="0"/>
          <a:chExt cx="0" cy="0"/>
        </a:xfrm>
      </p:grpSpPr>
      <p:sp>
        <p:nvSpPr>
          <p:cNvPr id="3" name="Marcador de posición de imagen 2">
            <a:extLst>
              <a:ext uri="{FF2B5EF4-FFF2-40B4-BE49-F238E27FC236}">
                <a16:creationId xmlns:a16="http://schemas.microsoft.com/office/drawing/2014/main" id="{A8C9879A-2586-406A-A1CA-41C8D2799AD9}"/>
              </a:ext>
            </a:extLst>
          </p:cNvPr>
          <p:cNvSpPr>
            <a:spLocks noGrp="1"/>
          </p:cNvSpPr>
          <p:nvPr>
            <p:ph type="pic" sz="quarter" idx="11"/>
          </p:nvPr>
        </p:nvSpPr>
        <p:spPr>
          <a:xfrm>
            <a:off x="15580678" y="7992816"/>
            <a:ext cx="3494659" cy="2402040"/>
          </a:xfrm>
          <a:prstGeom prst="rect">
            <a:avLst/>
          </a:prstGeom>
        </p:spPr>
        <p:txBody>
          <a:bodyPr/>
          <a:lstStyle/>
          <a:p>
            <a:endParaRPr lang="en-GB"/>
          </a:p>
        </p:txBody>
      </p:sp>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15830680" y="2937062"/>
            <a:ext cx="2972120" cy="1067529"/>
          </a:xfrm>
          <a:prstGeom prst="rect">
            <a:avLst/>
          </a:prstGeom>
        </p:spPr>
        <p:txBody>
          <a:bodyPr vert="horz" lIns="0" tIns="0" rIns="0" bIns="0" rtlCol="0" anchor="t">
            <a:normAutofit/>
          </a:bodyPr>
          <a:lstStyle>
            <a:lvl1pPr algn="ctr">
              <a:lnSpc>
                <a:spcPct val="100000"/>
              </a:lnSpc>
              <a:defRPr lang="pt-PT" sz="3298" b="0" i="0" dirty="0">
                <a:solidFill>
                  <a:schemeClr val="accent2"/>
                </a:solidFill>
                <a:latin typeface="Ubuntu" panose="020B0504030602030204" pitchFamily="34" charset="0"/>
              </a:defRPr>
            </a:lvl1pPr>
          </a:lstStyle>
          <a:p>
            <a:pPr lvl="0">
              <a:lnSpc>
                <a:spcPts val="4947"/>
              </a:lnSpc>
            </a:pPr>
            <a:r>
              <a:rPr lang="en-US"/>
              <a:t>Click to add title</a:t>
            </a:r>
            <a:endParaRPr lang="pt-PT"/>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626297" y="10829141"/>
            <a:ext cx="4274077" cy="362509"/>
          </a:xfrm>
          <a:prstGeom prst="rect">
            <a:avLst/>
          </a:prstGeom>
        </p:spPr>
        <p:txBody>
          <a:bodyPr wrap="none" lIns="0" tIns="0" rIns="0" bIns="0" anchor="ctr">
            <a:noAutofit/>
          </a:bodyPr>
          <a:lstStyle/>
          <a:p>
            <a:pPr>
              <a:lnSpc>
                <a:spcPct val="100000"/>
              </a:lnSpc>
            </a:pPr>
            <a:r>
              <a:rPr lang="en-US" sz="1319">
                <a:solidFill>
                  <a:schemeClr val="bg2">
                    <a:lumMod val="50000"/>
                  </a:schemeClr>
                </a:solidFill>
                <a:cs typeface="Arial" panose="020B0604020202020204" pitchFamily="34" charset="0"/>
              </a:rPr>
              <a:t>© 2020 Sogeti. All rights reserved.</a:t>
            </a:r>
          </a:p>
        </p:txBody>
      </p:sp>
      <p:sp>
        <p:nvSpPr>
          <p:cNvPr id="5" name="Freeform 16">
            <a:extLst>
              <a:ext uri="{FF2B5EF4-FFF2-40B4-BE49-F238E27FC236}">
                <a16:creationId xmlns:a16="http://schemas.microsoft.com/office/drawing/2014/main" id="{8784F769-4DA7-4C4F-B06E-5390DC3FD483}"/>
              </a:ext>
            </a:extLst>
          </p:cNvPr>
          <p:cNvSpPr/>
          <p:nvPr userDrawn="1"/>
        </p:nvSpPr>
        <p:spPr>
          <a:xfrm>
            <a:off x="-37904" y="0"/>
            <a:ext cx="9615002" cy="11328400"/>
          </a:xfrm>
          <a:custGeom>
            <a:avLst/>
            <a:gdLst>
              <a:gd name="connsiteX0" fmla="*/ 0 w 6223905"/>
              <a:gd name="connsiteY0" fmla="*/ 0 h 6858000"/>
              <a:gd name="connsiteX1" fmla="*/ 4186882 w 6223905"/>
              <a:gd name="connsiteY1" fmla="*/ 0 h 6858000"/>
              <a:gd name="connsiteX2" fmla="*/ 4197034 w 6223905"/>
              <a:gd name="connsiteY2" fmla="*/ 22340 h 6858000"/>
              <a:gd name="connsiteX3" fmla="*/ 5904357 w 6223905"/>
              <a:gd name="connsiteY3" fmla="*/ 3779388 h 6858000"/>
              <a:gd name="connsiteX4" fmla="*/ 5873730 w 6223905"/>
              <a:gd name="connsiteY4" fmla="*/ 6784163 h 6858000"/>
              <a:gd name="connsiteX5" fmla="*/ 5834113 w 6223905"/>
              <a:gd name="connsiteY5" fmla="*/ 6858000 h 6858000"/>
              <a:gd name="connsiteX6" fmla="*/ 0 w 6223905"/>
              <a:gd name="connsiteY6" fmla="*/ 6858000 h 6858000"/>
              <a:gd name="connsiteX7" fmla="*/ 0 w 6223905"/>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23905" h="6858000">
                <a:moveTo>
                  <a:pt x="0" y="0"/>
                </a:moveTo>
                <a:lnTo>
                  <a:pt x="4186882" y="0"/>
                </a:lnTo>
                <a:lnTo>
                  <a:pt x="4197034" y="22340"/>
                </a:lnTo>
                <a:cubicBezTo>
                  <a:pt x="5904357" y="3779388"/>
                  <a:pt x="5904357" y="3779388"/>
                  <a:pt x="5904357" y="3779388"/>
                </a:cubicBezTo>
                <a:cubicBezTo>
                  <a:pt x="6352858" y="4766336"/>
                  <a:pt x="6316954" y="5863968"/>
                  <a:pt x="5873730" y="6784163"/>
                </a:cubicBezTo>
                <a:lnTo>
                  <a:pt x="5834113" y="6858000"/>
                </a:lnTo>
                <a:lnTo>
                  <a:pt x="0" y="6858000"/>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1" name="Title 1">
            <a:extLst>
              <a:ext uri="{FF2B5EF4-FFF2-40B4-BE49-F238E27FC236}">
                <a16:creationId xmlns:a16="http://schemas.microsoft.com/office/drawing/2014/main" id="{4EFC6D4F-5807-4D67-9D4D-1D7B42FF5C93}"/>
              </a:ext>
            </a:extLst>
          </p:cNvPr>
          <p:cNvSpPr txBox="1">
            <a:spLocks/>
          </p:cNvSpPr>
          <p:nvPr userDrawn="1"/>
        </p:nvSpPr>
        <p:spPr>
          <a:xfrm>
            <a:off x="7798069" y="623243"/>
            <a:ext cx="18758590" cy="791414"/>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a:lstStyle>
          <a:p>
            <a:r>
              <a:rPr lang="en-US" sz="4617" b="1">
                <a:solidFill>
                  <a:schemeClr val="accent3"/>
                </a:solidFill>
                <a:latin typeface="Ubuntu Mono" panose="020B0509030602030204" pitchFamily="49" charset="0"/>
              </a:rPr>
              <a:t>Approach</a:t>
            </a:r>
          </a:p>
        </p:txBody>
      </p:sp>
      <p:sp>
        <p:nvSpPr>
          <p:cNvPr id="24" name="Title 1">
            <a:extLst>
              <a:ext uri="{FF2B5EF4-FFF2-40B4-BE49-F238E27FC236}">
                <a16:creationId xmlns:a16="http://schemas.microsoft.com/office/drawing/2014/main" id="{73A582A1-67C5-4C6D-91B5-9CE6FDB1877E}"/>
              </a:ext>
            </a:extLst>
          </p:cNvPr>
          <p:cNvSpPr txBox="1">
            <a:spLocks/>
          </p:cNvSpPr>
          <p:nvPr userDrawn="1"/>
        </p:nvSpPr>
        <p:spPr>
          <a:xfrm>
            <a:off x="7798367" y="1301136"/>
            <a:ext cx="4639049" cy="791414"/>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a:lstStyle>
          <a:p>
            <a:r>
              <a:rPr lang="en-US" sz="2638" i="1">
                <a:solidFill>
                  <a:schemeClr val="accent3"/>
                </a:solidFill>
              </a:rPr>
              <a:t>What we do? How we do it?</a:t>
            </a:r>
          </a:p>
        </p:txBody>
      </p:sp>
      <p:grpSp>
        <p:nvGrpSpPr>
          <p:cNvPr id="27" name="Grupo 26">
            <a:extLst>
              <a:ext uri="{FF2B5EF4-FFF2-40B4-BE49-F238E27FC236}">
                <a16:creationId xmlns:a16="http://schemas.microsoft.com/office/drawing/2014/main" id="{2BA492A3-981D-4CEB-9478-05D51C9B80BB}"/>
              </a:ext>
            </a:extLst>
          </p:cNvPr>
          <p:cNvGrpSpPr/>
          <p:nvPr userDrawn="1"/>
        </p:nvGrpSpPr>
        <p:grpSpPr>
          <a:xfrm>
            <a:off x="15558501" y="2666171"/>
            <a:ext cx="3516478" cy="1602004"/>
            <a:chOff x="10488487" y="215003"/>
            <a:chExt cx="1422239" cy="682410"/>
          </a:xfrm>
        </p:grpSpPr>
        <p:sp>
          <p:nvSpPr>
            <p:cNvPr id="28" name="Forma libre 38">
              <a:extLst>
                <a:ext uri="{FF2B5EF4-FFF2-40B4-BE49-F238E27FC236}">
                  <a16:creationId xmlns:a16="http://schemas.microsoft.com/office/drawing/2014/main" id="{9B560B13-FBD9-4DE7-8DF0-C463E25550BB}"/>
                </a:ext>
              </a:extLst>
            </p:cNvPr>
            <p:cNvSpPr/>
            <p:nvPr/>
          </p:nvSpPr>
          <p:spPr>
            <a:xfrm>
              <a:off x="11626523" y="215003"/>
              <a:ext cx="284203" cy="266007"/>
            </a:xfrm>
            <a:custGeom>
              <a:avLst/>
              <a:gdLst>
                <a:gd name="connsiteX0" fmla="*/ 0 w 324197"/>
                <a:gd name="connsiteY0" fmla="*/ 0 h 266007"/>
                <a:gd name="connsiteX1" fmla="*/ 324197 w 324197"/>
                <a:gd name="connsiteY1" fmla="*/ 0 h 266007"/>
                <a:gd name="connsiteX2" fmla="*/ 324197 w 324197"/>
                <a:gd name="connsiteY2" fmla="*/ 266007 h 266007"/>
              </a:gdLst>
              <a:ahLst/>
              <a:cxnLst>
                <a:cxn ang="0">
                  <a:pos x="connsiteX0" y="connsiteY0"/>
                </a:cxn>
                <a:cxn ang="0">
                  <a:pos x="connsiteX1" y="connsiteY1"/>
                </a:cxn>
                <a:cxn ang="0">
                  <a:pos x="connsiteX2" y="connsiteY2"/>
                </a:cxn>
              </a:cxnLst>
              <a:rect l="l" t="t" r="r" b="b"/>
              <a:pathLst>
                <a:path w="324197" h="266007">
                  <a:moveTo>
                    <a:pt x="0" y="0"/>
                  </a:moveTo>
                  <a:lnTo>
                    <a:pt x="324197" y="0"/>
                  </a:lnTo>
                  <a:lnTo>
                    <a:pt x="324197" y="266007"/>
                  </a:lnTo>
                </a:path>
              </a:pathLst>
            </a:cu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4617">
                <a:solidFill>
                  <a:schemeClr val="accent1"/>
                </a:solidFill>
              </a:endParaRPr>
            </a:p>
          </p:txBody>
        </p:sp>
        <p:sp>
          <p:nvSpPr>
            <p:cNvPr id="29" name="Forma libre 39">
              <a:extLst>
                <a:ext uri="{FF2B5EF4-FFF2-40B4-BE49-F238E27FC236}">
                  <a16:creationId xmlns:a16="http://schemas.microsoft.com/office/drawing/2014/main" id="{C0F514D2-B83B-44FD-A2AE-C7BF8E018753}"/>
                </a:ext>
              </a:extLst>
            </p:cNvPr>
            <p:cNvSpPr/>
            <p:nvPr/>
          </p:nvSpPr>
          <p:spPr>
            <a:xfrm flipH="1">
              <a:off x="10488488" y="218803"/>
              <a:ext cx="284203" cy="266007"/>
            </a:xfrm>
            <a:custGeom>
              <a:avLst/>
              <a:gdLst>
                <a:gd name="connsiteX0" fmla="*/ 0 w 324197"/>
                <a:gd name="connsiteY0" fmla="*/ 0 h 266007"/>
                <a:gd name="connsiteX1" fmla="*/ 324197 w 324197"/>
                <a:gd name="connsiteY1" fmla="*/ 0 h 266007"/>
                <a:gd name="connsiteX2" fmla="*/ 324197 w 324197"/>
                <a:gd name="connsiteY2" fmla="*/ 266007 h 266007"/>
              </a:gdLst>
              <a:ahLst/>
              <a:cxnLst>
                <a:cxn ang="0">
                  <a:pos x="connsiteX0" y="connsiteY0"/>
                </a:cxn>
                <a:cxn ang="0">
                  <a:pos x="connsiteX1" y="connsiteY1"/>
                </a:cxn>
                <a:cxn ang="0">
                  <a:pos x="connsiteX2" y="connsiteY2"/>
                </a:cxn>
              </a:cxnLst>
              <a:rect l="l" t="t" r="r" b="b"/>
              <a:pathLst>
                <a:path w="324197" h="266007">
                  <a:moveTo>
                    <a:pt x="0" y="0"/>
                  </a:moveTo>
                  <a:lnTo>
                    <a:pt x="324197" y="0"/>
                  </a:lnTo>
                  <a:lnTo>
                    <a:pt x="324197" y="266007"/>
                  </a:lnTo>
                </a:path>
              </a:pathLst>
            </a:cu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4617">
                <a:solidFill>
                  <a:schemeClr val="accent1"/>
                </a:solidFill>
              </a:endParaRPr>
            </a:p>
          </p:txBody>
        </p:sp>
        <p:sp>
          <p:nvSpPr>
            <p:cNvPr id="30" name="Forma libre 40">
              <a:extLst>
                <a:ext uri="{FF2B5EF4-FFF2-40B4-BE49-F238E27FC236}">
                  <a16:creationId xmlns:a16="http://schemas.microsoft.com/office/drawing/2014/main" id="{C8193272-B57C-4746-8BFA-C37E1F3CE58B}"/>
                </a:ext>
              </a:extLst>
            </p:cNvPr>
            <p:cNvSpPr/>
            <p:nvPr/>
          </p:nvSpPr>
          <p:spPr>
            <a:xfrm flipH="1" flipV="1">
              <a:off x="10488487" y="588404"/>
              <a:ext cx="284204" cy="307805"/>
            </a:xfrm>
            <a:custGeom>
              <a:avLst/>
              <a:gdLst>
                <a:gd name="connsiteX0" fmla="*/ 0 w 324197"/>
                <a:gd name="connsiteY0" fmla="*/ 0 h 266007"/>
                <a:gd name="connsiteX1" fmla="*/ 324197 w 324197"/>
                <a:gd name="connsiteY1" fmla="*/ 0 h 266007"/>
                <a:gd name="connsiteX2" fmla="*/ 324197 w 324197"/>
                <a:gd name="connsiteY2" fmla="*/ 266007 h 266007"/>
              </a:gdLst>
              <a:ahLst/>
              <a:cxnLst>
                <a:cxn ang="0">
                  <a:pos x="connsiteX0" y="connsiteY0"/>
                </a:cxn>
                <a:cxn ang="0">
                  <a:pos x="connsiteX1" y="connsiteY1"/>
                </a:cxn>
                <a:cxn ang="0">
                  <a:pos x="connsiteX2" y="connsiteY2"/>
                </a:cxn>
              </a:cxnLst>
              <a:rect l="l" t="t" r="r" b="b"/>
              <a:pathLst>
                <a:path w="324197" h="266007">
                  <a:moveTo>
                    <a:pt x="0" y="0"/>
                  </a:moveTo>
                  <a:lnTo>
                    <a:pt x="324197" y="0"/>
                  </a:lnTo>
                  <a:lnTo>
                    <a:pt x="324197" y="266007"/>
                  </a:lnTo>
                </a:path>
              </a:pathLst>
            </a:cu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4617">
                <a:solidFill>
                  <a:schemeClr val="accent1"/>
                </a:solidFill>
              </a:endParaRPr>
            </a:p>
          </p:txBody>
        </p:sp>
        <p:sp>
          <p:nvSpPr>
            <p:cNvPr id="31" name="Forma libre 41">
              <a:extLst>
                <a:ext uri="{FF2B5EF4-FFF2-40B4-BE49-F238E27FC236}">
                  <a16:creationId xmlns:a16="http://schemas.microsoft.com/office/drawing/2014/main" id="{DC0B3F4A-1724-42F4-B370-873C9938D226}"/>
                </a:ext>
              </a:extLst>
            </p:cNvPr>
            <p:cNvSpPr/>
            <p:nvPr/>
          </p:nvSpPr>
          <p:spPr>
            <a:xfrm flipV="1">
              <a:off x="11626522" y="589608"/>
              <a:ext cx="284203" cy="307805"/>
            </a:xfrm>
            <a:custGeom>
              <a:avLst/>
              <a:gdLst>
                <a:gd name="connsiteX0" fmla="*/ 0 w 324197"/>
                <a:gd name="connsiteY0" fmla="*/ 0 h 266007"/>
                <a:gd name="connsiteX1" fmla="*/ 324197 w 324197"/>
                <a:gd name="connsiteY1" fmla="*/ 0 h 266007"/>
                <a:gd name="connsiteX2" fmla="*/ 324197 w 324197"/>
                <a:gd name="connsiteY2" fmla="*/ 266007 h 266007"/>
              </a:gdLst>
              <a:ahLst/>
              <a:cxnLst>
                <a:cxn ang="0">
                  <a:pos x="connsiteX0" y="connsiteY0"/>
                </a:cxn>
                <a:cxn ang="0">
                  <a:pos x="connsiteX1" y="connsiteY1"/>
                </a:cxn>
                <a:cxn ang="0">
                  <a:pos x="connsiteX2" y="connsiteY2"/>
                </a:cxn>
              </a:cxnLst>
              <a:rect l="l" t="t" r="r" b="b"/>
              <a:pathLst>
                <a:path w="324197" h="266007">
                  <a:moveTo>
                    <a:pt x="0" y="0"/>
                  </a:moveTo>
                  <a:lnTo>
                    <a:pt x="324197" y="0"/>
                  </a:lnTo>
                  <a:lnTo>
                    <a:pt x="324197" y="266007"/>
                  </a:lnTo>
                </a:path>
              </a:pathLst>
            </a:cu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4617">
                <a:solidFill>
                  <a:schemeClr val="accent1"/>
                </a:solidFill>
              </a:endParaRPr>
            </a:p>
          </p:txBody>
        </p:sp>
      </p:grpSp>
      <p:sp>
        <p:nvSpPr>
          <p:cNvPr id="33" name="Marcador de texto 32">
            <a:extLst>
              <a:ext uri="{FF2B5EF4-FFF2-40B4-BE49-F238E27FC236}">
                <a16:creationId xmlns:a16="http://schemas.microsoft.com/office/drawing/2014/main" id="{7249E9AA-9773-4C10-8E5B-39831154715B}"/>
              </a:ext>
            </a:extLst>
          </p:cNvPr>
          <p:cNvSpPr>
            <a:spLocks noGrp="1"/>
          </p:cNvSpPr>
          <p:nvPr>
            <p:ph type="body" sz="quarter" idx="10"/>
          </p:nvPr>
        </p:nvSpPr>
        <p:spPr>
          <a:xfrm>
            <a:off x="15581929" y="4578148"/>
            <a:ext cx="3475760" cy="2999566"/>
          </a:xfrm>
          <a:prstGeom prst="rect">
            <a:avLst/>
          </a:prstGeom>
        </p:spPr>
        <p:txBody>
          <a:bodyPr/>
          <a:lstStyle>
            <a:lvl1pPr>
              <a:lnSpc>
                <a:spcPct val="100000"/>
              </a:lnSpc>
              <a:defRPr lang="es-ES" sz="2638" kern="1200" dirty="0" smtClean="0">
                <a:solidFill>
                  <a:schemeClr val="accent3"/>
                </a:solidFill>
                <a:latin typeface="Ubuntu" panose="020B0504030602030204" pitchFamily="34" charset="0"/>
                <a:ea typeface="+mn-ea"/>
                <a:cs typeface="+mn-cs"/>
              </a:defRPr>
            </a:lvl1pPr>
            <a:lvl2pPr>
              <a:lnSpc>
                <a:spcPct val="100000"/>
              </a:lnSpc>
              <a:defRPr lang="es-ES" sz="2638" kern="1200" dirty="0" smtClean="0">
                <a:solidFill>
                  <a:schemeClr val="accent3"/>
                </a:solidFill>
                <a:latin typeface="Ubuntu" panose="020B0504030602030204" pitchFamily="34" charset="0"/>
                <a:ea typeface="+mn-ea"/>
                <a:cs typeface="+mn-cs"/>
              </a:defRPr>
            </a:lvl2pPr>
            <a:lvl3pPr>
              <a:lnSpc>
                <a:spcPct val="100000"/>
              </a:lnSpc>
              <a:defRPr lang="es-ES" sz="2638" kern="1200" dirty="0" smtClean="0">
                <a:solidFill>
                  <a:schemeClr val="accent3"/>
                </a:solidFill>
                <a:latin typeface="Ubuntu" panose="020B0504030602030204" pitchFamily="34" charset="0"/>
                <a:ea typeface="+mn-ea"/>
                <a:cs typeface="+mn-cs"/>
              </a:defRPr>
            </a:lvl3pPr>
            <a:lvl4pPr>
              <a:lnSpc>
                <a:spcPct val="100000"/>
              </a:lnSpc>
              <a:defRPr lang="es-ES" sz="2638" kern="1200" dirty="0" smtClean="0">
                <a:solidFill>
                  <a:schemeClr val="accent3"/>
                </a:solidFill>
                <a:latin typeface="Ubuntu" panose="020B0504030602030204" pitchFamily="34" charset="0"/>
                <a:ea typeface="+mn-ea"/>
                <a:cs typeface="+mn-cs"/>
              </a:defRPr>
            </a:lvl4pPr>
            <a:lvl5pPr>
              <a:lnSpc>
                <a:spcPct val="100000"/>
              </a:lnSpc>
              <a:defRPr lang="en-GB" sz="2638" kern="1200" dirty="0">
                <a:solidFill>
                  <a:schemeClr val="accent3"/>
                </a:solidFill>
                <a:latin typeface="Ubuntu" panose="020B0504030602030204" pitchFamily="34" charset="0"/>
                <a:ea typeface="+mn-ea"/>
                <a:cs typeface="+mn-cs"/>
              </a:defRPr>
            </a:lvl5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GB"/>
          </a:p>
        </p:txBody>
      </p:sp>
      <p:sp>
        <p:nvSpPr>
          <p:cNvPr id="37" name="Title 1">
            <a:extLst>
              <a:ext uri="{FF2B5EF4-FFF2-40B4-BE49-F238E27FC236}">
                <a16:creationId xmlns:a16="http://schemas.microsoft.com/office/drawing/2014/main" id="{0BE45C9D-D59B-4862-B83E-6E5B1DF13AC2}"/>
              </a:ext>
            </a:extLst>
          </p:cNvPr>
          <p:cNvSpPr txBox="1">
            <a:spLocks/>
          </p:cNvSpPr>
          <p:nvPr userDrawn="1"/>
        </p:nvSpPr>
        <p:spPr>
          <a:xfrm>
            <a:off x="1147711" y="5847992"/>
            <a:ext cx="18758590" cy="791414"/>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a:lstStyle>
          <a:p>
            <a:r>
              <a:rPr lang="en-US" sz="4617" b="1">
                <a:solidFill>
                  <a:schemeClr val="bg1"/>
                </a:solidFill>
                <a:latin typeface="Ubuntu Mono" panose="020B0509030602030204" pitchFamily="49" charset="0"/>
              </a:rPr>
              <a:t>Value</a:t>
            </a:r>
          </a:p>
        </p:txBody>
      </p:sp>
      <p:sp>
        <p:nvSpPr>
          <p:cNvPr id="38" name="Title 1">
            <a:extLst>
              <a:ext uri="{FF2B5EF4-FFF2-40B4-BE49-F238E27FC236}">
                <a16:creationId xmlns:a16="http://schemas.microsoft.com/office/drawing/2014/main" id="{37025ADD-45F0-4223-80D2-9D5BC34E8904}"/>
              </a:ext>
            </a:extLst>
          </p:cNvPr>
          <p:cNvSpPr txBox="1">
            <a:spLocks/>
          </p:cNvSpPr>
          <p:nvPr userDrawn="1"/>
        </p:nvSpPr>
        <p:spPr>
          <a:xfrm>
            <a:off x="1147712" y="6447847"/>
            <a:ext cx="4639049" cy="791414"/>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a:lstStyle>
          <a:p>
            <a:r>
              <a:rPr lang="en-US" sz="2638" i="1">
                <a:solidFill>
                  <a:schemeClr val="accent2"/>
                </a:solidFill>
              </a:rPr>
              <a:t>Why we do it?</a:t>
            </a:r>
          </a:p>
        </p:txBody>
      </p:sp>
      <p:sp>
        <p:nvSpPr>
          <p:cNvPr id="40" name="Title 1">
            <a:extLst>
              <a:ext uri="{FF2B5EF4-FFF2-40B4-BE49-F238E27FC236}">
                <a16:creationId xmlns:a16="http://schemas.microsoft.com/office/drawing/2014/main" id="{040E4CC5-D410-4884-8DEE-D6B499B7ABE7}"/>
              </a:ext>
            </a:extLst>
          </p:cNvPr>
          <p:cNvSpPr txBox="1">
            <a:spLocks/>
          </p:cNvSpPr>
          <p:nvPr userDrawn="1"/>
        </p:nvSpPr>
        <p:spPr>
          <a:xfrm>
            <a:off x="1056991" y="674924"/>
            <a:ext cx="3080379" cy="791414"/>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a:lstStyle>
          <a:p>
            <a:r>
              <a:rPr lang="en-US" sz="4617" b="1">
                <a:solidFill>
                  <a:schemeClr val="bg1"/>
                </a:solidFill>
                <a:latin typeface="Ubuntu Mono" panose="020B0509030602030204" pitchFamily="49" charset="0"/>
              </a:rPr>
              <a:t>Context</a:t>
            </a:r>
          </a:p>
        </p:txBody>
      </p:sp>
      <p:sp>
        <p:nvSpPr>
          <p:cNvPr id="41" name="Title 1">
            <a:extLst>
              <a:ext uri="{FF2B5EF4-FFF2-40B4-BE49-F238E27FC236}">
                <a16:creationId xmlns:a16="http://schemas.microsoft.com/office/drawing/2014/main" id="{86F0C253-AA89-4F54-989C-D88EE47DCC8D}"/>
              </a:ext>
            </a:extLst>
          </p:cNvPr>
          <p:cNvSpPr txBox="1">
            <a:spLocks/>
          </p:cNvSpPr>
          <p:nvPr userDrawn="1"/>
        </p:nvSpPr>
        <p:spPr>
          <a:xfrm>
            <a:off x="1046410" y="1240378"/>
            <a:ext cx="4639049" cy="791414"/>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a:lstStyle>
          <a:p>
            <a:r>
              <a:rPr lang="en-US" sz="2638" i="1">
                <a:solidFill>
                  <a:schemeClr val="accent2"/>
                </a:solidFill>
              </a:rPr>
              <a:t>Customer challenges</a:t>
            </a:r>
          </a:p>
        </p:txBody>
      </p:sp>
      <p:sp>
        <p:nvSpPr>
          <p:cNvPr id="43" name="Freeform 11">
            <a:extLst>
              <a:ext uri="{FF2B5EF4-FFF2-40B4-BE49-F238E27FC236}">
                <a16:creationId xmlns:a16="http://schemas.microsoft.com/office/drawing/2014/main" id="{CB247926-8A4A-427A-9772-1FFF8016632C}"/>
              </a:ext>
            </a:extLst>
          </p:cNvPr>
          <p:cNvSpPr/>
          <p:nvPr userDrawn="1"/>
        </p:nvSpPr>
        <p:spPr>
          <a:xfrm rot="10800000">
            <a:off x="15353540" y="-22465"/>
            <a:ext cx="4750560" cy="2103293"/>
          </a:xfrm>
          <a:custGeom>
            <a:avLst/>
            <a:gdLst>
              <a:gd name="connsiteX0" fmla="*/ 4395998 w 7237505"/>
              <a:gd name="connsiteY0" fmla="*/ 58 h 4933262"/>
              <a:gd name="connsiteX1" fmla="*/ 7233138 w 7237505"/>
              <a:gd name="connsiteY1" fmla="*/ 4903565 h 4933262"/>
              <a:gd name="connsiteX2" fmla="*/ 7237505 w 7237505"/>
              <a:gd name="connsiteY2" fmla="*/ 4933262 h 4933262"/>
              <a:gd name="connsiteX3" fmla="*/ 0 w 7237505"/>
              <a:gd name="connsiteY3" fmla="*/ 4933262 h 4933262"/>
              <a:gd name="connsiteX4" fmla="*/ 0 w 7237505"/>
              <a:gd name="connsiteY4" fmla="*/ 1491292 h 4933262"/>
              <a:gd name="connsiteX5" fmla="*/ 148016 w 7237505"/>
              <a:gd name="connsiteY5" fmla="*/ 1437398 h 4933262"/>
              <a:gd name="connsiteX6" fmla="*/ 3756131 w 7237505"/>
              <a:gd name="connsiteY6" fmla="*/ 123640 h 4933262"/>
              <a:gd name="connsiteX7" fmla="*/ 4395998 w 7237505"/>
              <a:gd name="connsiteY7" fmla="*/ 58 h 4933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37505" h="4933262">
                <a:moveTo>
                  <a:pt x="4395998" y="58"/>
                </a:moveTo>
                <a:cubicBezTo>
                  <a:pt x="6238787" y="-15730"/>
                  <a:pt x="6966936" y="3156975"/>
                  <a:pt x="7233138" y="4903565"/>
                </a:cubicBezTo>
                <a:lnTo>
                  <a:pt x="7237505" y="4933262"/>
                </a:lnTo>
                <a:lnTo>
                  <a:pt x="0" y="4933262"/>
                </a:lnTo>
                <a:lnTo>
                  <a:pt x="0" y="1491292"/>
                </a:lnTo>
                <a:lnTo>
                  <a:pt x="148016" y="1437398"/>
                </a:lnTo>
                <a:cubicBezTo>
                  <a:pt x="1090161" y="1094352"/>
                  <a:pt x="2272461" y="663862"/>
                  <a:pt x="3756131" y="123640"/>
                </a:cubicBezTo>
                <a:cubicBezTo>
                  <a:pt x="3983091" y="41001"/>
                  <a:pt x="4196102" y="1771"/>
                  <a:pt x="4395998" y="58"/>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4" name="Imagen 43">
            <a:extLst>
              <a:ext uri="{FF2B5EF4-FFF2-40B4-BE49-F238E27FC236}">
                <a16:creationId xmlns:a16="http://schemas.microsoft.com/office/drawing/2014/main" id="{9AD8EB7A-98C7-4954-8670-4E7F0C9A1C20}"/>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6200784" y="359660"/>
            <a:ext cx="1911022" cy="992292"/>
          </a:xfrm>
          <a:prstGeom prst="rect">
            <a:avLst/>
          </a:prstGeom>
        </p:spPr>
      </p:pic>
      <p:sp>
        <p:nvSpPr>
          <p:cNvPr id="52" name="CuadroTexto 51">
            <a:extLst>
              <a:ext uri="{FF2B5EF4-FFF2-40B4-BE49-F238E27FC236}">
                <a16:creationId xmlns:a16="http://schemas.microsoft.com/office/drawing/2014/main" id="{AD3F5070-83BB-4FF3-862A-2F897ACC5162}"/>
              </a:ext>
            </a:extLst>
          </p:cNvPr>
          <p:cNvSpPr txBox="1"/>
          <p:nvPr userDrawn="1"/>
        </p:nvSpPr>
        <p:spPr>
          <a:xfrm>
            <a:off x="18457188" y="376414"/>
            <a:ext cx="3475760" cy="701474"/>
          </a:xfrm>
          <a:prstGeom prst="rect">
            <a:avLst/>
          </a:prstGeom>
          <a:noFill/>
        </p:spPr>
        <p:txBody>
          <a:bodyPr wrap="square" rtlCol="0">
            <a:spAutoFit/>
          </a:bodyPr>
          <a:lstStyle/>
          <a:p>
            <a:r>
              <a:rPr lang="en-US" sz="1979" b="1" noProof="0">
                <a:solidFill>
                  <a:schemeClr val="bg1"/>
                </a:solidFill>
                <a:latin typeface="Ubuntu" panose="020B0504030602030204" pitchFamily="34" charset="0"/>
              </a:rPr>
              <a:t>Customer</a:t>
            </a:r>
          </a:p>
          <a:p>
            <a:r>
              <a:rPr lang="en-US" sz="1979" b="1" noProof="0">
                <a:solidFill>
                  <a:schemeClr val="bg1"/>
                </a:solidFill>
                <a:latin typeface="Ubuntu" panose="020B0504030602030204" pitchFamily="34" charset="0"/>
              </a:rPr>
              <a:t>stories</a:t>
            </a:r>
          </a:p>
        </p:txBody>
      </p:sp>
      <p:cxnSp>
        <p:nvCxnSpPr>
          <p:cNvPr id="54" name="Conector recto 53">
            <a:extLst>
              <a:ext uri="{FF2B5EF4-FFF2-40B4-BE49-F238E27FC236}">
                <a16:creationId xmlns:a16="http://schemas.microsoft.com/office/drawing/2014/main" id="{E7776513-9B4F-4C05-923C-6E38EA3EF004}"/>
              </a:ext>
            </a:extLst>
          </p:cNvPr>
          <p:cNvCxnSpPr/>
          <p:nvPr userDrawn="1"/>
        </p:nvCxnSpPr>
        <p:spPr>
          <a:xfrm>
            <a:off x="18372286" y="188807"/>
            <a:ext cx="0" cy="1225849"/>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55" name="CuadroTexto 54">
            <a:extLst>
              <a:ext uri="{FF2B5EF4-FFF2-40B4-BE49-F238E27FC236}">
                <a16:creationId xmlns:a16="http://schemas.microsoft.com/office/drawing/2014/main" id="{0B6BE599-84E3-4CDC-893C-176A2E1762A6}"/>
              </a:ext>
            </a:extLst>
          </p:cNvPr>
          <p:cNvSpPr txBox="1"/>
          <p:nvPr userDrawn="1"/>
        </p:nvSpPr>
        <p:spPr>
          <a:xfrm>
            <a:off x="16261193" y="2366243"/>
            <a:ext cx="2111094" cy="396904"/>
          </a:xfrm>
          <a:prstGeom prst="rect">
            <a:avLst/>
          </a:prstGeom>
          <a:noFill/>
        </p:spPr>
        <p:txBody>
          <a:bodyPr wrap="square" rtlCol="0">
            <a:spAutoFit/>
          </a:bodyPr>
          <a:lstStyle/>
          <a:p>
            <a:pPr algn="ctr"/>
            <a:r>
              <a:rPr lang="es-ES" sz="1979" b="0">
                <a:solidFill>
                  <a:schemeClr val="accent2"/>
                </a:solidFill>
                <a:latin typeface="Ubuntu" panose="020B0504030602030204" pitchFamily="34" charset="0"/>
              </a:rPr>
              <a:t>Sogeti</a:t>
            </a:r>
            <a:r>
              <a:rPr lang="es-ES" sz="1979" b="0">
                <a:solidFill>
                  <a:schemeClr val="accent3"/>
                </a:solidFill>
                <a:latin typeface="Ubuntu" panose="020B0504030602030204" pitchFamily="34" charset="0"/>
              </a:rPr>
              <a:t> </a:t>
            </a:r>
            <a:r>
              <a:rPr lang="es-ES" sz="1979" b="0">
                <a:solidFill>
                  <a:schemeClr val="accent2"/>
                </a:solidFill>
                <a:latin typeface="Ubuntu" panose="020B0504030602030204" pitchFamily="34" charset="0"/>
              </a:rPr>
              <a:t>España</a:t>
            </a:r>
            <a:endParaRPr lang="en-GB" sz="1979" b="0">
              <a:solidFill>
                <a:schemeClr val="accent2"/>
              </a:solidFill>
              <a:latin typeface="Ubuntu" panose="020B0504030602030204" pitchFamily="34" charset="0"/>
            </a:endParaRPr>
          </a:p>
        </p:txBody>
      </p:sp>
      <p:pic>
        <p:nvPicPr>
          <p:cNvPr id="32" name="Gráfico 31" descr="Inicio">
            <a:hlinkClick r:id="rId3" action="ppaction://hlinksldjump" tooltip="Inicio"/>
            <a:extLst>
              <a:ext uri="{FF2B5EF4-FFF2-40B4-BE49-F238E27FC236}">
                <a16:creationId xmlns:a16="http://schemas.microsoft.com/office/drawing/2014/main" id="{C022B3F9-6A46-4346-BAD2-3BE73FE30A09}"/>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7116710" y="10782089"/>
            <a:ext cx="409220" cy="382908"/>
          </a:xfrm>
          <a:prstGeom prst="rect">
            <a:avLst/>
          </a:prstGeom>
        </p:spPr>
      </p:pic>
      <p:pic>
        <p:nvPicPr>
          <p:cNvPr id="34" name="Gráfico 33" descr="Marca de verificación">
            <a:hlinkClick r:id="" action="ppaction://noaction"/>
            <a:extLst>
              <a:ext uri="{FF2B5EF4-FFF2-40B4-BE49-F238E27FC236}">
                <a16:creationId xmlns:a16="http://schemas.microsoft.com/office/drawing/2014/main" id="{F6E25123-AAF9-4E3E-9ACB-016CDEAE036B}"/>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8452954" y="10767559"/>
            <a:ext cx="345848" cy="397437"/>
          </a:xfrm>
          <a:prstGeom prst="rect">
            <a:avLst/>
          </a:prstGeom>
        </p:spPr>
      </p:pic>
      <p:pic>
        <p:nvPicPr>
          <p:cNvPr id="35" name="Gráfico 34" descr="Bombilla y equipo">
            <a:hlinkClick r:id="" action="ppaction://noaction" tooltip="SogetiLabs"/>
            <a:extLst>
              <a:ext uri="{FF2B5EF4-FFF2-40B4-BE49-F238E27FC236}">
                <a16:creationId xmlns:a16="http://schemas.microsoft.com/office/drawing/2014/main" id="{9F3D28A6-38C8-4A61-BAA2-863F67C26A42}"/>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8047416" y="10815812"/>
            <a:ext cx="345848" cy="323611"/>
          </a:xfrm>
          <a:prstGeom prst="rect">
            <a:avLst/>
          </a:prstGeom>
        </p:spPr>
      </p:pic>
      <p:pic>
        <p:nvPicPr>
          <p:cNvPr id="36" name="Gráfico 35" descr="Repetir">
            <a:hlinkClick r:id="" action="ppaction://noaction"/>
            <a:extLst>
              <a:ext uri="{FF2B5EF4-FFF2-40B4-BE49-F238E27FC236}">
                <a16:creationId xmlns:a16="http://schemas.microsoft.com/office/drawing/2014/main" id="{75621F18-ED13-4A9F-80B1-C29F37C619B8}"/>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17600342" y="10788032"/>
            <a:ext cx="364036" cy="382908"/>
          </a:xfrm>
          <a:prstGeom prst="rect">
            <a:avLst/>
          </a:prstGeom>
        </p:spPr>
      </p:pic>
      <p:pic>
        <p:nvPicPr>
          <p:cNvPr id="39" name="Gráfico 38" descr="Discurso">
            <a:hlinkClick r:id="rId12" action="ppaction://hlinksldjump" tooltip="Customer stories"/>
            <a:extLst>
              <a:ext uri="{FF2B5EF4-FFF2-40B4-BE49-F238E27FC236}">
                <a16:creationId xmlns:a16="http://schemas.microsoft.com/office/drawing/2014/main" id="{B4B4CDEB-2635-4E47-A917-C392D2784B3F}"/>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9399330" y="10788032"/>
            <a:ext cx="406455" cy="455011"/>
          </a:xfrm>
          <a:prstGeom prst="rect">
            <a:avLst/>
          </a:prstGeom>
        </p:spPr>
      </p:pic>
      <p:pic>
        <p:nvPicPr>
          <p:cNvPr id="42" name="Gráfico 41" descr="Diseño web">
            <a:hlinkClick r:id="" action="ppaction://noaction"/>
            <a:extLst>
              <a:ext uri="{FF2B5EF4-FFF2-40B4-BE49-F238E27FC236}">
                <a16:creationId xmlns:a16="http://schemas.microsoft.com/office/drawing/2014/main" id="{65BAA8DD-EDF4-4D57-9C3E-140EA2198AB7}"/>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a:off x="18895257" y="10777216"/>
            <a:ext cx="407618" cy="408333"/>
          </a:xfrm>
          <a:prstGeom prst="rect">
            <a:avLst/>
          </a:prstGeom>
        </p:spPr>
      </p:pic>
      <p:grpSp>
        <p:nvGrpSpPr>
          <p:cNvPr id="45" name="Grupo 44">
            <a:extLst>
              <a:ext uri="{FF2B5EF4-FFF2-40B4-BE49-F238E27FC236}">
                <a16:creationId xmlns:a16="http://schemas.microsoft.com/office/drawing/2014/main" id="{DA7ECECE-D71B-463F-AD1F-D881257D8DA4}"/>
              </a:ext>
            </a:extLst>
          </p:cNvPr>
          <p:cNvGrpSpPr/>
          <p:nvPr userDrawn="1"/>
        </p:nvGrpSpPr>
        <p:grpSpPr>
          <a:xfrm>
            <a:off x="15558502" y="7979449"/>
            <a:ext cx="3540564" cy="2427122"/>
            <a:chOff x="10488487" y="215003"/>
            <a:chExt cx="1422239" cy="682410"/>
          </a:xfrm>
        </p:grpSpPr>
        <p:sp>
          <p:nvSpPr>
            <p:cNvPr id="46" name="Forma libre 68">
              <a:extLst>
                <a:ext uri="{FF2B5EF4-FFF2-40B4-BE49-F238E27FC236}">
                  <a16:creationId xmlns:a16="http://schemas.microsoft.com/office/drawing/2014/main" id="{C5110CE5-F17D-47DD-A92E-34A98005AEF6}"/>
                </a:ext>
              </a:extLst>
            </p:cNvPr>
            <p:cNvSpPr/>
            <p:nvPr/>
          </p:nvSpPr>
          <p:spPr>
            <a:xfrm>
              <a:off x="11626523" y="215003"/>
              <a:ext cx="284203" cy="266007"/>
            </a:xfrm>
            <a:custGeom>
              <a:avLst/>
              <a:gdLst>
                <a:gd name="connsiteX0" fmla="*/ 0 w 324197"/>
                <a:gd name="connsiteY0" fmla="*/ 0 h 266007"/>
                <a:gd name="connsiteX1" fmla="*/ 324197 w 324197"/>
                <a:gd name="connsiteY1" fmla="*/ 0 h 266007"/>
                <a:gd name="connsiteX2" fmla="*/ 324197 w 324197"/>
                <a:gd name="connsiteY2" fmla="*/ 266007 h 266007"/>
              </a:gdLst>
              <a:ahLst/>
              <a:cxnLst>
                <a:cxn ang="0">
                  <a:pos x="connsiteX0" y="connsiteY0"/>
                </a:cxn>
                <a:cxn ang="0">
                  <a:pos x="connsiteX1" y="connsiteY1"/>
                </a:cxn>
                <a:cxn ang="0">
                  <a:pos x="connsiteX2" y="connsiteY2"/>
                </a:cxn>
              </a:cxnLst>
              <a:rect l="l" t="t" r="r" b="b"/>
              <a:pathLst>
                <a:path w="324197" h="266007">
                  <a:moveTo>
                    <a:pt x="0" y="0"/>
                  </a:moveTo>
                  <a:lnTo>
                    <a:pt x="324197" y="0"/>
                  </a:lnTo>
                  <a:lnTo>
                    <a:pt x="324197" y="266007"/>
                  </a:lnTo>
                </a:path>
              </a:pathLst>
            </a:cu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4617"/>
            </a:p>
          </p:txBody>
        </p:sp>
        <p:sp>
          <p:nvSpPr>
            <p:cNvPr id="47" name="Forma libre 69">
              <a:extLst>
                <a:ext uri="{FF2B5EF4-FFF2-40B4-BE49-F238E27FC236}">
                  <a16:creationId xmlns:a16="http://schemas.microsoft.com/office/drawing/2014/main" id="{7EDAEA1A-D96A-4951-B6E9-7ADF98EEA680}"/>
                </a:ext>
              </a:extLst>
            </p:cNvPr>
            <p:cNvSpPr/>
            <p:nvPr/>
          </p:nvSpPr>
          <p:spPr>
            <a:xfrm flipH="1">
              <a:off x="10488488" y="218803"/>
              <a:ext cx="284203" cy="266007"/>
            </a:xfrm>
            <a:custGeom>
              <a:avLst/>
              <a:gdLst>
                <a:gd name="connsiteX0" fmla="*/ 0 w 324197"/>
                <a:gd name="connsiteY0" fmla="*/ 0 h 266007"/>
                <a:gd name="connsiteX1" fmla="*/ 324197 w 324197"/>
                <a:gd name="connsiteY1" fmla="*/ 0 h 266007"/>
                <a:gd name="connsiteX2" fmla="*/ 324197 w 324197"/>
                <a:gd name="connsiteY2" fmla="*/ 266007 h 266007"/>
              </a:gdLst>
              <a:ahLst/>
              <a:cxnLst>
                <a:cxn ang="0">
                  <a:pos x="connsiteX0" y="connsiteY0"/>
                </a:cxn>
                <a:cxn ang="0">
                  <a:pos x="connsiteX1" y="connsiteY1"/>
                </a:cxn>
                <a:cxn ang="0">
                  <a:pos x="connsiteX2" y="connsiteY2"/>
                </a:cxn>
              </a:cxnLst>
              <a:rect l="l" t="t" r="r" b="b"/>
              <a:pathLst>
                <a:path w="324197" h="266007">
                  <a:moveTo>
                    <a:pt x="0" y="0"/>
                  </a:moveTo>
                  <a:lnTo>
                    <a:pt x="324197" y="0"/>
                  </a:lnTo>
                  <a:lnTo>
                    <a:pt x="324197" y="266007"/>
                  </a:lnTo>
                </a:path>
              </a:pathLst>
            </a:cu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4617"/>
            </a:p>
          </p:txBody>
        </p:sp>
        <p:sp>
          <p:nvSpPr>
            <p:cNvPr id="48" name="Forma libre 70">
              <a:extLst>
                <a:ext uri="{FF2B5EF4-FFF2-40B4-BE49-F238E27FC236}">
                  <a16:creationId xmlns:a16="http://schemas.microsoft.com/office/drawing/2014/main" id="{5683823D-2399-4137-94F8-792CF84BFE7B}"/>
                </a:ext>
              </a:extLst>
            </p:cNvPr>
            <p:cNvSpPr/>
            <p:nvPr/>
          </p:nvSpPr>
          <p:spPr>
            <a:xfrm flipH="1" flipV="1">
              <a:off x="10488487" y="588404"/>
              <a:ext cx="284204" cy="307805"/>
            </a:xfrm>
            <a:custGeom>
              <a:avLst/>
              <a:gdLst>
                <a:gd name="connsiteX0" fmla="*/ 0 w 324197"/>
                <a:gd name="connsiteY0" fmla="*/ 0 h 266007"/>
                <a:gd name="connsiteX1" fmla="*/ 324197 w 324197"/>
                <a:gd name="connsiteY1" fmla="*/ 0 h 266007"/>
                <a:gd name="connsiteX2" fmla="*/ 324197 w 324197"/>
                <a:gd name="connsiteY2" fmla="*/ 266007 h 266007"/>
              </a:gdLst>
              <a:ahLst/>
              <a:cxnLst>
                <a:cxn ang="0">
                  <a:pos x="connsiteX0" y="connsiteY0"/>
                </a:cxn>
                <a:cxn ang="0">
                  <a:pos x="connsiteX1" y="connsiteY1"/>
                </a:cxn>
                <a:cxn ang="0">
                  <a:pos x="connsiteX2" y="connsiteY2"/>
                </a:cxn>
              </a:cxnLst>
              <a:rect l="l" t="t" r="r" b="b"/>
              <a:pathLst>
                <a:path w="324197" h="266007">
                  <a:moveTo>
                    <a:pt x="0" y="0"/>
                  </a:moveTo>
                  <a:lnTo>
                    <a:pt x="324197" y="0"/>
                  </a:lnTo>
                  <a:lnTo>
                    <a:pt x="324197" y="266007"/>
                  </a:lnTo>
                </a:path>
              </a:pathLst>
            </a:cu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4617"/>
            </a:p>
          </p:txBody>
        </p:sp>
        <p:sp>
          <p:nvSpPr>
            <p:cNvPr id="49" name="Forma libre 71">
              <a:extLst>
                <a:ext uri="{FF2B5EF4-FFF2-40B4-BE49-F238E27FC236}">
                  <a16:creationId xmlns:a16="http://schemas.microsoft.com/office/drawing/2014/main" id="{56ABFE81-255D-4595-B5B7-BC50D50E0A9C}"/>
                </a:ext>
              </a:extLst>
            </p:cNvPr>
            <p:cNvSpPr/>
            <p:nvPr/>
          </p:nvSpPr>
          <p:spPr>
            <a:xfrm flipV="1">
              <a:off x="11626522" y="589608"/>
              <a:ext cx="284203" cy="307805"/>
            </a:xfrm>
            <a:custGeom>
              <a:avLst/>
              <a:gdLst>
                <a:gd name="connsiteX0" fmla="*/ 0 w 324197"/>
                <a:gd name="connsiteY0" fmla="*/ 0 h 266007"/>
                <a:gd name="connsiteX1" fmla="*/ 324197 w 324197"/>
                <a:gd name="connsiteY1" fmla="*/ 0 h 266007"/>
                <a:gd name="connsiteX2" fmla="*/ 324197 w 324197"/>
                <a:gd name="connsiteY2" fmla="*/ 266007 h 266007"/>
              </a:gdLst>
              <a:ahLst/>
              <a:cxnLst>
                <a:cxn ang="0">
                  <a:pos x="connsiteX0" y="connsiteY0"/>
                </a:cxn>
                <a:cxn ang="0">
                  <a:pos x="connsiteX1" y="connsiteY1"/>
                </a:cxn>
                <a:cxn ang="0">
                  <a:pos x="connsiteX2" y="connsiteY2"/>
                </a:cxn>
              </a:cxnLst>
              <a:rect l="l" t="t" r="r" b="b"/>
              <a:pathLst>
                <a:path w="324197" h="266007">
                  <a:moveTo>
                    <a:pt x="0" y="0"/>
                  </a:moveTo>
                  <a:lnTo>
                    <a:pt x="324197" y="0"/>
                  </a:lnTo>
                  <a:lnTo>
                    <a:pt x="324197" y="266007"/>
                  </a:lnTo>
                </a:path>
              </a:pathLst>
            </a:cu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4617"/>
            </a:p>
          </p:txBody>
        </p:sp>
      </p:grpSp>
    </p:spTree>
    <p:extLst>
      <p:ext uri="{BB962C8B-B14F-4D97-AF65-F5344CB8AC3E}">
        <p14:creationId xmlns:p14="http://schemas.microsoft.com/office/powerpoint/2010/main" val="93717751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8_Cover2">
    <p:spTree>
      <p:nvGrpSpPr>
        <p:cNvPr id="1" name=""/>
        <p:cNvGrpSpPr/>
        <p:nvPr/>
      </p:nvGrpSpPr>
      <p:grpSpPr>
        <a:xfrm>
          <a:off x="0" y="0"/>
          <a:ext cx="0" cy="0"/>
          <a:chOff x="0" y="0"/>
          <a:chExt cx="0" cy="0"/>
        </a:xfrm>
      </p:grpSpPr>
      <p:sp>
        <p:nvSpPr>
          <p:cNvPr id="2" name="Rectangle 1"/>
          <p:cNvSpPr/>
          <p:nvPr userDrawn="1"/>
        </p:nvSpPr>
        <p:spPr>
          <a:xfrm>
            <a:off x="0" y="0"/>
            <a:ext cx="20104100" cy="113284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09">
              <a:solidFill>
                <a:schemeClr val="tx1"/>
              </a:solidFill>
            </a:endParaRPr>
          </a:p>
        </p:txBody>
      </p:sp>
      <p:sp>
        <p:nvSpPr>
          <p:cNvPr id="5" name="Oval 4"/>
          <p:cNvSpPr/>
          <p:nvPr userDrawn="1"/>
        </p:nvSpPr>
        <p:spPr>
          <a:xfrm>
            <a:off x="8820676" y="383463"/>
            <a:ext cx="10635801" cy="1065446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sz="2309">
              <a:solidFill>
                <a:schemeClr val="tx1"/>
              </a:solidFill>
            </a:endParaRPr>
          </a:p>
        </p:txBody>
      </p:sp>
      <p:sp>
        <p:nvSpPr>
          <p:cNvPr id="8" name="Title 1"/>
          <p:cNvSpPr>
            <a:spLocks noGrp="1"/>
          </p:cNvSpPr>
          <p:nvPr>
            <p:ph type="ctrTitle" hasCustomPrompt="1"/>
          </p:nvPr>
        </p:nvSpPr>
        <p:spPr>
          <a:xfrm>
            <a:off x="9400600" y="4589859"/>
            <a:ext cx="9533942" cy="11905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r">
              <a:lnSpc>
                <a:spcPts val="4947"/>
              </a:lnSpc>
              <a:defRPr lang="en-US" sz="4287" b="0" dirty="0">
                <a:solidFill>
                  <a:schemeClr val="accent3"/>
                </a:solidFill>
              </a:defRPr>
            </a:lvl1pPr>
          </a:lstStyle>
          <a:p>
            <a:pPr marL="0" lvl="0"/>
            <a:r>
              <a:rPr lang="en-US"/>
              <a:t>Title of Presentation</a:t>
            </a:r>
          </a:p>
        </p:txBody>
      </p:sp>
      <p:sp>
        <p:nvSpPr>
          <p:cNvPr id="9" name="Subtitle 2"/>
          <p:cNvSpPr>
            <a:spLocks noGrp="1"/>
          </p:cNvSpPr>
          <p:nvPr>
            <p:ph type="subTitle" idx="1" hasCustomPrompt="1"/>
          </p:nvPr>
        </p:nvSpPr>
        <p:spPr>
          <a:xfrm>
            <a:off x="9400600" y="6100311"/>
            <a:ext cx="9533942" cy="20218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1507846" rtl="0" eaLnBrk="1" fontAlgn="auto" latinLnBrk="0" hangingPunct="1">
              <a:lnSpc>
                <a:spcPts val="2968"/>
              </a:lnSpc>
              <a:spcBef>
                <a:spcPts val="0"/>
              </a:spcBef>
              <a:spcAft>
                <a:spcPts val="0"/>
              </a:spcAft>
              <a:buClrTx/>
              <a:buSzTx/>
              <a:buFont typeface="Arial" panose="020B0604020202020204" pitchFamily="34" charset="0"/>
              <a:buNone/>
              <a:tabLst/>
              <a:defRPr lang="en-US" sz="2638" dirty="0">
                <a:solidFill>
                  <a:schemeClr val="accent3"/>
                </a:solidFill>
              </a:defRPr>
            </a:lvl1pPr>
          </a:lstStyle>
          <a:p>
            <a:pPr marL="0" lvl="0"/>
            <a:r>
              <a:rPr lang="en-US"/>
              <a:t>Subtitle</a:t>
            </a:r>
          </a:p>
        </p:txBody>
      </p:sp>
    </p:spTree>
    <p:extLst>
      <p:ext uri="{BB962C8B-B14F-4D97-AF65-F5344CB8AC3E}">
        <p14:creationId xmlns:p14="http://schemas.microsoft.com/office/powerpoint/2010/main" val="67983792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2_Two columns">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6733E381-C11A-4F10-88ED-DDEA4B9167E2}"/>
              </a:ext>
            </a:extLst>
          </p:cNvPr>
          <p:cNvSpPr>
            <a:spLocks noGrp="1"/>
          </p:cNvSpPr>
          <p:nvPr>
            <p:ph type="title" hasCustomPrompt="1"/>
          </p:nvPr>
        </p:nvSpPr>
        <p:spPr>
          <a:xfrm>
            <a:off x="672756" y="668691"/>
            <a:ext cx="4092485" cy="3819921"/>
          </a:xfrm>
          <a:prstGeom prst="rect">
            <a:avLst/>
          </a:prstGeom>
        </p:spPr>
        <p:txBody>
          <a:bodyPr vert="horz" lIns="0" tIns="0" rIns="0" bIns="0" rtlCol="0" anchor="t">
            <a:normAutofit/>
          </a:bodyPr>
          <a:lstStyle>
            <a:lvl1pPr>
              <a:defRPr lang="pt-PT" b="1" dirty="0">
                <a:solidFill>
                  <a:schemeClr val="accent3"/>
                </a:solidFill>
                <a:latin typeface="Ubuntu" panose="020B0504030602030204" pitchFamily="34" charset="0"/>
              </a:defRPr>
            </a:lvl1pPr>
          </a:lstStyle>
          <a:p>
            <a:pPr lvl="0">
              <a:lnSpc>
                <a:spcPts val="4947"/>
              </a:lnSpc>
            </a:pPr>
            <a:r>
              <a:rPr lang="en-US"/>
              <a:t>Click to insert title</a:t>
            </a:r>
            <a:endParaRPr lang="pt-PT"/>
          </a:p>
        </p:txBody>
      </p:sp>
      <p:sp>
        <p:nvSpPr>
          <p:cNvPr id="26" name="Retângulo 43">
            <a:extLst>
              <a:ext uri="{FF2B5EF4-FFF2-40B4-BE49-F238E27FC236}">
                <a16:creationId xmlns:a16="http://schemas.microsoft.com/office/drawing/2014/main" id="{834ADCB4-BFB1-450D-8F6D-64217F4CD92C}"/>
              </a:ext>
            </a:extLst>
          </p:cNvPr>
          <p:cNvSpPr/>
          <p:nvPr userDrawn="1"/>
        </p:nvSpPr>
        <p:spPr>
          <a:xfrm>
            <a:off x="15481621" y="10824915"/>
            <a:ext cx="4274077" cy="362509"/>
          </a:xfrm>
          <a:prstGeom prst="rect">
            <a:avLst/>
          </a:prstGeom>
        </p:spPr>
        <p:txBody>
          <a:bodyPr wrap="none" lIns="0" tIns="0" rIns="0" bIns="0" anchor="ctr">
            <a:noAutofit/>
          </a:bodyPr>
          <a:lstStyle/>
          <a:p>
            <a:pPr algn="r">
              <a:lnSpc>
                <a:spcPct val="100000"/>
              </a:lnSpc>
            </a:pPr>
            <a:r>
              <a:rPr lang="en-US" sz="1319" dirty="0">
                <a:solidFill>
                  <a:schemeClr val="bg2">
                    <a:lumMod val="50000"/>
                  </a:schemeClr>
                </a:solidFill>
                <a:cs typeface="Arial" panose="020B0604020202020204" pitchFamily="34" charset="0"/>
              </a:rPr>
              <a:t>© 2023 Sogeti. All rights reserved.</a:t>
            </a:r>
          </a:p>
        </p:txBody>
      </p:sp>
      <p:pic>
        <p:nvPicPr>
          <p:cNvPr id="17" name="Imagen 16">
            <a:extLst>
              <a:ext uri="{FF2B5EF4-FFF2-40B4-BE49-F238E27FC236}">
                <a16:creationId xmlns:a16="http://schemas.microsoft.com/office/drawing/2014/main" id="{B19D9FA0-2C4F-C34D-8626-CD98EE45060D}"/>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7545396" y="503485"/>
            <a:ext cx="1962528" cy="1019036"/>
          </a:xfrm>
          <a:prstGeom prst="rect">
            <a:avLst/>
          </a:prstGeom>
        </p:spPr>
      </p:pic>
    </p:spTree>
    <p:extLst>
      <p:ext uri="{BB962C8B-B14F-4D97-AF65-F5344CB8AC3E}">
        <p14:creationId xmlns:p14="http://schemas.microsoft.com/office/powerpoint/2010/main" val="7900813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userDrawn="1">
  <p:cSld name="9_Cover1">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1384775" y="568408"/>
            <a:ext cx="8191913" cy="15663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nSpc>
                <a:spcPct val="100000"/>
              </a:lnSpc>
              <a:defRPr lang="en-US" sz="4617" b="1" dirty="0">
                <a:solidFill>
                  <a:schemeClr val="bg1"/>
                </a:solidFill>
                <a:latin typeface="+mj-lt"/>
              </a:defRPr>
            </a:lvl1pPr>
          </a:lstStyle>
          <a:p>
            <a:pPr marL="0" lvl="0"/>
            <a:r>
              <a:rPr lang="en-US"/>
              <a:t>CLICK TO INSERT TITLE</a:t>
            </a:r>
          </a:p>
        </p:txBody>
      </p:sp>
      <p:sp>
        <p:nvSpPr>
          <p:cNvPr id="5" name="Retângulo 43">
            <a:extLst>
              <a:ext uri="{FF2B5EF4-FFF2-40B4-BE49-F238E27FC236}">
                <a16:creationId xmlns:a16="http://schemas.microsoft.com/office/drawing/2014/main" id="{2FD11A2F-9A52-4E61-B087-7614B46EAEAB}"/>
              </a:ext>
            </a:extLst>
          </p:cNvPr>
          <p:cNvSpPr/>
          <p:nvPr userDrawn="1"/>
        </p:nvSpPr>
        <p:spPr>
          <a:xfrm>
            <a:off x="19343366" y="10960362"/>
            <a:ext cx="325409" cy="177613"/>
          </a:xfrm>
          <a:prstGeom prst="rect">
            <a:avLst/>
          </a:prstGeom>
        </p:spPr>
        <p:txBody>
          <a:bodyPr wrap="none" lIns="0" tIns="0" rIns="0" bIns="0" anchor="ctr" anchorCtr="0">
            <a:spAutoFit/>
          </a:bodyPr>
          <a:lstStyle/>
          <a:p>
            <a:pPr algn="r"/>
            <a:fld id="{0502E5A9-B53C-401E-A0E0-4A359BB0A9E5}" type="slidenum">
              <a:rPr lang="en-US" sz="1154" smtClean="0">
                <a:solidFill>
                  <a:schemeClr val="bg2">
                    <a:lumMod val="75000"/>
                  </a:schemeClr>
                </a:solidFill>
                <a:latin typeface="+mn-lt"/>
                <a:cs typeface="Arial" panose="020B0604020202020204" pitchFamily="34" charset="0"/>
              </a:rPr>
              <a:pPr algn="r"/>
              <a:t>‹#›</a:t>
            </a:fld>
            <a:endParaRPr lang="en-US" sz="1154">
              <a:solidFill>
                <a:schemeClr val="bg2">
                  <a:lumMod val="75000"/>
                </a:schemeClr>
              </a:solidFill>
              <a:latin typeface="+mn-lt"/>
              <a:cs typeface="Arial" panose="020B0604020202020204" pitchFamily="34" charset="0"/>
            </a:endParaRPr>
          </a:p>
        </p:txBody>
      </p:sp>
      <p:sp>
        <p:nvSpPr>
          <p:cNvPr id="8" name="Rectangle 27">
            <a:extLst>
              <a:ext uri="{FF2B5EF4-FFF2-40B4-BE49-F238E27FC236}">
                <a16:creationId xmlns:a16="http://schemas.microsoft.com/office/drawing/2014/main" id="{28981E07-B232-43E9-8240-4B6B61F58BB5}"/>
              </a:ext>
            </a:extLst>
          </p:cNvPr>
          <p:cNvSpPr/>
          <p:nvPr userDrawn="1"/>
        </p:nvSpPr>
        <p:spPr>
          <a:xfrm>
            <a:off x="392373" y="10960362"/>
            <a:ext cx="2383666" cy="177613"/>
          </a:xfrm>
          <a:prstGeom prst="rect">
            <a:avLst/>
          </a:prstGeom>
        </p:spPr>
        <p:txBody>
          <a:bodyPr wrap="none" lIns="0" tIns="0" rIns="0" bIns="0" anchor="ctr" anchorCtr="0">
            <a:spAutoFit/>
          </a:bodyPr>
          <a:lstStyle/>
          <a:p>
            <a:pPr lvl="0" algn="l" defTabSz="1507846">
              <a:lnSpc>
                <a:spcPct val="100000"/>
              </a:lnSpc>
              <a:defRPr/>
            </a:pPr>
            <a:r>
              <a:rPr lang="en-US" sz="1154" kern="0">
                <a:solidFill>
                  <a:schemeClr val="bg2">
                    <a:lumMod val="75000"/>
                  </a:schemeClr>
                </a:solidFill>
                <a:latin typeface="+mn-lt"/>
                <a:cs typeface="Arial" panose="020B0604020202020204" pitchFamily="34" charset="0"/>
              </a:rPr>
              <a:t>Group Overview | October 2019</a:t>
            </a:r>
          </a:p>
        </p:txBody>
      </p:sp>
      <p:pic>
        <p:nvPicPr>
          <p:cNvPr id="12" name="Picture 12">
            <a:extLst>
              <a:ext uri="{FF2B5EF4-FFF2-40B4-BE49-F238E27FC236}">
                <a16:creationId xmlns:a16="http://schemas.microsoft.com/office/drawing/2014/main" id="{43171348-F4EC-47B1-B6DB-9915C24F8236}"/>
              </a:ext>
            </a:extLst>
          </p:cNvPr>
          <p:cNvPicPr>
            <a:picLocks noChangeAspect="1"/>
          </p:cNvPicPr>
          <p:nvPr userDrawn="1"/>
        </p:nvPicPr>
        <p:blipFill>
          <a:blip r:embed="rId2"/>
          <a:stretch>
            <a:fillRect/>
          </a:stretch>
        </p:blipFill>
        <p:spPr>
          <a:xfrm>
            <a:off x="18980494" y="305237"/>
            <a:ext cx="673733" cy="626209"/>
          </a:xfrm>
          <a:prstGeom prst="rect">
            <a:avLst/>
          </a:prstGeom>
        </p:spPr>
      </p:pic>
      <p:sp>
        <p:nvSpPr>
          <p:cNvPr id="9" name="Text Placeholder 7">
            <a:extLst>
              <a:ext uri="{FF2B5EF4-FFF2-40B4-BE49-F238E27FC236}">
                <a16:creationId xmlns:a16="http://schemas.microsoft.com/office/drawing/2014/main" id="{6DFB9164-014F-44D7-8DA3-621EE227E43B}"/>
              </a:ext>
            </a:extLst>
          </p:cNvPr>
          <p:cNvSpPr txBox="1">
            <a:spLocks/>
          </p:cNvSpPr>
          <p:nvPr userDrawn="1"/>
        </p:nvSpPr>
        <p:spPr>
          <a:xfrm>
            <a:off x="14807480" y="10947489"/>
            <a:ext cx="4393315" cy="203361"/>
          </a:xfrm>
          <a:prstGeom prst="rect">
            <a:avLst/>
          </a:prstGeom>
        </p:spPr>
        <p:txBody>
          <a:bodyPr lIns="0" tIns="0" rIns="0" bIns="0" anchor="ctr" anchorCtr="0">
            <a:noAutofit/>
          </a:bodyPr>
          <a:lstStyle>
            <a:lvl1pPr marL="0" indent="0" algn="l" defTabSz="914400" rtl="0" eaLnBrk="1" latinLnBrk="0" hangingPunct="1">
              <a:lnSpc>
                <a:spcPct val="100000"/>
              </a:lnSpc>
              <a:spcBef>
                <a:spcPts val="1000"/>
              </a:spcBef>
              <a:buFont typeface="Arial" panose="020B0604020202020204" pitchFamily="34" charset="0"/>
              <a:buNone/>
              <a:defRPr sz="800" kern="1200">
                <a:solidFill>
                  <a:srgbClr val="7F7F7F"/>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gn="r" defTabSz="1507846" rtl="0" eaLnBrk="1" fontAlgn="auto" latinLnBrk="0" hangingPunct="1">
              <a:lnSpc>
                <a:spcPct val="100000"/>
              </a:lnSpc>
              <a:spcBef>
                <a:spcPts val="1649"/>
              </a:spcBef>
              <a:spcAft>
                <a:spcPts val="0"/>
              </a:spcAft>
              <a:buClrTx/>
              <a:buSzTx/>
              <a:buFont typeface="Arial" panose="020B0604020202020204" pitchFamily="34" charset="0"/>
              <a:buNone/>
              <a:tabLst/>
              <a:defRPr/>
            </a:pPr>
            <a:r>
              <a:rPr lang="en-US" sz="1154">
                <a:solidFill>
                  <a:schemeClr val="bg2">
                    <a:lumMod val="75000"/>
                  </a:schemeClr>
                </a:solidFill>
                <a:latin typeface="+mn-lt"/>
              </a:rPr>
              <a:t>© Capgemini 2020. All rights reserved |</a:t>
            </a:r>
          </a:p>
        </p:txBody>
      </p:sp>
    </p:spTree>
    <p:extLst>
      <p:ext uri="{BB962C8B-B14F-4D97-AF65-F5344CB8AC3E}">
        <p14:creationId xmlns:p14="http://schemas.microsoft.com/office/powerpoint/2010/main" val="1360386858"/>
      </p:ext>
    </p:extLst>
  </p:cSld>
  <p:clrMapOvr>
    <a:masterClrMapping/>
  </p:clrMapOvr>
  <p:extLst>
    <p:ext uri="{DCECCB84-F9BA-43D5-87BE-67443E8EF086}">
      <p15:sldGuideLst xmlns:p15="http://schemas.microsoft.com/office/powerpoint/2012/main">
        <p15:guide id="1" pos="7219">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type="tx">
  <p:cSld name="7_Cover2">
    <p:spTree>
      <p:nvGrpSpPr>
        <p:cNvPr id="1" name=""/>
        <p:cNvGrpSpPr/>
        <p:nvPr/>
      </p:nvGrpSpPr>
      <p:grpSpPr>
        <a:xfrm>
          <a:off x="0" y="0"/>
          <a:ext cx="0" cy="0"/>
          <a:chOff x="0" y="0"/>
          <a:chExt cx="0" cy="0"/>
        </a:xfrm>
      </p:grpSpPr>
      <p:sp>
        <p:nvSpPr>
          <p:cNvPr id="540" name="Número de diapositiva"/>
          <p:cNvSpPr>
            <a:spLocks noGrp="1"/>
          </p:cNvSpPr>
          <p:nvPr>
            <p:ph type="sldNum" sz="quarter" idx="2"/>
          </p:nvPr>
        </p:nvSpPr>
        <p:spPr>
          <a:xfrm>
            <a:off x="13543055" y="10194711"/>
            <a:ext cx="864884" cy="610078"/>
          </a:xfrm>
          <a:prstGeom prst="rect">
            <a:avLst/>
          </a:prstGeom>
        </p:spPr>
        <p:txBody>
          <a:bodyPr anchor="ctr"/>
          <a:lstStyle>
            <a:lvl1pPr>
              <a:defRPr sz="1979">
                <a:solidFill>
                  <a:srgbClr val="000000"/>
                </a:solidFill>
              </a:defRPr>
            </a:lvl1pPr>
          </a:lstStyle>
          <a:p>
            <a:fld id="{86CB4B4D-7CA3-9044-876B-883B54F8677D}" type="slidenum">
              <a:t>‹#›</a:t>
            </a:fld>
            <a:endParaRPr/>
          </a:p>
        </p:txBody>
      </p:sp>
    </p:spTree>
    <p:extLst>
      <p:ext uri="{BB962C8B-B14F-4D97-AF65-F5344CB8AC3E}">
        <p14:creationId xmlns:p14="http://schemas.microsoft.com/office/powerpoint/2010/main" val="2292149819"/>
      </p:ext>
    </p:extLst>
  </p:cSld>
  <p:clrMapOvr>
    <a:masterClrMapping/>
  </p:clrMapOvr>
  <p:transition spd="med"/>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Cover11">
    <p:spTree>
      <p:nvGrpSpPr>
        <p:cNvPr id="1" name=""/>
        <p:cNvGrpSpPr/>
        <p:nvPr/>
      </p:nvGrpSpPr>
      <p:grpSpPr>
        <a:xfrm>
          <a:off x="0" y="0"/>
          <a:ext cx="0" cy="0"/>
          <a:chOff x="0" y="0"/>
          <a:chExt cx="0" cy="0"/>
        </a:xfrm>
      </p:grpSpPr>
    </p:spTree>
    <p:extLst>
      <p:ext uri="{BB962C8B-B14F-4D97-AF65-F5344CB8AC3E}">
        <p14:creationId xmlns:p14="http://schemas.microsoft.com/office/powerpoint/2010/main" val="31867553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E8A70D50-92CC-C3E1-20DA-487D9328EEE3}"/>
              </a:ext>
            </a:extLst>
          </p:cNvPr>
          <p:cNvPicPr>
            <a:picLocks noChangeAspect="1"/>
          </p:cNvPicPr>
          <p:nvPr userDrawn="1"/>
        </p:nvPicPr>
        <p:blipFill>
          <a:blip r:embed="rId2"/>
          <a:stretch>
            <a:fillRect/>
          </a:stretch>
        </p:blipFill>
        <p:spPr>
          <a:xfrm>
            <a:off x="-31750" y="-25401"/>
            <a:ext cx="20135850" cy="11326413"/>
          </a:xfrm>
          <a:prstGeom prst="rect">
            <a:avLst/>
          </a:prstGeom>
        </p:spPr>
      </p:pic>
      <p:sp>
        <p:nvSpPr>
          <p:cNvPr id="9" name="Rectángulo 8">
            <a:extLst>
              <a:ext uri="{FF2B5EF4-FFF2-40B4-BE49-F238E27FC236}">
                <a16:creationId xmlns:a16="http://schemas.microsoft.com/office/drawing/2014/main" id="{3F90CFEE-F33C-2F9D-40DF-8EA853D9E733}"/>
              </a:ext>
            </a:extLst>
          </p:cNvPr>
          <p:cNvSpPr/>
          <p:nvPr userDrawn="1"/>
        </p:nvSpPr>
        <p:spPr>
          <a:xfrm>
            <a:off x="4870450" y="0"/>
            <a:ext cx="15233650" cy="11328400"/>
          </a:xfrm>
          <a:prstGeom prst="rect">
            <a:avLst/>
          </a:prstGeom>
          <a:gradFill flip="none" rotWithShape="1">
            <a:gsLst>
              <a:gs pos="0">
                <a:schemeClr val="tx1">
                  <a:alpha val="0"/>
                </a:schemeClr>
              </a:gs>
              <a:gs pos="91000">
                <a:schemeClr val="tx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 name="Holder 4"/>
          <p:cNvSpPr>
            <a:spLocks noGrp="1"/>
          </p:cNvSpPr>
          <p:nvPr>
            <p:ph type="ftr" sz="quarter" idx="5"/>
          </p:nvPr>
        </p:nvSpPr>
        <p:spPr>
          <a:xfrm>
            <a:off x="16647741" y="10759212"/>
            <a:ext cx="2962677" cy="200055"/>
          </a:xfrm>
          <a:prstGeom prst="rect">
            <a:avLst/>
          </a:prstGeom>
        </p:spPr>
        <p:txBody>
          <a:bodyPr lIns="0" tIns="0" rIns="0" bIns="0"/>
          <a:lstStyle>
            <a:lvl1pPr>
              <a:defRPr sz="1300" b="0" i="0">
                <a:solidFill>
                  <a:schemeClr val="bg1"/>
                </a:solidFill>
                <a:latin typeface="Ubuntu Light"/>
                <a:cs typeface="Ubuntu Light"/>
              </a:defRPr>
            </a:lvl1pPr>
          </a:lstStyle>
          <a:p>
            <a:pPr marL="26034">
              <a:spcBef>
                <a:spcPts val="30"/>
              </a:spcBef>
            </a:pPr>
            <a:r>
              <a:rPr lang="es-ES" err="1"/>
              <a:t>Public</a:t>
            </a:r>
            <a:r>
              <a:rPr lang="es-ES" spc="-40"/>
              <a:t> </a:t>
            </a:r>
            <a:r>
              <a:rPr lang="es-ES"/>
              <a:t>©</a:t>
            </a:r>
            <a:r>
              <a:rPr lang="es-ES" spc="-40"/>
              <a:t> </a:t>
            </a:r>
            <a:r>
              <a:rPr lang="es-ES"/>
              <a:t>2023</a:t>
            </a:r>
            <a:r>
              <a:rPr lang="es-ES" spc="-40"/>
              <a:t> </a:t>
            </a:r>
            <a:r>
              <a:rPr lang="es-ES" spc="-10"/>
              <a:t>Sogeti.</a:t>
            </a:r>
            <a:r>
              <a:rPr lang="es-ES" spc="-35"/>
              <a:t> </a:t>
            </a:r>
            <a:r>
              <a:rPr lang="es-ES" err="1"/>
              <a:t>All</a:t>
            </a:r>
            <a:r>
              <a:rPr lang="es-ES" spc="-40"/>
              <a:t> </a:t>
            </a:r>
            <a:r>
              <a:rPr lang="es-ES" err="1"/>
              <a:t>rights</a:t>
            </a:r>
            <a:r>
              <a:rPr lang="es-ES" spc="-40"/>
              <a:t> </a:t>
            </a:r>
            <a:r>
              <a:rPr lang="es-ES" spc="-10" err="1"/>
              <a:t>reserved</a:t>
            </a:r>
            <a:endParaRPr lang="es-ES" spc="-10"/>
          </a:p>
        </p:txBody>
      </p:sp>
      <p:sp>
        <p:nvSpPr>
          <p:cNvPr id="2" name="CuadroTexto 1">
            <a:extLst>
              <a:ext uri="{FF2B5EF4-FFF2-40B4-BE49-F238E27FC236}">
                <a16:creationId xmlns:a16="http://schemas.microsoft.com/office/drawing/2014/main" id="{72E5CF79-7DA3-E21E-3060-87CB44907F25}"/>
              </a:ext>
            </a:extLst>
          </p:cNvPr>
          <p:cNvSpPr txBox="1"/>
          <p:nvPr userDrawn="1"/>
        </p:nvSpPr>
        <p:spPr>
          <a:xfrm>
            <a:off x="755650" y="10845800"/>
            <a:ext cx="7772400" cy="292388"/>
          </a:xfrm>
          <a:prstGeom prst="rect">
            <a:avLst/>
          </a:prstGeom>
          <a:noFill/>
        </p:spPr>
        <p:txBody>
          <a:bodyPr wrap="square" rtlCol="0">
            <a:spAutoFit/>
          </a:bodyPr>
          <a:lstStyle/>
          <a:p>
            <a:r>
              <a:rPr lang="es-ES" sz="1300" b="0" i="0">
                <a:solidFill>
                  <a:schemeClr val="bg1"/>
                </a:solidFill>
                <a:latin typeface="Ubuntu Medium" panose="020B0504030602030204" pitchFamily="34" charset="0"/>
              </a:rPr>
              <a:t>#FlourishingDigitalBusinessWithQuality </a:t>
            </a:r>
            <a:r>
              <a:rPr lang="es-ES" sz="1300" b="1" i="0">
                <a:solidFill>
                  <a:schemeClr val="bg1"/>
                </a:solidFill>
                <a:latin typeface="Ubuntu" panose="020B0504030602030204" pitchFamily="34" charset="0"/>
              </a:rPr>
              <a:t> </a:t>
            </a:r>
            <a:r>
              <a:rPr lang="es-ES" sz="1300" b="1" i="0">
                <a:solidFill>
                  <a:srgbClr val="290E3B"/>
                </a:solidFill>
                <a:latin typeface="Ubuntu" panose="020B0504030602030204" pitchFamily="34" charset="0"/>
              </a:rPr>
              <a:t>·</a:t>
            </a:r>
            <a:r>
              <a:rPr lang="es-ES" sz="1300" b="0" i="0">
                <a:solidFill>
                  <a:schemeClr val="tx2"/>
                </a:solidFill>
                <a:latin typeface="Ubuntu Medium" panose="020B0504030602030204" pitchFamily="34" charset="0"/>
              </a:rPr>
              <a:t>   </a:t>
            </a:r>
            <a:r>
              <a:rPr lang="es-ES" sz="1300" b="1" i="0">
                <a:solidFill>
                  <a:srgbClr val="12A9D8"/>
                </a:solidFill>
                <a:latin typeface="Ubuntu" panose="020B0504030602030204" pitchFamily="34" charset="0"/>
              </a:rPr>
              <a:t>Sogeti España</a:t>
            </a:r>
          </a:p>
        </p:txBody>
      </p:sp>
      <p:sp>
        <p:nvSpPr>
          <p:cNvPr id="5" name="Forma libre 4">
            <a:extLst>
              <a:ext uri="{FF2B5EF4-FFF2-40B4-BE49-F238E27FC236}">
                <a16:creationId xmlns:a16="http://schemas.microsoft.com/office/drawing/2014/main" id="{FBAABD7F-C513-9B40-6AE2-E43DB3944CCE}"/>
              </a:ext>
            </a:extLst>
          </p:cNvPr>
          <p:cNvSpPr/>
          <p:nvPr userDrawn="1"/>
        </p:nvSpPr>
        <p:spPr>
          <a:xfrm flipV="1">
            <a:off x="755650" y="10384024"/>
            <a:ext cx="2362200" cy="385576"/>
          </a:xfrm>
          <a:custGeom>
            <a:avLst/>
            <a:gdLst/>
            <a:ahLst/>
            <a:cxnLst/>
            <a:rect l="l" t="t" r="r" b="b"/>
            <a:pathLst>
              <a:path w="4876802" h="796029">
                <a:moveTo>
                  <a:pt x="2572782" y="405299"/>
                </a:moveTo>
                <a:cubicBezTo>
                  <a:pt x="2589609" y="405299"/>
                  <a:pt x="2601809" y="398820"/>
                  <a:pt x="2609382" y="385863"/>
                </a:cubicBezTo>
                <a:cubicBezTo>
                  <a:pt x="2616954" y="372906"/>
                  <a:pt x="2620740" y="355826"/>
                  <a:pt x="2620740" y="334623"/>
                </a:cubicBezTo>
                <a:cubicBezTo>
                  <a:pt x="2620740" y="313420"/>
                  <a:pt x="2616618" y="296256"/>
                  <a:pt x="2608372" y="283131"/>
                </a:cubicBezTo>
                <a:cubicBezTo>
                  <a:pt x="2600126" y="270006"/>
                  <a:pt x="2587927" y="263443"/>
                  <a:pt x="2571772" y="263443"/>
                </a:cubicBezTo>
                <a:cubicBezTo>
                  <a:pt x="2554945" y="263443"/>
                  <a:pt x="2542744" y="270006"/>
                  <a:pt x="2535172" y="283131"/>
                </a:cubicBezTo>
                <a:cubicBezTo>
                  <a:pt x="2527600" y="296256"/>
                  <a:pt x="2523814" y="313420"/>
                  <a:pt x="2523814" y="334623"/>
                </a:cubicBezTo>
                <a:cubicBezTo>
                  <a:pt x="2523814" y="355826"/>
                  <a:pt x="2527937" y="372906"/>
                  <a:pt x="2536182" y="385863"/>
                </a:cubicBezTo>
                <a:cubicBezTo>
                  <a:pt x="2544428" y="398820"/>
                  <a:pt x="2556628" y="405299"/>
                  <a:pt x="2572782" y="405299"/>
                </a:cubicBezTo>
                <a:close/>
                <a:moveTo>
                  <a:pt x="1810782" y="405299"/>
                </a:moveTo>
                <a:cubicBezTo>
                  <a:pt x="1827610" y="405299"/>
                  <a:pt x="1839810" y="398820"/>
                  <a:pt x="1847382" y="385863"/>
                </a:cubicBezTo>
                <a:cubicBezTo>
                  <a:pt x="1854954" y="372906"/>
                  <a:pt x="1858740" y="355826"/>
                  <a:pt x="1858740" y="334623"/>
                </a:cubicBezTo>
                <a:cubicBezTo>
                  <a:pt x="1858740" y="313420"/>
                  <a:pt x="1854618" y="296256"/>
                  <a:pt x="1846372" y="283131"/>
                </a:cubicBezTo>
                <a:cubicBezTo>
                  <a:pt x="1838127" y="270006"/>
                  <a:pt x="1825927" y="263443"/>
                  <a:pt x="1809772" y="263443"/>
                </a:cubicBezTo>
                <a:cubicBezTo>
                  <a:pt x="1792945" y="263443"/>
                  <a:pt x="1780745" y="270006"/>
                  <a:pt x="1773173" y="283131"/>
                </a:cubicBezTo>
                <a:cubicBezTo>
                  <a:pt x="1765600" y="296256"/>
                  <a:pt x="1761814" y="313420"/>
                  <a:pt x="1761814" y="334623"/>
                </a:cubicBezTo>
                <a:cubicBezTo>
                  <a:pt x="1761814" y="355826"/>
                  <a:pt x="1765937" y="372906"/>
                  <a:pt x="1774182" y="385863"/>
                </a:cubicBezTo>
                <a:cubicBezTo>
                  <a:pt x="1782428" y="398820"/>
                  <a:pt x="1794628" y="405299"/>
                  <a:pt x="1810782" y="405299"/>
                </a:cubicBezTo>
                <a:close/>
                <a:moveTo>
                  <a:pt x="810657" y="405299"/>
                </a:moveTo>
                <a:cubicBezTo>
                  <a:pt x="827485" y="405299"/>
                  <a:pt x="839684" y="398820"/>
                  <a:pt x="847257" y="385863"/>
                </a:cubicBezTo>
                <a:cubicBezTo>
                  <a:pt x="854829" y="372906"/>
                  <a:pt x="858615" y="355826"/>
                  <a:pt x="858616" y="334623"/>
                </a:cubicBezTo>
                <a:cubicBezTo>
                  <a:pt x="858615" y="313420"/>
                  <a:pt x="854493" y="296256"/>
                  <a:pt x="846247" y="283131"/>
                </a:cubicBezTo>
                <a:cubicBezTo>
                  <a:pt x="838002" y="270006"/>
                  <a:pt x="825802" y="263443"/>
                  <a:pt x="809647" y="263443"/>
                </a:cubicBezTo>
                <a:cubicBezTo>
                  <a:pt x="792820" y="263443"/>
                  <a:pt x="780620" y="270006"/>
                  <a:pt x="773048" y="283131"/>
                </a:cubicBezTo>
                <a:cubicBezTo>
                  <a:pt x="765475" y="296256"/>
                  <a:pt x="761689" y="313420"/>
                  <a:pt x="761689" y="334623"/>
                </a:cubicBezTo>
                <a:cubicBezTo>
                  <a:pt x="761689" y="355826"/>
                  <a:pt x="765812" y="372906"/>
                  <a:pt x="774057" y="385863"/>
                </a:cubicBezTo>
                <a:cubicBezTo>
                  <a:pt x="782303" y="398820"/>
                  <a:pt x="794503" y="405299"/>
                  <a:pt x="810657" y="405299"/>
                </a:cubicBezTo>
                <a:close/>
                <a:moveTo>
                  <a:pt x="3325256" y="411861"/>
                </a:moveTo>
                <a:cubicBezTo>
                  <a:pt x="3316506" y="411861"/>
                  <a:pt x="3309608" y="408496"/>
                  <a:pt x="3304560" y="401765"/>
                </a:cubicBezTo>
                <a:cubicBezTo>
                  <a:pt x="3299512" y="395034"/>
                  <a:pt x="3296988" y="387125"/>
                  <a:pt x="3296988" y="378038"/>
                </a:cubicBezTo>
                <a:cubicBezTo>
                  <a:pt x="3296988" y="368951"/>
                  <a:pt x="3299512" y="361126"/>
                  <a:pt x="3304560" y="354564"/>
                </a:cubicBezTo>
                <a:cubicBezTo>
                  <a:pt x="3309608" y="348001"/>
                  <a:pt x="3316506" y="344720"/>
                  <a:pt x="3325256" y="344720"/>
                </a:cubicBezTo>
                <a:cubicBezTo>
                  <a:pt x="3333334" y="344720"/>
                  <a:pt x="3339980" y="348001"/>
                  <a:pt x="3345198" y="354564"/>
                </a:cubicBezTo>
                <a:cubicBezTo>
                  <a:pt x="3350414" y="361126"/>
                  <a:pt x="3353022" y="368951"/>
                  <a:pt x="3353022" y="378038"/>
                </a:cubicBezTo>
                <a:cubicBezTo>
                  <a:pt x="3353022" y="387125"/>
                  <a:pt x="3350414" y="395034"/>
                  <a:pt x="3345198" y="401765"/>
                </a:cubicBezTo>
                <a:cubicBezTo>
                  <a:pt x="3339980" y="408496"/>
                  <a:pt x="3333334" y="411861"/>
                  <a:pt x="3325256" y="411861"/>
                </a:cubicBezTo>
                <a:close/>
                <a:moveTo>
                  <a:pt x="2207070" y="453257"/>
                </a:moveTo>
                <a:lnTo>
                  <a:pt x="2207070" y="401765"/>
                </a:lnTo>
                <a:lnTo>
                  <a:pt x="2272697" y="401765"/>
                </a:lnTo>
                <a:lnTo>
                  <a:pt x="2272697" y="314430"/>
                </a:lnTo>
                <a:cubicBezTo>
                  <a:pt x="2272697" y="297939"/>
                  <a:pt x="2274043" y="283299"/>
                  <a:pt x="2276735" y="270510"/>
                </a:cubicBezTo>
                <a:cubicBezTo>
                  <a:pt x="2279428" y="257721"/>
                  <a:pt x="2284055" y="246868"/>
                  <a:pt x="2290618" y="237949"/>
                </a:cubicBezTo>
                <a:cubicBezTo>
                  <a:pt x="2297181" y="229031"/>
                  <a:pt x="2305931" y="222215"/>
                  <a:pt x="2316869" y="217504"/>
                </a:cubicBezTo>
                <a:cubicBezTo>
                  <a:pt x="2327807" y="212792"/>
                  <a:pt x="2341353" y="210436"/>
                  <a:pt x="2357508" y="210436"/>
                </a:cubicBezTo>
                <a:cubicBezTo>
                  <a:pt x="2366931" y="210436"/>
                  <a:pt x="2377280" y="211530"/>
                  <a:pt x="2388554" y="213718"/>
                </a:cubicBezTo>
                <a:cubicBezTo>
                  <a:pt x="2399829" y="215905"/>
                  <a:pt x="2411860" y="220028"/>
                  <a:pt x="2424649" y="226086"/>
                </a:cubicBezTo>
                <a:lnTo>
                  <a:pt x="2416572" y="276063"/>
                </a:lnTo>
                <a:cubicBezTo>
                  <a:pt x="2406475" y="271352"/>
                  <a:pt x="2397388" y="268239"/>
                  <a:pt x="2389312" y="266724"/>
                </a:cubicBezTo>
                <a:cubicBezTo>
                  <a:pt x="2381234" y="265210"/>
                  <a:pt x="2374335" y="264452"/>
                  <a:pt x="2368614" y="264452"/>
                </a:cubicBezTo>
                <a:cubicBezTo>
                  <a:pt x="2356498" y="264452"/>
                  <a:pt x="2347832" y="267902"/>
                  <a:pt x="2342615" y="274801"/>
                </a:cubicBezTo>
                <a:cubicBezTo>
                  <a:pt x="2337398" y="281701"/>
                  <a:pt x="2334790" y="292218"/>
                  <a:pt x="2334790" y="306353"/>
                </a:cubicBezTo>
                <a:lnTo>
                  <a:pt x="2334790" y="453257"/>
                </a:lnTo>
                <a:close/>
                <a:moveTo>
                  <a:pt x="1088092" y="457800"/>
                </a:moveTo>
                <a:cubicBezTo>
                  <a:pt x="1064870" y="457800"/>
                  <a:pt x="1044593" y="455949"/>
                  <a:pt x="1027260" y="452247"/>
                </a:cubicBezTo>
                <a:cubicBezTo>
                  <a:pt x="1009928" y="448545"/>
                  <a:pt x="993016" y="443665"/>
                  <a:pt x="976526" y="437607"/>
                </a:cubicBezTo>
                <a:lnTo>
                  <a:pt x="976526" y="215989"/>
                </a:lnTo>
                <a:lnTo>
                  <a:pt x="1039124" y="215989"/>
                </a:lnTo>
                <a:lnTo>
                  <a:pt x="1039124" y="392173"/>
                </a:lnTo>
                <a:cubicBezTo>
                  <a:pt x="1047874" y="394529"/>
                  <a:pt x="1056456" y="396128"/>
                  <a:pt x="1064870" y="396969"/>
                </a:cubicBezTo>
                <a:cubicBezTo>
                  <a:pt x="1073284" y="397810"/>
                  <a:pt x="1081866" y="398231"/>
                  <a:pt x="1090616" y="398231"/>
                </a:cubicBezTo>
                <a:cubicBezTo>
                  <a:pt x="1094318" y="398231"/>
                  <a:pt x="1098861" y="398063"/>
                  <a:pt x="1104246" y="397726"/>
                </a:cubicBezTo>
                <a:cubicBezTo>
                  <a:pt x="1109631" y="397390"/>
                  <a:pt x="1115184" y="396801"/>
                  <a:pt x="1120905" y="395959"/>
                </a:cubicBezTo>
                <a:cubicBezTo>
                  <a:pt x="1126627" y="395118"/>
                  <a:pt x="1132264" y="394192"/>
                  <a:pt x="1137817" y="393183"/>
                </a:cubicBezTo>
                <a:cubicBezTo>
                  <a:pt x="1143370" y="392173"/>
                  <a:pt x="1148166" y="391164"/>
                  <a:pt x="1152205" y="390154"/>
                </a:cubicBezTo>
                <a:lnTo>
                  <a:pt x="1163311" y="447704"/>
                </a:lnTo>
                <a:cubicBezTo>
                  <a:pt x="1157589" y="449723"/>
                  <a:pt x="1151111" y="451322"/>
                  <a:pt x="1143875" y="452500"/>
                </a:cubicBezTo>
                <a:cubicBezTo>
                  <a:pt x="1136639" y="453678"/>
                  <a:pt x="1129487" y="454687"/>
                  <a:pt x="1122420" y="455529"/>
                </a:cubicBezTo>
                <a:cubicBezTo>
                  <a:pt x="1115352" y="456370"/>
                  <a:pt x="1108706" y="456959"/>
                  <a:pt x="1102479" y="457296"/>
                </a:cubicBezTo>
                <a:cubicBezTo>
                  <a:pt x="1096253" y="457632"/>
                  <a:pt x="1091457" y="457800"/>
                  <a:pt x="1088092" y="457800"/>
                </a:cubicBezTo>
                <a:close/>
                <a:moveTo>
                  <a:pt x="2572782" y="459315"/>
                </a:moveTo>
                <a:cubicBezTo>
                  <a:pt x="2556628" y="459315"/>
                  <a:pt x="2541651" y="456370"/>
                  <a:pt x="2527852" y="450480"/>
                </a:cubicBezTo>
                <a:cubicBezTo>
                  <a:pt x="2514054" y="444591"/>
                  <a:pt x="2502190" y="436177"/>
                  <a:pt x="2492262" y="425239"/>
                </a:cubicBezTo>
                <a:cubicBezTo>
                  <a:pt x="2482334" y="414301"/>
                  <a:pt x="2474594" y="401176"/>
                  <a:pt x="2469040" y="385863"/>
                </a:cubicBezTo>
                <a:cubicBezTo>
                  <a:pt x="2463487" y="370550"/>
                  <a:pt x="2460711" y="353638"/>
                  <a:pt x="2460711" y="335128"/>
                </a:cubicBezTo>
                <a:cubicBezTo>
                  <a:pt x="2460711" y="316281"/>
                  <a:pt x="2463403" y="299201"/>
                  <a:pt x="2468788" y="283888"/>
                </a:cubicBezTo>
                <a:cubicBezTo>
                  <a:pt x="2474173" y="268575"/>
                  <a:pt x="2481829" y="255366"/>
                  <a:pt x="2491758" y="244259"/>
                </a:cubicBezTo>
                <a:cubicBezTo>
                  <a:pt x="2501686" y="233153"/>
                  <a:pt x="2513465" y="224571"/>
                  <a:pt x="2527095" y="218513"/>
                </a:cubicBezTo>
                <a:cubicBezTo>
                  <a:pt x="2540726" y="212455"/>
                  <a:pt x="2555954" y="209427"/>
                  <a:pt x="2572782" y="209427"/>
                </a:cubicBezTo>
                <a:cubicBezTo>
                  <a:pt x="2589609" y="209427"/>
                  <a:pt x="2604838" y="212455"/>
                  <a:pt x="2618468" y="218513"/>
                </a:cubicBezTo>
                <a:cubicBezTo>
                  <a:pt x="2632098" y="224571"/>
                  <a:pt x="2643794" y="233153"/>
                  <a:pt x="2653554" y="244259"/>
                </a:cubicBezTo>
                <a:cubicBezTo>
                  <a:pt x="2663314" y="255366"/>
                  <a:pt x="2670886" y="268575"/>
                  <a:pt x="2676271" y="283888"/>
                </a:cubicBezTo>
                <a:cubicBezTo>
                  <a:pt x="2681656" y="299201"/>
                  <a:pt x="2684348" y="316281"/>
                  <a:pt x="2684348" y="335128"/>
                </a:cubicBezTo>
                <a:cubicBezTo>
                  <a:pt x="2684348" y="353638"/>
                  <a:pt x="2681656" y="370550"/>
                  <a:pt x="2676271" y="385863"/>
                </a:cubicBezTo>
                <a:cubicBezTo>
                  <a:pt x="2670886" y="401176"/>
                  <a:pt x="2663230" y="414301"/>
                  <a:pt x="2653302" y="425239"/>
                </a:cubicBezTo>
                <a:cubicBezTo>
                  <a:pt x="2643373" y="436177"/>
                  <a:pt x="2631594" y="444591"/>
                  <a:pt x="2617964" y="450480"/>
                </a:cubicBezTo>
                <a:cubicBezTo>
                  <a:pt x="2604334" y="456370"/>
                  <a:pt x="2589273" y="459315"/>
                  <a:pt x="2572782" y="459315"/>
                </a:cubicBezTo>
                <a:close/>
                <a:moveTo>
                  <a:pt x="1810782" y="459315"/>
                </a:moveTo>
                <a:cubicBezTo>
                  <a:pt x="1794628" y="459315"/>
                  <a:pt x="1779651" y="456370"/>
                  <a:pt x="1765853" y="450480"/>
                </a:cubicBezTo>
                <a:cubicBezTo>
                  <a:pt x="1752054" y="444591"/>
                  <a:pt x="1740191" y="436177"/>
                  <a:pt x="1730262" y="425239"/>
                </a:cubicBezTo>
                <a:cubicBezTo>
                  <a:pt x="1720334" y="414301"/>
                  <a:pt x="1712594" y="401176"/>
                  <a:pt x="1707040" y="385863"/>
                </a:cubicBezTo>
                <a:cubicBezTo>
                  <a:pt x="1701488" y="370550"/>
                  <a:pt x="1698711" y="353638"/>
                  <a:pt x="1698711" y="335128"/>
                </a:cubicBezTo>
                <a:cubicBezTo>
                  <a:pt x="1698711" y="316281"/>
                  <a:pt x="1701403" y="299201"/>
                  <a:pt x="1706788" y="283888"/>
                </a:cubicBezTo>
                <a:cubicBezTo>
                  <a:pt x="1712173" y="268575"/>
                  <a:pt x="1719829" y="255366"/>
                  <a:pt x="1729758" y="244259"/>
                </a:cubicBezTo>
                <a:cubicBezTo>
                  <a:pt x="1739686" y="233153"/>
                  <a:pt x="1751465" y="224571"/>
                  <a:pt x="1765095" y="218513"/>
                </a:cubicBezTo>
                <a:cubicBezTo>
                  <a:pt x="1778726" y="212455"/>
                  <a:pt x="1793954" y="209427"/>
                  <a:pt x="1810782" y="209427"/>
                </a:cubicBezTo>
                <a:cubicBezTo>
                  <a:pt x="1827610" y="209427"/>
                  <a:pt x="1842838" y="212455"/>
                  <a:pt x="1856469" y="218513"/>
                </a:cubicBezTo>
                <a:cubicBezTo>
                  <a:pt x="1870099" y="224571"/>
                  <a:pt x="1881794" y="233153"/>
                  <a:pt x="1891554" y="244259"/>
                </a:cubicBezTo>
                <a:cubicBezTo>
                  <a:pt x="1901314" y="255366"/>
                  <a:pt x="1908886" y="268575"/>
                  <a:pt x="1914271" y="283888"/>
                </a:cubicBezTo>
                <a:cubicBezTo>
                  <a:pt x="1919656" y="299201"/>
                  <a:pt x="1922348" y="316281"/>
                  <a:pt x="1922348" y="335128"/>
                </a:cubicBezTo>
                <a:cubicBezTo>
                  <a:pt x="1922348" y="353638"/>
                  <a:pt x="1919656" y="370550"/>
                  <a:pt x="1914271" y="385863"/>
                </a:cubicBezTo>
                <a:cubicBezTo>
                  <a:pt x="1908886" y="401176"/>
                  <a:pt x="1901230" y="414301"/>
                  <a:pt x="1891302" y="425239"/>
                </a:cubicBezTo>
                <a:cubicBezTo>
                  <a:pt x="1881374" y="436177"/>
                  <a:pt x="1869594" y="444591"/>
                  <a:pt x="1855964" y="450480"/>
                </a:cubicBezTo>
                <a:cubicBezTo>
                  <a:pt x="1842334" y="456370"/>
                  <a:pt x="1827273" y="459315"/>
                  <a:pt x="1810782" y="459315"/>
                </a:cubicBezTo>
                <a:close/>
                <a:moveTo>
                  <a:pt x="810657" y="459315"/>
                </a:moveTo>
                <a:cubicBezTo>
                  <a:pt x="794503" y="459315"/>
                  <a:pt x="779526" y="456370"/>
                  <a:pt x="765728" y="450480"/>
                </a:cubicBezTo>
                <a:cubicBezTo>
                  <a:pt x="751929" y="444591"/>
                  <a:pt x="740066" y="436177"/>
                  <a:pt x="730138" y="425239"/>
                </a:cubicBezTo>
                <a:cubicBezTo>
                  <a:pt x="720209" y="414301"/>
                  <a:pt x="712469" y="401176"/>
                  <a:pt x="706916" y="385863"/>
                </a:cubicBezTo>
                <a:cubicBezTo>
                  <a:pt x="701362" y="370550"/>
                  <a:pt x="698586" y="353638"/>
                  <a:pt x="698586" y="335128"/>
                </a:cubicBezTo>
                <a:cubicBezTo>
                  <a:pt x="698586" y="316281"/>
                  <a:pt x="701278" y="299201"/>
                  <a:pt x="706663" y="283888"/>
                </a:cubicBezTo>
                <a:cubicBezTo>
                  <a:pt x="712048" y="268575"/>
                  <a:pt x="719704" y="255366"/>
                  <a:pt x="729633" y="244259"/>
                </a:cubicBezTo>
                <a:cubicBezTo>
                  <a:pt x="739561" y="233153"/>
                  <a:pt x="751340" y="224571"/>
                  <a:pt x="764970" y="218513"/>
                </a:cubicBezTo>
                <a:cubicBezTo>
                  <a:pt x="778601" y="212455"/>
                  <a:pt x="793830" y="209427"/>
                  <a:pt x="810657" y="209427"/>
                </a:cubicBezTo>
                <a:cubicBezTo>
                  <a:pt x="827485" y="209427"/>
                  <a:pt x="842713" y="212455"/>
                  <a:pt x="856344" y="218513"/>
                </a:cubicBezTo>
                <a:cubicBezTo>
                  <a:pt x="869974" y="224571"/>
                  <a:pt x="881669" y="233153"/>
                  <a:pt x="891429" y="244259"/>
                </a:cubicBezTo>
                <a:cubicBezTo>
                  <a:pt x="901189" y="255366"/>
                  <a:pt x="908761" y="268575"/>
                  <a:pt x="914146" y="283888"/>
                </a:cubicBezTo>
                <a:cubicBezTo>
                  <a:pt x="919531" y="299201"/>
                  <a:pt x="922223" y="316281"/>
                  <a:pt x="922223" y="335128"/>
                </a:cubicBezTo>
                <a:cubicBezTo>
                  <a:pt x="922223" y="353638"/>
                  <a:pt x="919531" y="370550"/>
                  <a:pt x="914146" y="385863"/>
                </a:cubicBezTo>
                <a:cubicBezTo>
                  <a:pt x="908761" y="401176"/>
                  <a:pt x="901105" y="414301"/>
                  <a:pt x="891177" y="425239"/>
                </a:cubicBezTo>
                <a:cubicBezTo>
                  <a:pt x="881248" y="436177"/>
                  <a:pt x="869469" y="444591"/>
                  <a:pt x="855839" y="450480"/>
                </a:cubicBezTo>
                <a:cubicBezTo>
                  <a:pt x="842209" y="456370"/>
                  <a:pt x="827148" y="459315"/>
                  <a:pt x="810657" y="459315"/>
                </a:cubicBezTo>
                <a:close/>
                <a:moveTo>
                  <a:pt x="546919" y="477993"/>
                </a:moveTo>
                <a:cubicBezTo>
                  <a:pt x="563410" y="477993"/>
                  <a:pt x="576620" y="474207"/>
                  <a:pt x="586548" y="466635"/>
                </a:cubicBezTo>
                <a:cubicBezTo>
                  <a:pt x="596476" y="459062"/>
                  <a:pt x="601441" y="446189"/>
                  <a:pt x="601441" y="428016"/>
                </a:cubicBezTo>
                <a:cubicBezTo>
                  <a:pt x="601441" y="408832"/>
                  <a:pt x="596392" y="395286"/>
                  <a:pt x="586296" y="387377"/>
                </a:cubicBezTo>
                <a:cubicBezTo>
                  <a:pt x="576199" y="379468"/>
                  <a:pt x="561223" y="375514"/>
                  <a:pt x="541366" y="375514"/>
                </a:cubicBezTo>
                <a:lnTo>
                  <a:pt x="516125" y="375514"/>
                </a:lnTo>
                <a:lnTo>
                  <a:pt x="516125" y="476479"/>
                </a:lnTo>
                <a:cubicBezTo>
                  <a:pt x="519827" y="477152"/>
                  <a:pt x="524960" y="477573"/>
                  <a:pt x="531522" y="477741"/>
                </a:cubicBezTo>
                <a:cubicBezTo>
                  <a:pt x="538085" y="477909"/>
                  <a:pt x="543217" y="477993"/>
                  <a:pt x="546919" y="477993"/>
                </a:cubicBezTo>
                <a:close/>
                <a:moveTo>
                  <a:pt x="3324752" y="482537"/>
                </a:moveTo>
                <a:cubicBezTo>
                  <a:pt x="3341916" y="482537"/>
                  <a:pt x="3354958" y="473198"/>
                  <a:pt x="3363876" y="454519"/>
                </a:cubicBezTo>
                <a:cubicBezTo>
                  <a:pt x="3372794" y="435841"/>
                  <a:pt x="3377254" y="408664"/>
                  <a:pt x="3377254" y="372990"/>
                </a:cubicBezTo>
                <a:cubicBezTo>
                  <a:pt x="3377254" y="336979"/>
                  <a:pt x="3372794" y="309634"/>
                  <a:pt x="3363876" y="290956"/>
                </a:cubicBezTo>
                <a:cubicBezTo>
                  <a:pt x="3354958" y="272277"/>
                  <a:pt x="3341916" y="262938"/>
                  <a:pt x="3324752" y="262938"/>
                </a:cubicBezTo>
                <a:cubicBezTo>
                  <a:pt x="3307924" y="262938"/>
                  <a:pt x="3294968" y="272277"/>
                  <a:pt x="3285880" y="290956"/>
                </a:cubicBezTo>
                <a:cubicBezTo>
                  <a:pt x="3276794" y="309634"/>
                  <a:pt x="3272250" y="336979"/>
                  <a:pt x="3272250" y="372990"/>
                </a:cubicBezTo>
                <a:cubicBezTo>
                  <a:pt x="3272250" y="408664"/>
                  <a:pt x="3276794" y="435841"/>
                  <a:pt x="3285880" y="454519"/>
                </a:cubicBezTo>
                <a:cubicBezTo>
                  <a:pt x="3294968" y="473198"/>
                  <a:pt x="3307924" y="482537"/>
                  <a:pt x="3324752" y="482537"/>
                </a:cubicBezTo>
                <a:close/>
                <a:moveTo>
                  <a:pt x="1323054" y="522923"/>
                </a:moveTo>
                <a:lnTo>
                  <a:pt x="1260961" y="512826"/>
                </a:lnTo>
                <a:lnTo>
                  <a:pt x="1260961" y="453257"/>
                </a:lnTo>
                <a:lnTo>
                  <a:pt x="1206945" y="453257"/>
                </a:lnTo>
                <a:lnTo>
                  <a:pt x="1206945" y="401765"/>
                </a:lnTo>
                <a:lnTo>
                  <a:pt x="1260961" y="401765"/>
                </a:lnTo>
                <a:lnTo>
                  <a:pt x="1260961" y="304334"/>
                </a:lnTo>
                <a:cubicBezTo>
                  <a:pt x="1260961" y="284477"/>
                  <a:pt x="1262980" y="268407"/>
                  <a:pt x="1267019" y="256123"/>
                </a:cubicBezTo>
                <a:cubicBezTo>
                  <a:pt x="1271057" y="243839"/>
                  <a:pt x="1276947" y="234331"/>
                  <a:pt x="1284688" y="227600"/>
                </a:cubicBezTo>
                <a:cubicBezTo>
                  <a:pt x="1292428" y="220869"/>
                  <a:pt x="1301852" y="216326"/>
                  <a:pt x="1312958" y="213970"/>
                </a:cubicBezTo>
                <a:cubicBezTo>
                  <a:pt x="1324064" y="211614"/>
                  <a:pt x="1336853" y="210436"/>
                  <a:pt x="1351325" y="210436"/>
                </a:cubicBezTo>
                <a:cubicBezTo>
                  <a:pt x="1363777" y="210436"/>
                  <a:pt x="1376650" y="211446"/>
                  <a:pt x="1389944" y="213465"/>
                </a:cubicBezTo>
                <a:cubicBezTo>
                  <a:pt x="1403238" y="215484"/>
                  <a:pt x="1415606" y="218850"/>
                  <a:pt x="1427048" y="223562"/>
                </a:cubicBezTo>
                <a:lnTo>
                  <a:pt x="1418466" y="277073"/>
                </a:lnTo>
                <a:cubicBezTo>
                  <a:pt x="1412745" y="274381"/>
                  <a:pt x="1407444" y="272193"/>
                  <a:pt x="1402564" y="270510"/>
                </a:cubicBezTo>
                <a:cubicBezTo>
                  <a:pt x="1397684" y="268828"/>
                  <a:pt x="1392973" y="267566"/>
                  <a:pt x="1388429" y="266724"/>
                </a:cubicBezTo>
                <a:cubicBezTo>
                  <a:pt x="1383886" y="265883"/>
                  <a:pt x="1379174" y="265294"/>
                  <a:pt x="1374294" y="264957"/>
                </a:cubicBezTo>
                <a:cubicBezTo>
                  <a:pt x="1369414" y="264621"/>
                  <a:pt x="1364114" y="264452"/>
                  <a:pt x="1358392" y="264452"/>
                </a:cubicBezTo>
                <a:cubicBezTo>
                  <a:pt x="1353007" y="264452"/>
                  <a:pt x="1348127" y="264957"/>
                  <a:pt x="1343752" y="265967"/>
                </a:cubicBezTo>
                <a:cubicBezTo>
                  <a:pt x="1339377" y="266977"/>
                  <a:pt x="1335675" y="268996"/>
                  <a:pt x="1332646" y="272025"/>
                </a:cubicBezTo>
                <a:cubicBezTo>
                  <a:pt x="1329617" y="275054"/>
                  <a:pt x="1327261" y="279261"/>
                  <a:pt x="1325579" y="284645"/>
                </a:cubicBezTo>
                <a:cubicBezTo>
                  <a:pt x="1323896" y="290030"/>
                  <a:pt x="1323054" y="297098"/>
                  <a:pt x="1323054" y="305848"/>
                </a:cubicBezTo>
                <a:lnTo>
                  <a:pt x="1323054" y="401765"/>
                </a:lnTo>
                <a:lnTo>
                  <a:pt x="1422505" y="401765"/>
                </a:lnTo>
                <a:lnTo>
                  <a:pt x="1422505" y="453257"/>
                </a:lnTo>
                <a:lnTo>
                  <a:pt x="1323054" y="453257"/>
                </a:lnTo>
                <a:close/>
                <a:moveTo>
                  <a:pt x="539852" y="532010"/>
                </a:moveTo>
                <a:cubicBezTo>
                  <a:pt x="534131" y="532010"/>
                  <a:pt x="527568" y="531841"/>
                  <a:pt x="520164" y="531505"/>
                </a:cubicBezTo>
                <a:cubicBezTo>
                  <a:pt x="512760" y="531168"/>
                  <a:pt x="505187" y="530748"/>
                  <a:pt x="497447" y="530243"/>
                </a:cubicBezTo>
                <a:cubicBezTo>
                  <a:pt x="489706" y="529738"/>
                  <a:pt x="482049" y="528981"/>
                  <a:pt x="474477" y="527971"/>
                </a:cubicBezTo>
                <a:cubicBezTo>
                  <a:pt x="466905" y="526961"/>
                  <a:pt x="460090" y="525784"/>
                  <a:pt x="454032" y="524437"/>
                </a:cubicBezTo>
                <a:lnTo>
                  <a:pt x="454032" y="215989"/>
                </a:lnTo>
                <a:lnTo>
                  <a:pt x="516125" y="215989"/>
                </a:lnTo>
                <a:lnTo>
                  <a:pt x="516125" y="321498"/>
                </a:lnTo>
                <a:lnTo>
                  <a:pt x="538337" y="321498"/>
                </a:lnTo>
                <a:cubicBezTo>
                  <a:pt x="578723" y="321498"/>
                  <a:pt x="609938" y="329827"/>
                  <a:pt x="631982" y="346486"/>
                </a:cubicBezTo>
                <a:cubicBezTo>
                  <a:pt x="654026" y="363146"/>
                  <a:pt x="665048" y="390154"/>
                  <a:pt x="665048" y="427511"/>
                </a:cubicBezTo>
                <a:cubicBezTo>
                  <a:pt x="665048" y="464531"/>
                  <a:pt x="654111" y="491203"/>
                  <a:pt x="632235" y="507526"/>
                </a:cubicBezTo>
                <a:cubicBezTo>
                  <a:pt x="610359" y="523848"/>
                  <a:pt x="579565" y="532010"/>
                  <a:pt x="539852" y="532010"/>
                </a:cubicBezTo>
                <a:close/>
                <a:moveTo>
                  <a:pt x="3816452" y="535544"/>
                </a:moveTo>
                <a:cubicBezTo>
                  <a:pt x="3797604" y="535544"/>
                  <a:pt x="3780694" y="532430"/>
                  <a:pt x="3765716" y="526204"/>
                </a:cubicBezTo>
                <a:cubicBezTo>
                  <a:pt x="3750740" y="519978"/>
                  <a:pt x="3738708" y="513836"/>
                  <a:pt x="3729622" y="507778"/>
                </a:cubicBezTo>
                <a:lnTo>
                  <a:pt x="3751834" y="462344"/>
                </a:lnTo>
                <a:cubicBezTo>
                  <a:pt x="3760248" y="468065"/>
                  <a:pt x="3770260" y="472861"/>
                  <a:pt x="3781872" y="476731"/>
                </a:cubicBezTo>
                <a:cubicBezTo>
                  <a:pt x="3793482" y="480602"/>
                  <a:pt x="3805178" y="482537"/>
                  <a:pt x="3816956" y="482537"/>
                </a:cubicBezTo>
                <a:cubicBezTo>
                  <a:pt x="3829072" y="482537"/>
                  <a:pt x="3838580" y="479255"/>
                  <a:pt x="3845480" y="472693"/>
                </a:cubicBezTo>
                <a:cubicBezTo>
                  <a:pt x="3852378" y="466130"/>
                  <a:pt x="3855828" y="457127"/>
                  <a:pt x="3855828" y="445685"/>
                </a:cubicBezTo>
                <a:cubicBezTo>
                  <a:pt x="3855828" y="437944"/>
                  <a:pt x="3854230" y="431550"/>
                  <a:pt x="3851032" y="426501"/>
                </a:cubicBezTo>
                <a:cubicBezTo>
                  <a:pt x="3847836" y="421453"/>
                  <a:pt x="3843712" y="417414"/>
                  <a:pt x="3838664" y="414385"/>
                </a:cubicBezTo>
                <a:cubicBezTo>
                  <a:pt x="3833616" y="411357"/>
                  <a:pt x="3827894" y="409169"/>
                  <a:pt x="3821500" y="407823"/>
                </a:cubicBezTo>
                <a:cubicBezTo>
                  <a:pt x="3815106" y="406477"/>
                  <a:pt x="3808712" y="405803"/>
                  <a:pt x="3802316" y="405803"/>
                </a:cubicBezTo>
                <a:lnTo>
                  <a:pt x="3779094" y="405803"/>
                </a:lnTo>
                <a:lnTo>
                  <a:pt x="3779094" y="354311"/>
                </a:lnTo>
                <a:lnTo>
                  <a:pt x="3798278" y="354311"/>
                </a:lnTo>
                <a:cubicBezTo>
                  <a:pt x="3818470" y="354311"/>
                  <a:pt x="3835130" y="351030"/>
                  <a:pt x="3848256" y="344467"/>
                </a:cubicBezTo>
                <a:cubicBezTo>
                  <a:pt x="3861380" y="337904"/>
                  <a:pt x="3867944" y="326378"/>
                  <a:pt x="3867944" y="309887"/>
                </a:cubicBezTo>
                <a:cubicBezTo>
                  <a:pt x="3867944" y="296425"/>
                  <a:pt x="3863652" y="285150"/>
                  <a:pt x="3855072" y="276063"/>
                </a:cubicBezTo>
                <a:cubicBezTo>
                  <a:pt x="3846488" y="266977"/>
                  <a:pt x="3831596" y="262433"/>
                  <a:pt x="3810394" y="262433"/>
                </a:cubicBezTo>
                <a:cubicBezTo>
                  <a:pt x="3793230" y="262433"/>
                  <a:pt x="3778506" y="264284"/>
                  <a:pt x="3766222" y="267986"/>
                </a:cubicBezTo>
                <a:cubicBezTo>
                  <a:pt x="3753938" y="271688"/>
                  <a:pt x="3743924" y="275222"/>
                  <a:pt x="3736184" y="278588"/>
                </a:cubicBezTo>
                <a:lnTo>
                  <a:pt x="3724068" y="226591"/>
                </a:lnTo>
                <a:cubicBezTo>
                  <a:pt x="3727770" y="224908"/>
                  <a:pt x="3732988" y="223057"/>
                  <a:pt x="3739718" y="221037"/>
                </a:cubicBezTo>
                <a:cubicBezTo>
                  <a:pt x="3746450" y="219018"/>
                  <a:pt x="3753770" y="217167"/>
                  <a:pt x="3761678" y="215484"/>
                </a:cubicBezTo>
                <a:cubicBezTo>
                  <a:pt x="3769588" y="213802"/>
                  <a:pt x="3777832" y="212371"/>
                  <a:pt x="3786414" y="211193"/>
                </a:cubicBezTo>
                <a:cubicBezTo>
                  <a:pt x="3794996" y="210015"/>
                  <a:pt x="3803158" y="209427"/>
                  <a:pt x="3810898" y="209427"/>
                </a:cubicBezTo>
                <a:cubicBezTo>
                  <a:pt x="3831764" y="209427"/>
                  <a:pt x="3849770" y="211867"/>
                  <a:pt x="3864916" y="216746"/>
                </a:cubicBezTo>
                <a:cubicBezTo>
                  <a:pt x="3880060" y="221626"/>
                  <a:pt x="3892512" y="228526"/>
                  <a:pt x="3902272" y="237444"/>
                </a:cubicBezTo>
                <a:cubicBezTo>
                  <a:pt x="3912032" y="246363"/>
                  <a:pt x="3919268" y="256880"/>
                  <a:pt x="3923980" y="268996"/>
                </a:cubicBezTo>
                <a:cubicBezTo>
                  <a:pt x="3928692" y="281112"/>
                  <a:pt x="3931048" y="294405"/>
                  <a:pt x="3931048" y="308877"/>
                </a:cubicBezTo>
                <a:cubicBezTo>
                  <a:pt x="3931048" y="327051"/>
                  <a:pt x="3926588" y="342700"/>
                  <a:pt x="3917668" y="355826"/>
                </a:cubicBezTo>
                <a:cubicBezTo>
                  <a:pt x="3908750" y="368951"/>
                  <a:pt x="3896214" y="378879"/>
                  <a:pt x="3880060" y="385610"/>
                </a:cubicBezTo>
                <a:cubicBezTo>
                  <a:pt x="3891840" y="391668"/>
                  <a:pt x="3901262" y="400419"/>
                  <a:pt x="3908330" y="411861"/>
                </a:cubicBezTo>
                <a:cubicBezTo>
                  <a:pt x="3915398" y="423304"/>
                  <a:pt x="3918932" y="435252"/>
                  <a:pt x="3918932" y="447704"/>
                </a:cubicBezTo>
                <a:cubicBezTo>
                  <a:pt x="3918932" y="460156"/>
                  <a:pt x="3916912" y="471767"/>
                  <a:pt x="3912874" y="482537"/>
                </a:cubicBezTo>
                <a:cubicBezTo>
                  <a:pt x="3908834" y="493306"/>
                  <a:pt x="3902608" y="502646"/>
                  <a:pt x="3894196" y="510555"/>
                </a:cubicBezTo>
                <a:cubicBezTo>
                  <a:pt x="3885780" y="518464"/>
                  <a:pt x="3875096" y="524606"/>
                  <a:pt x="3862138" y="528981"/>
                </a:cubicBezTo>
                <a:cubicBezTo>
                  <a:pt x="3849180" y="533356"/>
                  <a:pt x="3833952" y="535544"/>
                  <a:pt x="3816452" y="535544"/>
                </a:cubicBezTo>
                <a:close/>
                <a:moveTo>
                  <a:pt x="3567354" y="535544"/>
                </a:moveTo>
                <a:cubicBezTo>
                  <a:pt x="3549854" y="535544"/>
                  <a:pt x="3532268" y="532178"/>
                  <a:pt x="3514600" y="525447"/>
                </a:cubicBezTo>
                <a:cubicBezTo>
                  <a:pt x="3496930" y="518716"/>
                  <a:pt x="3481366" y="508283"/>
                  <a:pt x="3467904" y="494148"/>
                </a:cubicBezTo>
                <a:lnTo>
                  <a:pt x="3498698" y="450733"/>
                </a:lnTo>
                <a:cubicBezTo>
                  <a:pt x="3509130" y="461839"/>
                  <a:pt x="3519732" y="469748"/>
                  <a:pt x="3530502" y="474460"/>
                </a:cubicBezTo>
                <a:cubicBezTo>
                  <a:pt x="3541272" y="479171"/>
                  <a:pt x="3551536" y="481527"/>
                  <a:pt x="3561296" y="481527"/>
                </a:cubicBezTo>
                <a:cubicBezTo>
                  <a:pt x="3573076" y="481527"/>
                  <a:pt x="3582836" y="478078"/>
                  <a:pt x="3590576" y="471178"/>
                </a:cubicBezTo>
                <a:cubicBezTo>
                  <a:pt x="3598316" y="464279"/>
                  <a:pt x="3602186" y="454435"/>
                  <a:pt x="3602188" y="441646"/>
                </a:cubicBezTo>
                <a:cubicBezTo>
                  <a:pt x="3602186" y="432559"/>
                  <a:pt x="3599074" y="423641"/>
                  <a:pt x="3592848" y="414890"/>
                </a:cubicBezTo>
                <a:cubicBezTo>
                  <a:pt x="3586622" y="406140"/>
                  <a:pt x="3578712" y="397053"/>
                  <a:pt x="3569120" y="387630"/>
                </a:cubicBezTo>
                <a:cubicBezTo>
                  <a:pt x="3559528" y="378206"/>
                  <a:pt x="3549264" y="368362"/>
                  <a:pt x="3538326" y="358097"/>
                </a:cubicBezTo>
                <a:cubicBezTo>
                  <a:pt x="3527388" y="347833"/>
                  <a:pt x="3517124" y="336727"/>
                  <a:pt x="3507532" y="324779"/>
                </a:cubicBezTo>
                <a:cubicBezTo>
                  <a:pt x="3497940" y="312831"/>
                  <a:pt x="3490032" y="299790"/>
                  <a:pt x="3483806" y="285655"/>
                </a:cubicBezTo>
                <a:cubicBezTo>
                  <a:pt x="3477580" y="271520"/>
                  <a:pt x="3474466" y="256039"/>
                  <a:pt x="3474466" y="239211"/>
                </a:cubicBezTo>
                <a:cubicBezTo>
                  <a:pt x="3474466" y="237192"/>
                  <a:pt x="3474382" y="233658"/>
                  <a:pt x="3474214" y="228610"/>
                </a:cubicBezTo>
                <a:cubicBezTo>
                  <a:pt x="3474046" y="223562"/>
                  <a:pt x="3474466" y="219355"/>
                  <a:pt x="3475476" y="215989"/>
                </a:cubicBezTo>
                <a:lnTo>
                  <a:pt x="3679426" y="215989"/>
                </a:lnTo>
                <a:lnTo>
                  <a:pt x="3679426" y="267481"/>
                </a:lnTo>
                <a:lnTo>
                  <a:pt x="3545142" y="267481"/>
                </a:lnTo>
                <a:cubicBezTo>
                  <a:pt x="3545142" y="272530"/>
                  <a:pt x="3546908" y="278083"/>
                  <a:pt x="3550442" y="284141"/>
                </a:cubicBezTo>
                <a:cubicBezTo>
                  <a:pt x="3553976" y="290198"/>
                  <a:pt x="3558268" y="296172"/>
                  <a:pt x="3563316" y="302062"/>
                </a:cubicBezTo>
                <a:cubicBezTo>
                  <a:pt x="3568364" y="307952"/>
                  <a:pt x="3573748" y="313673"/>
                  <a:pt x="3579470" y="319226"/>
                </a:cubicBezTo>
                <a:cubicBezTo>
                  <a:pt x="3585190" y="324779"/>
                  <a:pt x="3590240" y="329575"/>
                  <a:pt x="3594614" y="333613"/>
                </a:cubicBezTo>
                <a:cubicBezTo>
                  <a:pt x="3603364" y="341691"/>
                  <a:pt x="3611946" y="350104"/>
                  <a:pt x="3620360" y="358855"/>
                </a:cubicBezTo>
                <a:cubicBezTo>
                  <a:pt x="3628774" y="367605"/>
                  <a:pt x="3636346" y="376692"/>
                  <a:pt x="3643078" y="386115"/>
                </a:cubicBezTo>
                <a:cubicBezTo>
                  <a:pt x="3649808" y="395539"/>
                  <a:pt x="3655194" y="405214"/>
                  <a:pt x="3659232" y="415143"/>
                </a:cubicBezTo>
                <a:cubicBezTo>
                  <a:pt x="3663270" y="425071"/>
                  <a:pt x="3665290" y="435420"/>
                  <a:pt x="3665290" y="446189"/>
                </a:cubicBezTo>
                <a:cubicBezTo>
                  <a:pt x="3665290" y="460998"/>
                  <a:pt x="3662598" y="474039"/>
                  <a:pt x="3657212" y="485313"/>
                </a:cubicBezTo>
                <a:cubicBezTo>
                  <a:pt x="3651828" y="496588"/>
                  <a:pt x="3644592" y="505927"/>
                  <a:pt x="3635506" y="513331"/>
                </a:cubicBezTo>
                <a:cubicBezTo>
                  <a:pt x="3626418" y="520735"/>
                  <a:pt x="3615986" y="526288"/>
                  <a:pt x="3604206" y="529990"/>
                </a:cubicBezTo>
                <a:cubicBezTo>
                  <a:pt x="3592426" y="533692"/>
                  <a:pt x="3580142" y="535544"/>
                  <a:pt x="3567354" y="535544"/>
                </a:cubicBezTo>
                <a:close/>
                <a:moveTo>
                  <a:pt x="3324752" y="535544"/>
                </a:moveTo>
                <a:cubicBezTo>
                  <a:pt x="3290088" y="535544"/>
                  <a:pt x="3263332" y="522081"/>
                  <a:pt x="3244486" y="495157"/>
                </a:cubicBezTo>
                <a:cubicBezTo>
                  <a:pt x="3225638" y="468233"/>
                  <a:pt x="3216214" y="427511"/>
                  <a:pt x="3216214" y="372990"/>
                </a:cubicBezTo>
                <a:cubicBezTo>
                  <a:pt x="3216214" y="317796"/>
                  <a:pt x="3225470" y="276737"/>
                  <a:pt x="3243980" y="249813"/>
                </a:cubicBezTo>
                <a:cubicBezTo>
                  <a:pt x="3262490" y="222889"/>
                  <a:pt x="3289414" y="209427"/>
                  <a:pt x="3324752" y="209427"/>
                </a:cubicBezTo>
                <a:cubicBezTo>
                  <a:pt x="3360090" y="209427"/>
                  <a:pt x="3387014" y="222889"/>
                  <a:pt x="3405524" y="249813"/>
                </a:cubicBezTo>
                <a:cubicBezTo>
                  <a:pt x="3424034" y="276737"/>
                  <a:pt x="3433290" y="317796"/>
                  <a:pt x="3433290" y="372990"/>
                </a:cubicBezTo>
                <a:cubicBezTo>
                  <a:pt x="3433290" y="427847"/>
                  <a:pt x="3424034" y="468654"/>
                  <a:pt x="3405524" y="495410"/>
                </a:cubicBezTo>
                <a:cubicBezTo>
                  <a:pt x="3387014" y="522166"/>
                  <a:pt x="3360090" y="535544"/>
                  <a:pt x="3324752" y="535544"/>
                </a:cubicBezTo>
                <a:close/>
                <a:moveTo>
                  <a:pt x="3062528" y="535544"/>
                </a:moveTo>
                <a:cubicBezTo>
                  <a:pt x="3045028" y="535544"/>
                  <a:pt x="3027444" y="532178"/>
                  <a:pt x="3009774" y="525447"/>
                </a:cubicBezTo>
                <a:cubicBezTo>
                  <a:pt x="2992106" y="518716"/>
                  <a:pt x="2976540" y="508283"/>
                  <a:pt x="2963078" y="494148"/>
                </a:cubicBezTo>
                <a:lnTo>
                  <a:pt x="2993872" y="450733"/>
                </a:lnTo>
                <a:cubicBezTo>
                  <a:pt x="3004306" y="461839"/>
                  <a:pt x="3014908" y="469748"/>
                  <a:pt x="3025676" y="474460"/>
                </a:cubicBezTo>
                <a:cubicBezTo>
                  <a:pt x="3036446" y="479171"/>
                  <a:pt x="3046712" y="481527"/>
                  <a:pt x="3056472" y="481527"/>
                </a:cubicBezTo>
                <a:cubicBezTo>
                  <a:pt x="3068250" y="481527"/>
                  <a:pt x="3078010" y="478078"/>
                  <a:pt x="3085752" y="471178"/>
                </a:cubicBezTo>
                <a:cubicBezTo>
                  <a:pt x="3093492" y="464279"/>
                  <a:pt x="3097362" y="454435"/>
                  <a:pt x="3097362" y="441646"/>
                </a:cubicBezTo>
                <a:cubicBezTo>
                  <a:pt x="3097362" y="432559"/>
                  <a:pt x="3094248" y="423641"/>
                  <a:pt x="3088022" y="414890"/>
                </a:cubicBezTo>
                <a:cubicBezTo>
                  <a:pt x="3081796" y="406140"/>
                  <a:pt x="3073888" y="397053"/>
                  <a:pt x="3064296" y="387630"/>
                </a:cubicBezTo>
                <a:cubicBezTo>
                  <a:pt x="3054704" y="378206"/>
                  <a:pt x="3044440" y="368362"/>
                  <a:pt x="3033502" y="358097"/>
                </a:cubicBezTo>
                <a:cubicBezTo>
                  <a:pt x="3022564" y="347833"/>
                  <a:pt x="3012298" y="336727"/>
                  <a:pt x="3002708" y="324779"/>
                </a:cubicBezTo>
                <a:cubicBezTo>
                  <a:pt x="2993116" y="312831"/>
                  <a:pt x="2985206" y="299790"/>
                  <a:pt x="2978980" y="285655"/>
                </a:cubicBezTo>
                <a:cubicBezTo>
                  <a:pt x="2972754" y="271520"/>
                  <a:pt x="2969642" y="256039"/>
                  <a:pt x="2969642" y="239211"/>
                </a:cubicBezTo>
                <a:cubicBezTo>
                  <a:pt x="2969642" y="237192"/>
                  <a:pt x="2969558" y="233658"/>
                  <a:pt x="2969388" y="228610"/>
                </a:cubicBezTo>
                <a:cubicBezTo>
                  <a:pt x="2969220" y="223562"/>
                  <a:pt x="2969640" y="219355"/>
                  <a:pt x="2970650" y="215989"/>
                </a:cubicBezTo>
                <a:lnTo>
                  <a:pt x="3174600" y="215989"/>
                </a:lnTo>
                <a:lnTo>
                  <a:pt x="3174600" y="267481"/>
                </a:lnTo>
                <a:lnTo>
                  <a:pt x="3040316" y="267481"/>
                </a:lnTo>
                <a:cubicBezTo>
                  <a:pt x="3040316" y="272530"/>
                  <a:pt x="3042084" y="278083"/>
                  <a:pt x="3045618" y="284141"/>
                </a:cubicBezTo>
                <a:cubicBezTo>
                  <a:pt x="3049152" y="290198"/>
                  <a:pt x="3053442" y="296172"/>
                  <a:pt x="3058490" y="302062"/>
                </a:cubicBezTo>
                <a:cubicBezTo>
                  <a:pt x="3063538" y="307952"/>
                  <a:pt x="3068924" y="313673"/>
                  <a:pt x="3074644" y="319226"/>
                </a:cubicBezTo>
                <a:cubicBezTo>
                  <a:pt x="3080366" y="324779"/>
                  <a:pt x="3085414" y="329575"/>
                  <a:pt x="3089790" y="333613"/>
                </a:cubicBezTo>
                <a:cubicBezTo>
                  <a:pt x="3098540" y="341691"/>
                  <a:pt x="3107122" y="350104"/>
                  <a:pt x="3115536" y="358855"/>
                </a:cubicBezTo>
                <a:cubicBezTo>
                  <a:pt x="3123950" y="367605"/>
                  <a:pt x="3131522" y="376692"/>
                  <a:pt x="3138252" y="386115"/>
                </a:cubicBezTo>
                <a:cubicBezTo>
                  <a:pt x="3144984" y="395539"/>
                  <a:pt x="3150368" y="405214"/>
                  <a:pt x="3154408" y="415143"/>
                </a:cubicBezTo>
                <a:cubicBezTo>
                  <a:pt x="3158446" y="425071"/>
                  <a:pt x="3160464" y="435420"/>
                  <a:pt x="3160464" y="446189"/>
                </a:cubicBezTo>
                <a:cubicBezTo>
                  <a:pt x="3160464" y="460998"/>
                  <a:pt x="3157772" y="474039"/>
                  <a:pt x="3152388" y="485313"/>
                </a:cubicBezTo>
                <a:cubicBezTo>
                  <a:pt x="3147002" y="496588"/>
                  <a:pt x="3139766" y="505927"/>
                  <a:pt x="3130680" y="513331"/>
                </a:cubicBezTo>
                <a:cubicBezTo>
                  <a:pt x="3121594" y="520735"/>
                  <a:pt x="3111160" y="526288"/>
                  <a:pt x="3099382" y="529990"/>
                </a:cubicBezTo>
                <a:cubicBezTo>
                  <a:pt x="3087602" y="533692"/>
                  <a:pt x="3075318" y="535544"/>
                  <a:pt x="3062528" y="535544"/>
                </a:cubicBezTo>
                <a:close/>
                <a:moveTo>
                  <a:pt x="2292890" y="561290"/>
                </a:moveTo>
                <a:cubicBezTo>
                  <a:pt x="2282120" y="561290"/>
                  <a:pt x="2272949" y="557756"/>
                  <a:pt x="2265377" y="550688"/>
                </a:cubicBezTo>
                <a:cubicBezTo>
                  <a:pt x="2257805" y="543621"/>
                  <a:pt x="2254018" y="533861"/>
                  <a:pt x="2254018" y="521408"/>
                </a:cubicBezTo>
                <a:cubicBezTo>
                  <a:pt x="2254018" y="509293"/>
                  <a:pt x="2257805" y="499701"/>
                  <a:pt x="2265377" y="492633"/>
                </a:cubicBezTo>
                <a:cubicBezTo>
                  <a:pt x="2272949" y="485566"/>
                  <a:pt x="2282120" y="482032"/>
                  <a:pt x="2292890" y="482032"/>
                </a:cubicBezTo>
                <a:cubicBezTo>
                  <a:pt x="2303660" y="482032"/>
                  <a:pt x="2312914" y="485566"/>
                  <a:pt x="2320655" y="492633"/>
                </a:cubicBezTo>
                <a:cubicBezTo>
                  <a:pt x="2328396" y="499701"/>
                  <a:pt x="2332266" y="509293"/>
                  <a:pt x="2332266" y="521408"/>
                </a:cubicBezTo>
                <a:cubicBezTo>
                  <a:pt x="2332266" y="533861"/>
                  <a:pt x="2328396" y="543621"/>
                  <a:pt x="2320655" y="550688"/>
                </a:cubicBezTo>
                <a:cubicBezTo>
                  <a:pt x="2312914" y="557756"/>
                  <a:pt x="2303660" y="561290"/>
                  <a:pt x="2292890" y="561290"/>
                </a:cubicBezTo>
                <a:close/>
                <a:moveTo>
                  <a:pt x="1959420" y="563309"/>
                </a:moveTo>
                <a:lnTo>
                  <a:pt x="1959420" y="511817"/>
                </a:lnTo>
                <a:lnTo>
                  <a:pt x="2025047" y="511817"/>
                </a:lnTo>
                <a:lnTo>
                  <a:pt x="2025047" y="310392"/>
                </a:lnTo>
                <a:cubicBezTo>
                  <a:pt x="2025047" y="277746"/>
                  <a:pt x="2031610" y="252926"/>
                  <a:pt x="2044735" y="235930"/>
                </a:cubicBezTo>
                <a:cubicBezTo>
                  <a:pt x="2057860" y="218934"/>
                  <a:pt x="2078727" y="210436"/>
                  <a:pt x="2107333" y="210436"/>
                </a:cubicBezTo>
                <a:cubicBezTo>
                  <a:pt x="2117767" y="210436"/>
                  <a:pt x="2127106" y="211109"/>
                  <a:pt x="2135351" y="212455"/>
                </a:cubicBezTo>
                <a:cubicBezTo>
                  <a:pt x="2143597" y="213802"/>
                  <a:pt x="2150580" y="215400"/>
                  <a:pt x="2156302" y="217251"/>
                </a:cubicBezTo>
                <a:cubicBezTo>
                  <a:pt x="2162023" y="219102"/>
                  <a:pt x="2166650" y="220869"/>
                  <a:pt x="2170184" y="222552"/>
                </a:cubicBezTo>
                <a:cubicBezTo>
                  <a:pt x="2173718" y="224235"/>
                  <a:pt x="2175990" y="225413"/>
                  <a:pt x="2176999" y="226086"/>
                </a:cubicBezTo>
                <a:lnTo>
                  <a:pt x="2168922" y="276063"/>
                </a:lnTo>
                <a:cubicBezTo>
                  <a:pt x="2166230" y="275054"/>
                  <a:pt x="2160677" y="272866"/>
                  <a:pt x="2152263" y="269501"/>
                </a:cubicBezTo>
                <a:cubicBezTo>
                  <a:pt x="2143849" y="266135"/>
                  <a:pt x="2133416" y="264452"/>
                  <a:pt x="2120964" y="264452"/>
                </a:cubicBezTo>
                <a:cubicBezTo>
                  <a:pt x="2111204" y="264452"/>
                  <a:pt x="2103126" y="267313"/>
                  <a:pt x="2096732" y="273034"/>
                </a:cubicBezTo>
                <a:cubicBezTo>
                  <a:pt x="2090338" y="278756"/>
                  <a:pt x="2087140" y="289694"/>
                  <a:pt x="2087140" y="305848"/>
                </a:cubicBezTo>
                <a:lnTo>
                  <a:pt x="2087140" y="563309"/>
                </a:lnTo>
                <a:close/>
                <a:moveTo>
                  <a:pt x="1607052" y="565833"/>
                </a:moveTo>
                <a:cubicBezTo>
                  <a:pt x="1594263" y="565833"/>
                  <a:pt x="1581811" y="564234"/>
                  <a:pt x="1569695" y="561037"/>
                </a:cubicBezTo>
                <a:cubicBezTo>
                  <a:pt x="1557579" y="557840"/>
                  <a:pt x="1546810" y="552455"/>
                  <a:pt x="1537386" y="544883"/>
                </a:cubicBezTo>
                <a:cubicBezTo>
                  <a:pt x="1527963" y="537310"/>
                  <a:pt x="1520474" y="527214"/>
                  <a:pt x="1514921" y="514593"/>
                </a:cubicBezTo>
                <a:cubicBezTo>
                  <a:pt x="1509368" y="501973"/>
                  <a:pt x="1506592" y="486071"/>
                  <a:pt x="1506592" y="466887"/>
                </a:cubicBezTo>
                <a:lnTo>
                  <a:pt x="1506592" y="453257"/>
                </a:lnTo>
                <a:lnTo>
                  <a:pt x="1454595" y="453257"/>
                </a:lnTo>
                <a:lnTo>
                  <a:pt x="1454595" y="401765"/>
                </a:lnTo>
                <a:lnTo>
                  <a:pt x="1506592" y="401765"/>
                </a:lnTo>
                <a:lnTo>
                  <a:pt x="1506592" y="215989"/>
                </a:lnTo>
                <a:lnTo>
                  <a:pt x="1569190" y="215989"/>
                </a:lnTo>
                <a:lnTo>
                  <a:pt x="1569190" y="401765"/>
                </a:lnTo>
                <a:lnTo>
                  <a:pt x="1666621" y="401765"/>
                </a:lnTo>
                <a:lnTo>
                  <a:pt x="1666621" y="453257"/>
                </a:lnTo>
                <a:lnTo>
                  <a:pt x="1569190" y="453257"/>
                </a:lnTo>
                <a:lnTo>
                  <a:pt x="1569190" y="465878"/>
                </a:lnTo>
                <a:cubicBezTo>
                  <a:pt x="1569190" y="475974"/>
                  <a:pt x="1570368" y="484135"/>
                  <a:pt x="1572724" y="490362"/>
                </a:cubicBezTo>
                <a:cubicBezTo>
                  <a:pt x="1575080" y="496588"/>
                  <a:pt x="1578193" y="501384"/>
                  <a:pt x="1582063" y="504749"/>
                </a:cubicBezTo>
                <a:cubicBezTo>
                  <a:pt x="1585933" y="508115"/>
                  <a:pt x="1590477" y="510302"/>
                  <a:pt x="1595693" y="511312"/>
                </a:cubicBezTo>
                <a:cubicBezTo>
                  <a:pt x="1600910" y="512322"/>
                  <a:pt x="1606379" y="512826"/>
                  <a:pt x="1612100" y="512826"/>
                </a:cubicBezTo>
                <a:cubicBezTo>
                  <a:pt x="1622533" y="512826"/>
                  <a:pt x="1633555" y="511396"/>
                  <a:pt x="1645166" y="508535"/>
                </a:cubicBezTo>
                <a:cubicBezTo>
                  <a:pt x="1656777" y="505675"/>
                  <a:pt x="1666453" y="502898"/>
                  <a:pt x="1674194" y="500206"/>
                </a:cubicBezTo>
                <a:lnTo>
                  <a:pt x="1684795" y="550688"/>
                </a:lnTo>
                <a:cubicBezTo>
                  <a:pt x="1673689" y="556073"/>
                  <a:pt x="1661236" y="559943"/>
                  <a:pt x="1647438" y="562299"/>
                </a:cubicBezTo>
                <a:cubicBezTo>
                  <a:pt x="1633639" y="564655"/>
                  <a:pt x="1620178" y="565833"/>
                  <a:pt x="1607052" y="565833"/>
                </a:cubicBezTo>
                <a:close/>
                <a:moveTo>
                  <a:pt x="0" y="796029"/>
                </a:moveTo>
                <a:lnTo>
                  <a:pt x="4876802" y="796029"/>
                </a:lnTo>
                <a:lnTo>
                  <a:pt x="4824822" y="344498"/>
                </a:lnTo>
                <a:cubicBezTo>
                  <a:pt x="4801968" y="145891"/>
                  <a:pt x="4682292" y="207"/>
                  <a:pt x="4541980" y="155"/>
                </a:cubicBezTo>
                <a:lnTo>
                  <a:pt x="0" y="0"/>
                </a:lnTo>
                <a:close/>
              </a:path>
            </a:pathLst>
          </a:custGeom>
          <a:solidFill>
            <a:schemeClr val="bg1"/>
          </a:solidFill>
          <a:ln w="2834" cap="flat">
            <a:noFill/>
            <a:prstDash val="solid"/>
            <a:miter/>
          </a:ln>
        </p:spPr>
        <p:txBody>
          <a:bodyPr wrap="square" rtlCol="0" anchor="ctr">
            <a:noAutofit/>
          </a:bodyPr>
          <a:lstStyle/>
          <a:p>
            <a:endParaRPr lang="en-US"/>
          </a:p>
        </p:txBody>
      </p:sp>
      <p:pic>
        <p:nvPicPr>
          <p:cNvPr id="8" name="Imagen 7" descr="Un dibujo de una cara feliz&#10;&#10;Descripción generada automáticamente con confianza baja">
            <a:extLst>
              <a:ext uri="{FF2B5EF4-FFF2-40B4-BE49-F238E27FC236}">
                <a16:creationId xmlns:a16="http://schemas.microsoft.com/office/drawing/2014/main" id="{A82FAAE7-F450-2EFB-B470-9CA2B285AACF}"/>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7824450" y="406400"/>
            <a:ext cx="1801936" cy="934010"/>
          </a:xfrm>
          <a:prstGeom prst="rect">
            <a:avLst/>
          </a:prstGeom>
        </p:spPr>
      </p:pic>
      <p:sp>
        <p:nvSpPr>
          <p:cNvPr id="10" name="Título 9">
            <a:extLst>
              <a:ext uri="{FF2B5EF4-FFF2-40B4-BE49-F238E27FC236}">
                <a16:creationId xmlns:a16="http://schemas.microsoft.com/office/drawing/2014/main" id="{7E8DAFFC-ADDB-1273-AA91-4852BCB21C8E}"/>
              </a:ext>
            </a:extLst>
          </p:cNvPr>
          <p:cNvSpPr>
            <a:spLocks noGrp="1"/>
          </p:cNvSpPr>
          <p:nvPr>
            <p:ph type="title" hasCustomPrompt="1"/>
          </p:nvPr>
        </p:nvSpPr>
        <p:spPr>
          <a:xfrm>
            <a:off x="781051" y="1473200"/>
            <a:ext cx="10971530" cy="646331"/>
          </a:xfrm>
        </p:spPr>
        <p:txBody>
          <a:bodyPr/>
          <a:lstStyle>
            <a:lvl1pPr>
              <a:defRPr sz="4200" b="1" i="0">
                <a:solidFill>
                  <a:schemeClr val="bg1"/>
                </a:solidFill>
                <a:latin typeface="Ubuntu" panose="020B0504030602030204" pitchFamily="34" charset="0"/>
              </a:defRPr>
            </a:lvl1pPr>
          </a:lstStyle>
          <a:p>
            <a:r>
              <a:rPr lang="es-ES"/>
              <a:t>ASDFASFD</a:t>
            </a:r>
          </a:p>
        </p:txBody>
      </p:sp>
      <p:sp>
        <p:nvSpPr>
          <p:cNvPr id="11" name="object 12">
            <a:extLst>
              <a:ext uri="{FF2B5EF4-FFF2-40B4-BE49-F238E27FC236}">
                <a16:creationId xmlns:a16="http://schemas.microsoft.com/office/drawing/2014/main" id="{527854C5-8C21-D1AB-7E04-F771C691CE29}"/>
              </a:ext>
            </a:extLst>
          </p:cNvPr>
          <p:cNvSpPr txBox="1"/>
          <p:nvPr userDrawn="1"/>
        </p:nvSpPr>
        <p:spPr>
          <a:xfrm>
            <a:off x="779780" y="787400"/>
            <a:ext cx="10948670" cy="567463"/>
          </a:xfrm>
          <a:prstGeom prst="rect">
            <a:avLst/>
          </a:prstGeom>
        </p:spPr>
        <p:txBody>
          <a:bodyPr vert="horz" wrap="square" lIns="0" tIns="13335" rIns="0" bIns="0" rtlCol="0">
            <a:spAutoFit/>
          </a:bodyPr>
          <a:lstStyle/>
          <a:p>
            <a:pPr marL="12700">
              <a:lnSpc>
                <a:spcPct val="100000"/>
              </a:lnSpc>
              <a:spcBef>
                <a:spcPts val="105"/>
              </a:spcBef>
            </a:pPr>
            <a:r>
              <a:rPr lang="en-US" sz="3600" spc="-30">
                <a:solidFill>
                  <a:srgbClr val="FFFFFF"/>
                </a:solidFill>
                <a:latin typeface="Ubuntu Mono" panose="020B0509030602030204" pitchFamily="49" charset="0"/>
                <a:cs typeface="Ubuntu"/>
              </a:rPr>
              <a:t>Thinking about…</a:t>
            </a:r>
            <a:endParaRPr lang="en-US" sz="3600">
              <a:latin typeface="Ubuntu"/>
              <a:cs typeface="Ubuntu"/>
            </a:endParaRPr>
          </a:p>
        </p:txBody>
      </p:sp>
      <p:sp>
        <p:nvSpPr>
          <p:cNvPr id="15" name="Marcador de texto 14">
            <a:extLst>
              <a:ext uri="{FF2B5EF4-FFF2-40B4-BE49-F238E27FC236}">
                <a16:creationId xmlns:a16="http://schemas.microsoft.com/office/drawing/2014/main" id="{894536B8-BEFF-96E8-2A83-A0B97363D840}"/>
              </a:ext>
            </a:extLst>
          </p:cNvPr>
          <p:cNvSpPr>
            <a:spLocks noGrp="1"/>
          </p:cNvSpPr>
          <p:nvPr>
            <p:ph type="body" sz="quarter" idx="10"/>
          </p:nvPr>
        </p:nvSpPr>
        <p:spPr>
          <a:xfrm>
            <a:off x="755650" y="2754313"/>
            <a:ext cx="10996613" cy="7326819"/>
          </a:xfrm>
          <a:prstGeom prst="rect">
            <a:avLst/>
          </a:prstGeom>
        </p:spPr>
        <p:txBody>
          <a:bodyPr/>
          <a:lstStyle>
            <a:lvl1pPr>
              <a:defRPr sz="2900" b="0" i="0">
                <a:solidFill>
                  <a:schemeClr val="bg1"/>
                </a:solidFill>
                <a:latin typeface="Ubuntu Light" panose="020B0304030602030204" pitchFamily="34" charset="0"/>
              </a:defRPr>
            </a:lvl1pPr>
            <a:lvl2pPr>
              <a:defRPr sz="2900" b="0" i="0">
                <a:solidFill>
                  <a:schemeClr val="bg1"/>
                </a:solidFill>
                <a:latin typeface="Ubuntu Light" panose="020B0304030602030204" pitchFamily="34" charset="0"/>
              </a:defRPr>
            </a:lvl2pPr>
            <a:lvl3pPr>
              <a:defRPr sz="2900" b="0" i="0">
                <a:solidFill>
                  <a:schemeClr val="bg1"/>
                </a:solidFill>
                <a:latin typeface="Ubuntu Light" panose="020B0304030602030204" pitchFamily="34" charset="0"/>
              </a:defRPr>
            </a:lvl3pPr>
            <a:lvl4pPr>
              <a:defRPr sz="2900" b="0" i="0">
                <a:solidFill>
                  <a:schemeClr val="bg1"/>
                </a:solidFill>
                <a:latin typeface="Ubuntu Light" panose="020B0304030602030204" pitchFamily="34" charset="0"/>
              </a:defRPr>
            </a:lvl4pPr>
            <a:lvl5pPr>
              <a:defRPr sz="2900" b="0" i="0">
                <a:solidFill>
                  <a:schemeClr val="bg1"/>
                </a:solidFill>
                <a:latin typeface="Ubuntu Light" panose="020B0304030602030204" pitchFamily="34" charset="0"/>
              </a:defRPr>
            </a:lvl5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Tree>
    <p:extLst>
      <p:ext uri="{BB962C8B-B14F-4D97-AF65-F5344CB8AC3E}">
        <p14:creationId xmlns:p14="http://schemas.microsoft.com/office/powerpoint/2010/main" val="194968756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Cover9">
    <p:spTree>
      <p:nvGrpSpPr>
        <p:cNvPr id="1" name=""/>
        <p:cNvGrpSpPr/>
        <p:nvPr/>
      </p:nvGrpSpPr>
      <p:grpSpPr>
        <a:xfrm>
          <a:off x="0" y="0"/>
          <a:ext cx="0" cy="0"/>
          <a:chOff x="0" y="0"/>
          <a:chExt cx="0" cy="0"/>
        </a:xfrm>
      </p:grpSpPr>
      <p:sp>
        <p:nvSpPr>
          <p:cNvPr id="13" name="Freeform 12"/>
          <p:cNvSpPr/>
          <p:nvPr userDrawn="1"/>
        </p:nvSpPr>
        <p:spPr>
          <a:xfrm>
            <a:off x="0" y="4"/>
            <a:ext cx="14287894" cy="9731345"/>
          </a:xfrm>
          <a:custGeom>
            <a:avLst/>
            <a:gdLst>
              <a:gd name="connsiteX0" fmla="*/ 0 w 8664800"/>
              <a:gd name="connsiteY0" fmla="*/ 0 h 5891173"/>
              <a:gd name="connsiteX1" fmla="*/ 8664800 w 8664800"/>
              <a:gd name="connsiteY1" fmla="*/ 0 h 5891173"/>
              <a:gd name="connsiteX2" fmla="*/ 8664384 w 8664800"/>
              <a:gd name="connsiteY2" fmla="*/ 3446 h 5891173"/>
              <a:gd name="connsiteX3" fmla="*/ 4910849 w 8664800"/>
              <a:gd name="connsiteY3" fmla="*/ 5752723 h 5891173"/>
              <a:gd name="connsiteX4" fmla="*/ 136189 w 8664800"/>
              <a:gd name="connsiteY4" fmla="*/ 3904223 h 5891173"/>
              <a:gd name="connsiteX5" fmla="*/ 0 w 8664800"/>
              <a:gd name="connsiteY5" fmla="*/ 3851498 h 5891173"/>
              <a:gd name="connsiteX6" fmla="*/ 0 w 8664800"/>
              <a:gd name="connsiteY6" fmla="*/ 0 h 5891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64800" h="5891173">
                <a:moveTo>
                  <a:pt x="0" y="0"/>
                </a:moveTo>
                <a:lnTo>
                  <a:pt x="8664800" y="0"/>
                </a:lnTo>
                <a:lnTo>
                  <a:pt x="8664384" y="3446"/>
                </a:lnTo>
                <a:cubicBezTo>
                  <a:pt x="8546736" y="969909"/>
                  <a:pt x="7776240" y="6862054"/>
                  <a:pt x="4910849" y="5752723"/>
                </a:cubicBezTo>
                <a:cubicBezTo>
                  <a:pt x="2738090" y="4911543"/>
                  <a:pt x="1210368" y="4320089"/>
                  <a:pt x="136189" y="3904223"/>
                </a:cubicBezTo>
                <a:lnTo>
                  <a:pt x="0" y="3851498"/>
                </a:ln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1"/>
          <p:cNvSpPr>
            <a:spLocks noGrp="1"/>
          </p:cNvSpPr>
          <p:nvPr>
            <p:ph type="ctrTitle" hasCustomPrompt="1"/>
          </p:nvPr>
        </p:nvSpPr>
        <p:spPr>
          <a:xfrm>
            <a:off x="672755" y="2382273"/>
            <a:ext cx="8191913" cy="11905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4947"/>
              </a:lnSpc>
              <a:defRPr lang="en-US" sz="4287" b="0" dirty="0">
                <a:solidFill>
                  <a:schemeClr val="bg1"/>
                </a:solidFill>
              </a:defRPr>
            </a:lvl1pPr>
          </a:lstStyle>
          <a:p>
            <a:pPr marL="0" lvl="0"/>
            <a:r>
              <a:rPr lang="en-US"/>
              <a:t>Title of Presentation</a:t>
            </a:r>
          </a:p>
        </p:txBody>
      </p:sp>
      <p:sp>
        <p:nvSpPr>
          <p:cNvPr id="9" name="Subtitle 2"/>
          <p:cNvSpPr>
            <a:spLocks noGrp="1"/>
          </p:cNvSpPr>
          <p:nvPr>
            <p:ph type="subTitle" idx="1" hasCustomPrompt="1"/>
          </p:nvPr>
        </p:nvSpPr>
        <p:spPr>
          <a:xfrm>
            <a:off x="672755" y="3892725"/>
            <a:ext cx="8191913" cy="20218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1507846" rtl="0" eaLnBrk="1" fontAlgn="auto" latinLnBrk="0" hangingPunct="1">
              <a:lnSpc>
                <a:spcPts val="2968"/>
              </a:lnSpc>
              <a:spcBef>
                <a:spcPts val="0"/>
              </a:spcBef>
              <a:spcAft>
                <a:spcPts val="0"/>
              </a:spcAft>
              <a:buClrTx/>
              <a:buSzTx/>
              <a:buFont typeface="Arial" panose="020B0604020202020204" pitchFamily="34" charset="0"/>
              <a:buNone/>
              <a:tabLst/>
              <a:defRPr lang="en-US" sz="2638" dirty="0">
                <a:solidFill>
                  <a:schemeClr val="bg1"/>
                </a:solidFill>
              </a:defRPr>
            </a:lvl1pPr>
          </a:lstStyle>
          <a:p>
            <a:pPr marL="0" lvl="0"/>
            <a:r>
              <a:rPr lang="en-US"/>
              <a:t>Sub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6890336" y="679706"/>
            <a:ext cx="2600965" cy="1355257"/>
          </a:xfrm>
          <a:prstGeom prst="rect">
            <a:avLst/>
          </a:prstGeom>
        </p:spPr>
      </p:pic>
      <p:pic>
        <p:nvPicPr>
          <p:cNvPr id="7" name="Gráfico 6" descr="Inicio">
            <a:hlinkClick r:id="rId3" action="ppaction://hlinksldjump" tooltip="Inicio"/>
            <a:extLst>
              <a:ext uri="{FF2B5EF4-FFF2-40B4-BE49-F238E27FC236}">
                <a16:creationId xmlns:a16="http://schemas.microsoft.com/office/drawing/2014/main" id="{E0F5929C-8B91-4101-B688-C211841BA5FD}"/>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7116710" y="10782089"/>
            <a:ext cx="409220" cy="382908"/>
          </a:xfrm>
          <a:prstGeom prst="rect">
            <a:avLst/>
          </a:prstGeom>
        </p:spPr>
      </p:pic>
      <p:pic>
        <p:nvPicPr>
          <p:cNvPr id="10" name="Gráfico 9" descr="Marca de verificación">
            <a:hlinkClick r:id="" action="ppaction://noaction"/>
            <a:extLst>
              <a:ext uri="{FF2B5EF4-FFF2-40B4-BE49-F238E27FC236}">
                <a16:creationId xmlns:a16="http://schemas.microsoft.com/office/drawing/2014/main" id="{F88F8616-AEC2-4854-89BD-AC6B556C7AD8}"/>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8452954" y="10767559"/>
            <a:ext cx="345848" cy="397437"/>
          </a:xfrm>
          <a:prstGeom prst="rect">
            <a:avLst/>
          </a:prstGeom>
        </p:spPr>
      </p:pic>
      <p:pic>
        <p:nvPicPr>
          <p:cNvPr id="11" name="Gráfico 10" descr="Bombilla y equipo">
            <a:hlinkClick r:id="" action="ppaction://noaction" tooltip="SogetiLabs"/>
            <a:extLst>
              <a:ext uri="{FF2B5EF4-FFF2-40B4-BE49-F238E27FC236}">
                <a16:creationId xmlns:a16="http://schemas.microsoft.com/office/drawing/2014/main" id="{ECA5F55C-9417-4F8E-B9F1-E6130F37D46F}"/>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8047416" y="10815812"/>
            <a:ext cx="345848" cy="323611"/>
          </a:xfrm>
          <a:prstGeom prst="rect">
            <a:avLst/>
          </a:prstGeom>
        </p:spPr>
      </p:pic>
      <p:pic>
        <p:nvPicPr>
          <p:cNvPr id="12" name="Gráfico 11" descr="Repetir">
            <a:hlinkClick r:id="" action="ppaction://noaction"/>
            <a:extLst>
              <a:ext uri="{FF2B5EF4-FFF2-40B4-BE49-F238E27FC236}">
                <a16:creationId xmlns:a16="http://schemas.microsoft.com/office/drawing/2014/main" id="{AA87E377-C68D-4939-BBC1-993A40139208}"/>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17600342" y="10788032"/>
            <a:ext cx="364036" cy="382908"/>
          </a:xfrm>
          <a:prstGeom prst="rect">
            <a:avLst/>
          </a:prstGeom>
        </p:spPr>
      </p:pic>
      <p:pic>
        <p:nvPicPr>
          <p:cNvPr id="14" name="Gráfico 13" descr="Discurso">
            <a:hlinkClick r:id="rId12" action="ppaction://hlinksldjump" tooltip="Customer stories"/>
            <a:extLst>
              <a:ext uri="{FF2B5EF4-FFF2-40B4-BE49-F238E27FC236}">
                <a16:creationId xmlns:a16="http://schemas.microsoft.com/office/drawing/2014/main" id="{3F128F30-EC08-40D5-8C7D-2EB60261BE9E}"/>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9399330" y="10788032"/>
            <a:ext cx="406455" cy="455011"/>
          </a:xfrm>
          <a:prstGeom prst="rect">
            <a:avLst/>
          </a:prstGeom>
        </p:spPr>
      </p:pic>
      <p:pic>
        <p:nvPicPr>
          <p:cNvPr id="15" name="Gráfico 14" descr="Diseño web">
            <a:hlinkClick r:id="" action="ppaction://noaction"/>
            <a:extLst>
              <a:ext uri="{FF2B5EF4-FFF2-40B4-BE49-F238E27FC236}">
                <a16:creationId xmlns:a16="http://schemas.microsoft.com/office/drawing/2014/main" id="{673516F4-B3A4-46B6-976B-1C660604808A}"/>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a:off x="18895257" y="10777216"/>
            <a:ext cx="407618" cy="408333"/>
          </a:xfrm>
          <a:prstGeom prst="rect">
            <a:avLst/>
          </a:prstGeom>
        </p:spPr>
      </p:pic>
    </p:spTree>
    <p:extLst>
      <p:ext uri="{BB962C8B-B14F-4D97-AF65-F5344CB8AC3E}">
        <p14:creationId xmlns:p14="http://schemas.microsoft.com/office/powerpoint/2010/main" val="298093170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2618" y="2624"/>
          <a:ext cx="2617" cy="2621"/>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18" y="2624"/>
                        <a:ext cx="2617" cy="262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s-ES"/>
              <a:t>Haga clic para modificar el estilo de título del patrón</a:t>
            </a:r>
            <a:endParaRPr lang="en-GB"/>
          </a:p>
        </p:txBody>
      </p:sp>
    </p:spTree>
    <p:extLst>
      <p:ext uri="{BB962C8B-B14F-4D97-AF65-F5344CB8AC3E}">
        <p14:creationId xmlns:p14="http://schemas.microsoft.com/office/powerpoint/2010/main" val="269731452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3_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672754" y="3321224"/>
            <a:ext cx="9141085" cy="7338486"/>
          </a:xfrm>
          <a:prstGeom prst="rect">
            <a:avLst/>
          </a:prstGeom>
        </p:spPr>
        <p:txBody>
          <a:bodyPr>
            <a:noAutofit/>
          </a:bodyPr>
          <a:lstStyle>
            <a:lvl1pPr>
              <a:lnSpc>
                <a:spcPct val="100000"/>
              </a:lnSpc>
              <a:defRPr sz="2309">
                <a:solidFill>
                  <a:schemeClr val="tx1"/>
                </a:solidFill>
              </a:defRPr>
            </a:lvl1pPr>
            <a:lvl2pPr>
              <a:lnSpc>
                <a:spcPct val="100000"/>
              </a:lnSpc>
              <a:defRPr sz="1979"/>
            </a:lvl2pPr>
            <a:lvl3pPr>
              <a:lnSpc>
                <a:spcPct val="100000"/>
              </a:lnSpc>
              <a:defRPr sz="1979"/>
            </a:lvl3pPr>
            <a:lvl4pPr>
              <a:lnSpc>
                <a:spcPct val="100000"/>
              </a:lnSpc>
              <a:defRPr sz="1979"/>
            </a:lvl4pPr>
            <a:lvl5pPr>
              <a:lnSpc>
                <a:spcPct val="100000"/>
              </a:lnSpc>
              <a:defRPr sz="1979"/>
            </a:lvl5pPr>
          </a:lstStyle>
          <a:p>
            <a:pPr lvl="0"/>
            <a:r>
              <a:rPr lang="en-US"/>
              <a:t>Click to insert long text</a:t>
            </a:r>
          </a:p>
        </p:txBody>
      </p:sp>
      <p:sp>
        <p:nvSpPr>
          <p:cNvPr id="11" name="Text Placeholder 7">
            <a:extLst>
              <a:ext uri="{FF2B5EF4-FFF2-40B4-BE49-F238E27FC236}">
                <a16:creationId xmlns:a16="http://schemas.microsoft.com/office/drawing/2014/main" id="{4F279807-494A-45DD-A5C6-24F625316B92}"/>
              </a:ext>
            </a:extLst>
          </p:cNvPr>
          <p:cNvSpPr>
            <a:spLocks noGrp="1"/>
          </p:cNvSpPr>
          <p:nvPr>
            <p:ph type="body" sz="quarter" idx="11" hasCustomPrompt="1"/>
          </p:nvPr>
        </p:nvSpPr>
        <p:spPr>
          <a:xfrm>
            <a:off x="10290267" y="3321223"/>
            <a:ext cx="9096386" cy="7336489"/>
          </a:xfrm>
          <a:prstGeom prst="rect">
            <a:avLst/>
          </a:prstGeom>
        </p:spPr>
        <p:txBody>
          <a:bodyPr>
            <a:noAutofit/>
          </a:bodyPr>
          <a:lstStyle>
            <a:lvl1pPr>
              <a:lnSpc>
                <a:spcPct val="100000"/>
              </a:lnSpc>
              <a:defRPr sz="2309">
                <a:solidFill>
                  <a:schemeClr val="tx1"/>
                </a:solidFill>
              </a:defRPr>
            </a:lvl1pPr>
            <a:lvl2pPr>
              <a:lnSpc>
                <a:spcPct val="100000"/>
              </a:lnSpc>
              <a:defRPr sz="1979"/>
            </a:lvl2pPr>
            <a:lvl3pPr>
              <a:lnSpc>
                <a:spcPct val="100000"/>
              </a:lnSpc>
              <a:defRPr sz="1979"/>
            </a:lvl3pPr>
            <a:lvl4pPr>
              <a:lnSpc>
                <a:spcPct val="100000"/>
              </a:lnSpc>
              <a:defRPr sz="1979"/>
            </a:lvl4pPr>
            <a:lvl5pPr>
              <a:lnSpc>
                <a:spcPct val="100000"/>
              </a:lnSpc>
              <a:defRPr sz="1979"/>
            </a:lvl5pPr>
          </a:lstStyle>
          <a:p>
            <a:pPr lvl="0"/>
            <a:r>
              <a:rPr lang="en-US"/>
              <a:t>Click to insert long text</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672754" y="2347265"/>
            <a:ext cx="9141085" cy="724327"/>
          </a:xfrm>
          <a:prstGeom prst="rect">
            <a:avLst/>
          </a:prstGeom>
        </p:spPr>
        <p:txBody>
          <a:bodyPr>
            <a:noAutofit/>
          </a:bodyPr>
          <a:lstStyle>
            <a:lvl1pPr>
              <a:lnSpc>
                <a:spcPts val="3628"/>
              </a:lnSpc>
              <a:defRPr sz="2968" b="0">
                <a:solidFill>
                  <a:srgbClr val="12ABDB"/>
                </a:solidFill>
              </a:defRPr>
            </a:lvl1pPr>
            <a:lvl2pPr>
              <a:lnSpc>
                <a:spcPct val="100000"/>
              </a:lnSpc>
              <a:defRPr sz="1979"/>
            </a:lvl2pPr>
            <a:lvl3pPr>
              <a:lnSpc>
                <a:spcPct val="100000"/>
              </a:lnSpc>
              <a:defRPr sz="1979"/>
            </a:lvl3pPr>
            <a:lvl4pPr>
              <a:lnSpc>
                <a:spcPct val="100000"/>
              </a:lnSpc>
              <a:defRPr sz="1979"/>
            </a:lvl4pPr>
            <a:lvl5pPr>
              <a:lnSpc>
                <a:spcPct val="100000"/>
              </a:lnSpc>
              <a:defRPr sz="1979"/>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10290267" y="2347265"/>
            <a:ext cx="9096386" cy="724327"/>
          </a:xfrm>
          <a:prstGeom prst="rect">
            <a:avLst/>
          </a:prstGeom>
        </p:spPr>
        <p:txBody>
          <a:bodyPr>
            <a:noAutofit/>
          </a:bodyPr>
          <a:lstStyle>
            <a:lvl1pPr>
              <a:lnSpc>
                <a:spcPts val="3628"/>
              </a:lnSpc>
              <a:defRPr sz="2968" b="0">
                <a:solidFill>
                  <a:srgbClr val="12ABDB"/>
                </a:solidFill>
              </a:defRPr>
            </a:lvl1pPr>
            <a:lvl2pPr>
              <a:lnSpc>
                <a:spcPct val="100000"/>
              </a:lnSpc>
              <a:defRPr sz="1979"/>
            </a:lvl2pPr>
            <a:lvl3pPr>
              <a:lnSpc>
                <a:spcPct val="100000"/>
              </a:lnSpc>
              <a:defRPr sz="1979"/>
            </a:lvl3pPr>
            <a:lvl4pPr>
              <a:lnSpc>
                <a:spcPct val="100000"/>
              </a:lnSpc>
              <a:defRPr sz="1979"/>
            </a:lvl4pPr>
            <a:lvl5pPr>
              <a:lnSpc>
                <a:spcPct val="100000"/>
              </a:lnSpc>
              <a:defRPr sz="1979"/>
            </a:lvl5pPr>
          </a:lstStyle>
          <a:p>
            <a:pPr lvl="0"/>
            <a:r>
              <a:rPr lang="en-US"/>
              <a:t>Click to insert title</a:t>
            </a:r>
          </a:p>
        </p:txBody>
      </p:sp>
      <p:sp>
        <p:nvSpPr>
          <p:cNvPr id="9" name="Title Placeholder 1">
            <a:extLst>
              <a:ext uri="{FF2B5EF4-FFF2-40B4-BE49-F238E27FC236}">
                <a16:creationId xmlns:a16="http://schemas.microsoft.com/office/drawing/2014/main" id="{6733E381-C11A-4F10-88ED-DDEA4B9167E2}"/>
              </a:ext>
            </a:extLst>
          </p:cNvPr>
          <p:cNvSpPr>
            <a:spLocks noGrp="1"/>
          </p:cNvSpPr>
          <p:nvPr>
            <p:ph type="title" hasCustomPrompt="1"/>
          </p:nvPr>
        </p:nvSpPr>
        <p:spPr>
          <a:xfrm>
            <a:off x="672755" y="668691"/>
            <a:ext cx="18047183" cy="1428941"/>
          </a:xfrm>
          <a:prstGeom prst="rect">
            <a:avLst/>
          </a:prstGeom>
        </p:spPr>
        <p:txBody>
          <a:bodyPr vert="horz" lIns="0" tIns="0" rIns="0" bIns="0" rtlCol="0" anchor="t">
            <a:normAutofit/>
          </a:bodyPr>
          <a:lstStyle>
            <a:lvl1pPr>
              <a:defRPr lang="pt-PT" sz="3958" dirty="0">
                <a:solidFill>
                  <a:schemeClr val="tx2"/>
                </a:solidFill>
                <a:latin typeface="Ubuntu" panose="020B0504030602030204" pitchFamily="34" charset="0"/>
              </a:defRPr>
            </a:lvl1pPr>
          </a:lstStyle>
          <a:p>
            <a:pPr lvl="0">
              <a:lnSpc>
                <a:spcPts val="4947"/>
              </a:lnSpc>
            </a:pPr>
            <a:r>
              <a:rPr lang="en-US"/>
              <a:t>Click to insert title</a:t>
            </a:r>
            <a:endParaRPr lang="pt-PT"/>
          </a:p>
        </p:txBody>
      </p:sp>
      <p:sp>
        <p:nvSpPr>
          <p:cNvPr id="16" name="Retângulo 43">
            <a:extLst>
              <a:ext uri="{FF2B5EF4-FFF2-40B4-BE49-F238E27FC236}">
                <a16:creationId xmlns:a16="http://schemas.microsoft.com/office/drawing/2014/main" id="{25FC8637-25BD-4C09-AF25-56B4243DAB3D}"/>
              </a:ext>
            </a:extLst>
          </p:cNvPr>
          <p:cNvSpPr/>
          <p:nvPr userDrawn="1"/>
        </p:nvSpPr>
        <p:spPr>
          <a:xfrm>
            <a:off x="19349792" y="10829142"/>
            <a:ext cx="481221" cy="295337"/>
          </a:xfrm>
          <a:prstGeom prst="rect">
            <a:avLst/>
          </a:prstGeom>
        </p:spPr>
        <p:txBody>
          <a:bodyPr wrap="none">
            <a:spAutoFit/>
          </a:bodyPr>
          <a:lstStyle/>
          <a:p>
            <a:pPr algn="r"/>
            <a:fld id="{0502E5A9-B53C-401E-A0E0-4A359BB0A9E5}" type="slidenum">
              <a:rPr lang="en-US" sz="1319" smtClean="0">
                <a:solidFill>
                  <a:prstClr val="black">
                    <a:lumMod val="50000"/>
                    <a:lumOff val="50000"/>
                  </a:prstClr>
                </a:solidFill>
                <a:cs typeface="Arial" panose="020B0604020202020204" pitchFamily="34" charset="0"/>
              </a:rPr>
              <a:t>‹#›</a:t>
            </a:fld>
            <a:endParaRPr lang="en-US" sz="1319">
              <a:solidFill>
                <a:prstClr val="black">
                  <a:lumMod val="50000"/>
                  <a:lumOff val="50000"/>
                </a:prstClr>
              </a:solidFill>
              <a:cs typeface="Arial" panose="020B0604020202020204" pitchFamily="34" charset="0"/>
            </a:endParaRPr>
          </a:p>
        </p:txBody>
      </p:sp>
      <p:sp>
        <p:nvSpPr>
          <p:cNvPr id="26" name="Retângulo 43">
            <a:extLst>
              <a:ext uri="{FF2B5EF4-FFF2-40B4-BE49-F238E27FC236}">
                <a16:creationId xmlns:a16="http://schemas.microsoft.com/office/drawing/2014/main" id="{834ADCB4-BFB1-450D-8F6D-64217F4CD92C}"/>
              </a:ext>
            </a:extLst>
          </p:cNvPr>
          <p:cNvSpPr/>
          <p:nvPr userDrawn="1"/>
        </p:nvSpPr>
        <p:spPr>
          <a:xfrm>
            <a:off x="698255" y="10829141"/>
            <a:ext cx="4274077" cy="362509"/>
          </a:xfrm>
          <a:prstGeom prst="rect">
            <a:avLst/>
          </a:prstGeom>
        </p:spPr>
        <p:txBody>
          <a:bodyPr wrap="none" lIns="0" tIns="0" rIns="0" bIns="0" anchor="ctr">
            <a:noAutofit/>
          </a:bodyPr>
          <a:lstStyle/>
          <a:p>
            <a:pPr>
              <a:lnSpc>
                <a:spcPct val="100000"/>
              </a:lnSpc>
            </a:pPr>
            <a:r>
              <a:rPr lang="en-US" sz="1319">
                <a:solidFill>
                  <a:schemeClr val="bg2">
                    <a:lumMod val="50000"/>
                  </a:schemeClr>
                </a:solidFill>
                <a:cs typeface="Arial" panose="020B0604020202020204" pitchFamily="34" charset="0"/>
              </a:rPr>
              <a:t>© 2019 Sogeti. All rights reserved.</a:t>
            </a:r>
          </a:p>
        </p:txBody>
      </p:sp>
      <p:pic>
        <p:nvPicPr>
          <p:cNvPr id="17" name="Imagen 16">
            <a:extLst>
              <a:ext uri="{FF2B5EF4-FFF2-40B4-BE49-F238E27FC236}">
                <a16:creationId xmlns:a16="http://schemas.microsoft.com/office/drawing/2014/main" id="{B19D9FA0-2C4F-C34D-8626-CD98EE45060D}"/>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7545396" y="503485"/>
            <a:ext cx="1962528" cy="1019036"/>
          </a:xfrm>
          <a:prstGeom prst="rect">
            <a:avLst/>
          </a:prstGeom>
        </p:spPr>
      </p:pic>
    </p:spTree>
    <p:extLst>
      <p:ext uri="{BB962C8B-B14F-4D97-AF65-F5344CB8AC3E}">
        <p14:creationId xmlns:p14="http://schemas.microsoft.com/office/powerpoint/2010/main" val="172842627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Cover6">
    <p:spTree>
      <p:nvGrpSpPr>
        <p:cNvPr id="1" name=""/>
        <p:cNvGrpSpPr/>
        <p:nvPr/>
      </p:nvGrpSpPr>
      <p:grpSpPr>
        <a:xfrm>
          <a:off x="0" y="0"/>
          <a:ext cx="0" cy="0"/>
          <a:chOff x="0" y="0"/>
          <a:chExt cx="0" cy="0"/>
        </a:xfrm>
      </p:grpSpPr>
      <p:sp>
        <p:nvSpPr>
          <p:cNvPr id="17" name="Freeform 16"/>
          <p:cNvSpPr/>
          <p:nvPr userDrawn="1"/>
        </p:nvSpPr>
        <p:spPr>
          <a:xfrm>
            <a:off x="-37904" y="0"/>
            <a:ext cx="10262960" cy="11328400"/>
          </a:xfrm>
          <a:custGeom>
            <a:avLst/>
            <a:gdLst>
              <a:gd name="connsiteX0" fmla="*/ 0 w 6223905"/>
              <a:gd name="connsiteY0" fmla="*/ 0 h 6858000"/>
              <a:gd name="connsiteX1" fmla="*/ 4186882 w 6223905"/>
              <a:gd name="connsiteY1" fmla="*/ 0 h 6858000"/>
              <a:gd name="connsiteX2" fmla="*/ 4197034 w 6223905"/>
              <a:gd name="connsiteY2" fmla="*/ 22340 h 6858000"/>
              <a:gd name="connsiteX3" fmla="*/ 5904357 w 6223905"/>
              <a:gd name="connsiteY3" fmla="*/ 3779388 h 6858000"/>
              <a:gd name="connsiteX4" fmla="*/ 5873730 w 6223905"/>
              <a:gd name="connsiteY4" fmla="*/ 6784163 h 6858000"/>
              <a:gd name="connsiteX5" fmla="*/ 5834113 w 6223905"/>
              <a:gd name="connsiteY5" fmla="*/ 6858000 h 6858000"/>
              <a:gd name="connsiteX6" fmla="*/ 0 w 6223905"/>
              <a:gd name="connsiteY6" fmla="*/ 6858000 h 6858000"/>
              <a:gd name="connsiteX7" fmla="*/ 0 w 6223905"/>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23905" h="6858000">
                <a:moveTo>
                  <a:pt x="0" y="0"/>
                </a:moveTo>
                <a:lnTo>
                  <a:pt x="4186882" y="0"/>
                </a:lnTo>
                <a:lnTo>
                  <a:pt x="4197034" y="22340"/>
                </a:lnTo>
                <a:cubicBezTo>
                  <a:pt x="5904357" y="3779388"/>
                  <a:pt x="5904357" y="3779388"/>
                  <a:pt x="5904357" y="3779388"/>
                </a:cubicBezTo>
                <a:cubicBezTo>
                  <a:pt x="6352858" y="4766336"/>
                  <a:pt x="6316954" y="5863968"/>
                  <a:pt x="5873730" y="6784163"/>
                </a:cubicBezTo>
                <a:lnTo>
                  <a:pt x="5834113" y="6858000"/>
                </a:lnTo>
                <a:lnTo>
                  <a:pt x="0" y="6858000"/>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6890336" y="679706"/>
            <a:ext cx="2600965" cy="1355257"/>
          </a:xfrm>
          <a:prstGeom prst="rect">
            <a:avLst/>
          </a:prstGeom>
        </p:spPr>
      </p:pic>
      <p:sp>
        <p:nvSpPr>
          <p:cNvPr id="20" name="Title 1"/>
          <p:cNvSpPr>
            <a:spLocks noGrp="1"/>
          </p:cNvSpPr>
          <p:nvPr>
            <p:ph type="ctrTitle" hasCustomPrompt="1"/>
          </p:nvPr>
        </p:nvSpPr>
        <p:spPr>
          <a:xfrm>
            <a:off x="672755" y="4153749"/>
            <a:ext cx="8191913" cy="11905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4947"/>
              </a:lnSpc>
              <a:defRPr lang="en-US" sz="4287" b="0" dirty="0">
                <a:solidFill>
                  <a:schemeClr val="bg1"/>
                </a:solidFill>
              </a:defRPr>
            </a:lvl1pPr>
          </a:lstStyle>
          <a:p>
            <a:pPr marL="0" lvl="0"/>
            <a:r>
              <a:rPr lang="en-US"/>
              <a:t>Title of Presentation</a:t>
            </a:r>
          </a:p>
        </p:txBody>
      </p:sp>
      <p:sp>
        <p:nvSpPr>
          <p:cNvPr id="21" name="Subtitle 2"/>
          <p:cNvSpPr>
            <a:spLocks noGrp="1"/>
          </p:cNvSpPr>
          <p:nvPr>
            <p:ph type="subTitle" idx="1" hasCustomPrompt="1"/>
          </p:nvPr>
        </p:nvSpPr>
        <p:spPr>
          <a:xfrm>
            <a:off x="672755" y="5664201"/>
            <a:ext cx="8191913" cy="20218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1507846" rtl="0" eaLnBrk="1" fontAlgn="auto" latinLnBrk="0" hangingPunct="1">
              <a:lnSpc>
                <a:spcPts val="2968"/>
              </a:lnSpc>
              <a:spcBef>
                <a:spcPts val="0"/>
              </a:spcBef>
              <a:spcAft>
                <a:spcPts val="0"/>
              </a:spcAft>
              <a:buClrTx/>
              <a:buSzTx/>
              <a:buFont typeface="Arial" panose="020B0604020202020204" pitchFamily="34" charset="0"/>
              <a:buNone/>
              <a:tabLst/>
              <a:defRPr lang="en-US" sz="2638" dirty="0">
                <a:solidFill>
                  <a:schemeClr val="bg1"/>
                </a:solidFill>
              </a:defRPr>
            </a:lvl1pPr>
          </a:lstStyle>
          <a:p>
            <a:pPr marL="0" lvl="0"/>
            <a:r>
              <a:rPr lang="en-US"/>
              <a:t>Subtitle</a:t>
            </a:r>
          </a:p>
        </p:txBody>
      </p:sp>
      <p:pic>
        <p:nvPicPr>
          <p:cNvPr id="6" name="Gráfico 5" descr="Inicio">
            <a:hlinkClick r:id="rId3" action="ppaction://hlinksldjump" tooltip="Inicio"/>
            <a:extLst>
              <a:ext uri="{FF2B5EF4-FFF2-40B4-BE49-F238E27FC236}">
                <a16:creationId xmlns:a16="http://schemas.microsoft.com/office/drawing/2014/main" id="{C8636E25-6F90-4AC9-8A93-B5E1A172A33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7116710" y="10782089"/>
            <a:ext cx="409220" cy="382908"/>
          </a:xfrm>
          <a:prstGeom prst="rect">
            <a:avLst/>
          </a:prstGeom>
        </p:spPr>
      </p:pic>
      <p:pic>
        <p:nvPicPr>
          <p:cNvPr id="8" name="Gráfico 7" descr="Marca de verificación">
            <a:hlinkClick r:id="" action="ppaction://noaction"/>
            <a:extLst>
              <a:ext uri="{FF2B5EF4-FFF2-40B4-BE49-F238E27FC236}">
                <a16:creationId xmlns:a16="http://schemas.microsoft.com/office/drawing/2014/main" id="{AE8F1597-EB11-4CF8-BE24-0A78BE848D8D}"/>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8452954" y="10767559"/>
            <a:ext cx="345848" cy="397437"/>
          </a:xfrm>
          <a:prstGeom prst="rect">
            <a:avLst/>
          </a:prstGeom>
        </p:spPr>
      </p:pic>
      <p:pic>
        <p:nvPicPr>
          <p:cNvPr id="9" name="Gráfico 8" descr="Bombilla y equipo">
            <a:hlinkClick r:id="" action="ppaction://noaction" tooltip="SogetiLabs"/>
            <a:extLst>
              <a:ext uri="{FF2B5EF4-FFF2-40B4-BE49-F238E27FC236}">
                <a16:creationId xmlns:a16="http://schemas.microsoft.com/office/drawing/2014/main" id="{2C6248B3-1B43-43F4-9711-E424AEBE9DB4}"/>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8047416" y="10815812"/>
            <a:ext cx="345848" cy="323611"/>
          </a:xfrm>
          <a:prstGeom prst="rect">
            <a:avLst/>
          </a:prstGeom>
        </p:spPr>
      </p:pic>
      <p:pic>
        <p:nvPicPr>
          <p:cNvPr id="10" name="Gráfico 9" descr="Repetir">
            <a:hlinkClick r:id="" action="ppaction://noaction"/>
            <a:extLst>
              <a:ext uri="{FF2B5EF4-FFF2-40B4-BE49-F238E27FC236}">
                <a16:creationId xmlns:a16="http://schemas.microsoft.com/office/drawing/2014/main" id="{4E39A8FE-8667-4964-AF25-84D968FB2032}"/>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17600342" y="10788032"/>
            <a:ext cx="364036" cy="382908"/>
          </a:xfrm>
          <a:prstGeom prst="rect">
            <a:avLst/>
          </a:prstGeom>
        </p:spPr>
      </p:pic>
      <p:pic>
        <p:nvPicPr>
          <p:cNvPr id="11" name="Gráfico 10" descr="Discurso">
            <a:hlinkClick r:id="rId12" action="ppaction://hlinksldjump" tooltip="Customer stories"/>
            <a:extLst>
              <a:ext uri="{FF2B5EF4-FFF2-40B4-BE49-F238E27FC236}">
                <a16:creationId xmlns:a16="http://schemas.microsoft.com/office/drawing/2014/main" id="{6CEA90CE-49BD-43ED-AC34-0DDE64B68213}"/>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9399330" y="10788032"/>
            <a:ext cx="406455" cy="455011"/>
          </a:xfrm>
          <a:prstGeom prst="rect">
            <a:avLst/>
          </a:prstGeom>
        </p:spPr>
      </p:pic>
      <p:pic>
        <p:nvPicPr>
          <p:cNvPr id="12" name="Gráfico 11" descr="Diseño web">
            <a:hlinkClick r:id="" action="ppaction://noaction"/>
            <a:extLst>
              <a:ext uri="{FF2B5EF4-FFF2-40B4-BE49-F238E27FC236}">
                <a16:creationId xmlns:a16="http://schemas.microsoft.com/office/drawing/2014/main" id="{DBA00EC1-FEF2-4105-B87D-E05F9616D524}"/>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a:off x="18895257" y="10777216"/>
            <a:ext cx="407618" cy="408333"/>
          </a:xfrm>
          <a:prstGeom prst="rect">
            <a:avLst/>
          </a:prstGeom>
        </p:spPr>
      </p:pic>
    </p:spTree>
    <p:extLst>
      <p:ext uri="{BB962C8B-B14F-4D97-AF65-F5344CB8AC3E}">
        <p14:creationId xmlns:p14="http://schemas.microsoft.com/office/powerpoint/2010/main" val="260691339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0745408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Section Opener4">
    <p:spTree>
      <p:nvGrpSpPr>
        <p:cNvPr id="1" name=""/>
        <p:cNvGrpSpPr/>
        <p:nvPr/>
      </p:nvGrpSpPr>
      <p:grpSpPr>
        <a:xfrm>
          <a:off x="0" y="0"/>
          <a:ext cx="0" cy="0"/>
          <a:chOff x="0" y="0"/>
          <a:chExt cx="0" cy="0"/>
        </a:xfrm>
      </p:grpSpPr>
      <p:sp>
        <p:nvSpPr>
          <p:cNvPr id="6" name="Freeform 5"/>
          <p:cNvSpPr/>
          <p:nvPr userDrawn="1"/>
        </p:nvSpPr>
        <p:spPr>
          <a:xfrm>
            <a:off x="0" y="0"/>
            <a:ext cx="20106118" cy="6434789"/>
          </a:xfrm>
          <a:custGeom>
            <a:avLst/>
            <a:gdLst>
              <a:gd name="connsiteX0" fmla="*/ 0 w 12193224"/>
              <a:gd name="connsiteY0" fmla="*/ 0 h 3895500"/>
              <a:gd name="connsiteX1" fmla="*/ 12193224 w 12193224"/>
              <a:gd name="connsiteY1" fmla="*/ 0 h 3895500"/>
              <a:gd name="connsiteX2" fmla="*/ 12193224 w 12193224"/>
              <a:gd name="connsiteY2" fmla="*/ 246767 h 3895500"/>
              <a:gd name="connsiteX3" fmla="*/ 12193224 w 12193224"/>
              <a:gd name="connsiteY3" fmla="*/ 3895500 h 3895500"/>
              <a:gd name="connsiteX4" fmla="*/ 11695542 w 12193224"/>
              <a:gd name="connsiteY4" fmla="*/ 3812356 h 3895500"/>
              <a:gd name="connsiteX5" fmla="*/ 0 w 12193224"/>
              <a:gd name="connsiteY5" fmla="*/ 1297276 h 3895500"/>
              <a:gd name="connsiteX6" fmla="*/ 0 w 12193224"/>
              <a:gd name="connsiteY6" fmla="*/ 68316 h 3895500"/>
              <a:gd name="connsiteX7" fmla="*/ 0 w 12193224"/>
              <a:gd name="connsiteY7" fmla="*/ 0 h 3895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24" h="3895500">
                <a:moveTo>
                  <a:pt x="0" y="0"/>
                </a:moveTo>
                <a:lnTo>
                  <a:pt x="12193224" y="0"/>
                </a:lnTo>
                <a:lnTo>
                  <a:pt x="12193224" y="246767"/>
                </a:lnTo>
                <a:cubicBezTo>
                  <a:pt x="12193224" y="1325156"/>
                  <a:pt x="12193224" y="2535979"/>
                  <a:pt x="12193224" y="3895500"/>
                </a:cubicBezTo>
                <a:cubicBezTo>
                  <a:pt x="12027332" y="3874712"/>
                  <a:pt x="11861436" y="3853928"/>
                  <a:pt x="11695542" y="3812356"/>
                </a:cubicBezTo>
                <a:cubicBezTo>
                  <a:pt x="7112716" y="3022496"/>
                  <a:pt x="3214200" y="2170279"/>
                  <a:pt x="0" y="1297276"/>
                </a:cubicBezTo>
                <a:cubicBezTo>
                  <a:pt x="0" y="1297276"/>
                  <a:pt x="0" y="1297276"/>
                  <a:pt x="0" y="68316"/>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13">
            <a:extLst>
              <a:ext uri="{FF2B5EF4-FFF2-40B4-BE49-F238E27FC236}">
                <a16:creationId xmlns:a16="http://schemas.microsoft.com/office/drawing/2014/main" id="{5C674D03-4995-4743-8CE4-61CF32CFBDDE}"/>
              </a:ext>
            </a:extLst>
          </p:cNvPr>
          <p:cNvSpPr>
            <a:spLocks noGrp="1"/>
          </p:cNvSpPr>
          <p:nvPr>
            <p:ph type="body" sz="quarter" idx="11" hasCustomPrompt="1"/>
          </p:nvPr>
        </p:nvSpPr>
        <p:spPr>
          <a:xfrm>
            <a:off x="672755" y="4261495"/>
            <a:ext cx="9023080" cy="2805411"/>
          </a:xfrm>
          <a:prstGeom prst="rect">
            <a:avLst/>
          </a:prstGeom>
        </p:spPr>
        <p:txBody>
          <a:bodyPr anchor="b">
            <a:noAutofit/>
          </a:bodyPr>
          <a:lstStyle>
            <a:lvl1pPr marL="0" indent="0">
              <a:lnSpc>
                <a:spcPts val="4947"/>
              </a:lnSpc>
              <a:buNone/>
              <a:defRPr sz="4287">
                <a:solidFill>
                  <a:schemeClr val="accent3"/>
                </a:solidFill>
              </a:defRPr>
            </a:lvl1pPr>
            <a:lvl2pPr marL="753923" indent="0">
              <a:buNone/>
              <a:defRPr sz="9894">
                <a:solidFill>
                  <a:schemeClr val="bg1"/>
                </a:solidFill>
              </a:defRPr>
            </a:lvl2pPr>
          </a:lstStyle>
          <a:p>
            <a:pPr lvl="0"/>
            <a:r>
              <a:rPr lang="en-US"/>
              <a:t>Click to insert section title</a:t>
            </a:r>
            <a:endParaRPr lang="pt-PT"/>
          </a:p>
        </p:txBody>
      </p:sp>
      <p:pic>
        <p:nvPicPr>
          <p:cNvPr id="4" name="Gráfico 3" descr="Inicio">
            <a:hlinkClick r:id="rId2" action="ppaction://hlinksldjump" tooltip="Inicio"/>
            <a:extLst>
              <a:ext uri="{FF2B5EF4-FFF2-40B4-BE49-F238E27FC236}">
                <a16:creationId xmlns:a16="http://schemas.microsoft.com/office/drawing/2014/main" id="{22ECF6C0-8B00-4243-9DF3-5BAB26D539B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7116710" y="10782089"/>
            <a:ext cx="409220" cy="382908"/>
          </a:xfrm>
          <a:prstGeom prst="rect">
            <a:avLst/>
          </a:prstGeom>
        </p:spPr>
      </p:pic>
      <p:pic>
        <p:nvPicPr>
          <p:cNvPr id="5" name="Gráfico 4" descr="Marca de verificación">
            <a:hlinkClick r:id="" action="ppaction://noaction"/>
            <a:extLst>
              <a:ext uri="{FF2B5EF4-FFF2-40B4-BE49-F238E27FC236}">
                <a16:creationId xmlns:a16="http://schemas.microsoft.com/office/drawing/2014/main" id="{21B6B287-3718-48D2-996A-10D037D9B715}"/>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8452954" y="10767559"/>
            <a:ext cx="345848" cy="397437"/>
          </a:xfrm>
          <a:prstGeom prst="rect">
            <a:avLst/>
          </a:prstGeom>
        </p:spPr>
      </p:pic>
      <p:pic>
        <p:nvPicPr>
          <p:cNvPr id="8" name="Gráfico 7" descr="Bombilla y equipo">
            <a:hlinkClick r:id="" action="ppaction://noaction" tooltip="SogetiLabs"/>
            <a:extLst>
              <a:ext uri="{FF2B5EF4-FFF2-40B4-BE49-F238E27FC236}">
                <a16:creationId xmlns:a16="http://schemas.microsoft.com/office/drawing/2014/main" id="{DA33BFB9-6120-4F82-8958-14760FD2DB10}"/>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8047416" y="10815812"/>
            <a:ext cx="345848" cy="323611"/>
          </a:xfrm>
          <a:prstGeom prst="rect">
            <a:avLst/>
          </a:prstGeom>
        </p:spPr>
      </p:pic>
      <p:pic>
        <p:nvPicPr>
          <p:cNvPr id="9" name="Gráfico 8" descr="Repetir">
            <a:hlinkClick r:id="" action="ppaction://noaction"/>
            <a:extLst>
              <a:ext uri="{FF2B5EF4-FFF2-40B4-BE49-F238E27FC236}">
                <a16:creationId xmlns:a16="http://schemas.microsoft.com/office/drawing/2014/main" id="{FC46BFD9-0CA4-420C-AD80-FC22DF52901C}"/>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17600342" y="10788032"/>
            <a:ext cx="364036" cy="382908"/>
          </a:xfrm>
          <a:prstGeom prst="rect">
            <a:avLst/>
          </a:prstGeom>
        </p:spPr>
      </p:pic>
      <p:pic>
        <p:nvPicPr>
          <p:cNvPr id="10" name="Gráfico 9" descr="Discurso">
            <a:hlinkClick r:id="rId11" action="ppaction://hlinksldjump" tooltip="Customer stories"/>
            <a:extLst>
              <a:ext uri="{FF2B5EF4-FFF2-40B4-BE49-F238E27FC236}">
                <a16:creationId xmlns:a16="http://schemas.microsoft.com/office/drawing/2014/main" id="{B23511A4-7324-42A8-80A5-8749330F677A}"/>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19399330" y="10788032"/>
            <a:ext cx="406455" cy="455011"/>
          </a:xfrm>
          <a:prstGeom prst="rect">
            <a:avLst/>
          </a:prstGeom>
        </p:spPr>
      </p:pic>
      <p:pic>
        <p:nvPicPr>
          <p:cNvPr id="11" name="Gráfico 10" descr="Diseño web">
            <a:hlinkClick r:id="" action="ppaction://noaction"/>
            <a:extLst>
              <a:ext uri="{FF2B5EF4-FFF2-40B4-BE49-F238E27FC236}">
                <a16:creationId xmlns:a16="http://schemas.microsoft.com/office/drawing/2014/main" id="{BDB4247C-6E78-4A0F-B0BA-EB061BE3EDC4}"/>
              </a:ext>
            </a:extLst>
          </p:cNvPr>
          <p:cNvPicPr>
            <a:picLocks noChangeAspect="1"/>
          </p:cNvPicPr>
          <p:nvPr userDrawn="1"/>
        </p:nvPicPr>
        <p:blipFill>
          <a:blip r:embed="rId14">
            <a:extLst>
              <a:ext uri="{96DAC541-7B7A-43D3-8B79-37D633B846F1}">
                <asvg:svgBlip xmlns:asvg="http://schemas.microsoft.com/office/drawing/2016/SVG/main" r:embed="rId15"/>
              </a:ext>
            </a:extLst>
          </a:blip>
          <a:stretch>
            <a:fillRect/>
          </a:stretch>
        </p:blipFill>
        <p:spPr>
          <a:xfrm>
            <a:off x="18895257" y="10777216"/>
            <a:ext cx="407618" cy="408333"/>
          </a:xfrm>
          <a:prstGeom prst="rect">
            <a:avLst/>
          </a:prstGeom>
        </p:spPr>
      </p:pic>
    </p:spTree>
    <p:extLst>
      <p:ext uri="{BB962C8B-B14F-4D97-AF65-F5344CB8AC3E}">
        <p14:creationId xmlns:p14="http://schemas.microsoft.com/office/powerpoint/2010/main" val="51732581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7_Text with Shapes - Layout1">
    <p:bg>
      <p:bgRef idx="1001">
        <a:schemeClr val="bg1"/>
      </p:bgRef>
    </p:bg>
    <p:spTree>
      <p:nvGrpSpPr>
        <p:cNvPr id="1" name=""/>
        <p:cNvGrpSpPr/>
        <p:nvPr/>
      </p:nvGrpSpPr>
      <p:grpSpPr>
        <a:xfrm>
          <a:off x="0" y="0"/>
          <a:ext cx="0" cy="0"/>
          <a:chOff x="0" y="0"/>
          <a:chExt cx="0" cy="0"/>
        </a:xfrm>
      </p:grpSpPr>
      <p:sp>
        <p:nvSpPr>
          <p:cNvPr id="16" name="Freeform 15"/>
          <p:cNvSpPr/>
          <p:nvPr userDrawn="1"/>
        </p:nvSpPr>
        <p:spPr>
          <a:xfrm>
            <a:off x="0" y="5035092"/>
            <a:ext cx="16664267" cy="6293309"/>
          </a:xfrm>
          <a:custGeom>
            <a:avLst/>
            <a:gdLst>
              <a:gd name="connsiteX0" fmla="*/ 0 w 10105936"/>
              <a:gd name="connsiteY0" fmla="*/ 0 h 3809851"/>
              <a:gd name="connsiteX1" fmla="*/ 5362334 w 10105936"/>
              <a:gd name="connsiteY1" fmla="*/ 1015711 h 3809851"/>
              <a:gd name="connsiteX2" fmla="*/ 10105936 w 10105936"/>
              <a:gd name="connsiteY2" fmla="*/ 2151930 h 3809851"/>
              <a:gd name="connsiteX3" fmla="*/ 10105936 w 10105936"/>
              <a:gd name="connsiteY3" fmla="*/ 3601192 h 3809851"/>
              <a:gd name="connsiteX4" fmla="*/ 10105936 w 10105936"/>
              <a:gd name="connsiteY4" fmla="*/ 3809851 h 3809851"/>
              <a:gd name="connsiteX5" fmla="*/ 0 w 10105936"/>
              <a:gd name="connsiteY5" fmla="*/ 3809851 h 3809851"/>
              <a:gd name="connsiteX6" fmla="*/ 0 w 10105936"/>
              <a:gd name="connsiteY6" fmla="*/ 3761009 h 3809851"/>
              <a:gd name="connsiteX7" fmla="*/ 0 w 10105936"/>
              <a:gd name="connsiteY7" fmla="*/ 0 h 3809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05936" h="3809851">
                <a:moveTo>
                  <a:pt x="0" y="0"/>
                </a:moveTo>
                <a:cubicBezTo>
                  <a:pt x="137496" y="17215"/>
                  <a:pt x="3832694" y="688618"/>
                  <a:pt x="5362334" y="1015711"/>
                </a:cubicBezTo>
                <a:cubicBezTo>
                  <a:pt x="7098217" y="1377235"/>
                  <a:pt x="8679418" y="1755975"/>
                  <a:pt x="10105936" y="2151930"/>
                </a:cubicBezTo>
                <a:cubicBezTo>
                  <a:pt x="10105936" y="2151930"/>
                  <a:pt x="10105936" y="2151930"/>
                  <a:pt x="10105936" y="3601192"/>
                </a:cubicBezTo>
                <a:lnTo>
                  <a:pt x="10105936" y="3809851"/>
                </a:lnTo>
                <a:lnTo>
                  <a:pt x="0" y="3809851"/>
                </a:lnTo>
                <a:lnTo>
                  <a:pt x="0" y="3761009"/>
                </a:lnTo>
                <a:cubicBezTo>
                  <a:pt x="0" y="2691837"/>
                  <a:pt x="0" y="1447711"/>
                  <a:pt x="0"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09">
              <a:solidFill>
                <a:schemeClr val="tx1"/>
              </a:solidFill>
            </a:endParaRPr>
          </a:p>
        </p:txBody>
      </p:sp>
      <p:sp>
        <p:nvSpPr>
          <p:cNvPr id="7"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672755" y="668691"/>
            <a:ext cx="16266110" cy="1426539"/>
          </a:xfrm>
          <a:prstGeom prst="rect">
            <a:avLst/>
          </a:prstGeom>
        </p:spPr>
        <p:txBody>
          <a:bodyPr vert="horz" lIns="0" tIns="0" rIns="0" bIns="0" rtlCol="0" anchor="t">
            <a:normAutofit/>
          </a:bodyPr>
          <a:lstStyle>
            <a:lvl1pPr>
              <a:defRPr lang="pt-PT" dirty="0"/>
            </a:lvl1pPr>
          </a:lstStyle>
          <a:p>
            <a:pPr lvl="0">
              <a:lnSpc>
                <a:spcPts val="4947"/>
              </a:lnSpc>
            </a:pPr>
            <a:r>
              <a:rPr lang="en-US"/>
              <a:t>Click to add title</a:t>
            </a:r>
            <a:endParaRPr lang="pt-PT"/>
          </a:p>
        </p:txBody>
      </p:sp>
      <p:sp>
        <p:nvSpPr>
          <p:cNvPr id="9" name="Retângulo 43">
            <a:extLst>
              <a:ext uri="{FF2B5EF4-FFF2-40B4-BE49-F238E27FC236}">
                <a16:creationId xmlns:a16="http://schemas.microsoft.com/office/drawing/2014/main" id="{25FC8637-25BD-4C09-AF25-56B4243DAB3D}"/>
              </a:ext>
            </a:extLst>
          </p:cNvPr>
          <p:cNvSpPr/>
          <p:nvPr userDrawn="1"/>
        </p:nvSpPr>
        <p:spPr>
          <a:xfrm>
            <a:off x="19349792" y="10829142"/>
            <a:ext cx="481221" cy="295337"/>
          </a:xfrm>
          <a:prstGeom prst="rect">
            <a:avLst/>
          </a:prstGeom>
        </p:spPr>
        <p:txBody>
          <a:bodyPr wrap="none">
            <a:spAutoFit/>
          </a:bodyPr>
          <a:lstStyle/>
          <a:p>
            <a:pPr algn="r"/>
            <a:fld id="{0502E5A9-B53C-401E-A0E0-4A359BB0A9E5}" type="slidenum">
              <a:rPr lang="en-US" sz="1319" smtClean="0">
                <a:solidFill>
                  <a:prstClr val="black">
                    <a:lumMod val="50000"/>
                    <a:lumOff val="50000"/>
                  </a:prstClr>
                </a:solidFill>
                <a:cs typeface="Arial" panose="020B0604020202020204" pitchFamily="34" charset="0"/>
              </a:rPr>
              <a:t>‹#›</a:t>
            </a:fld>
            <a:endParaRPr lang="en-US" sz="1319">
              <a:solidFill>
                <a:prstClr val="black">
                  <a:lumMod val="50000"/>
                  <a:lumOff val="50000"/>
                </a:prstClr>
              </a:solidFill>
              <a:cs typeface="Arial" panose="020B0604020202020204" pitchFamily="34" charset="0"/>
            </a:endParaRPr>
          </a:p>
        </p:txBody>
      </p:sp>
    </p:spTree>
    <p:extLst>
      <p:ext uri="{BB962C8B-B14F-4D97-AF65-F5344CB8AC3E}">
        <p14:creationId xmlns:p14="http://schemas.microsoft.com/office/powerpoint/2010/main" val="2136875154"/>
      </p:ext>
    </p:extLst>
  </p:cSld>
  <p:clrMapOvr>
    <a:overrideClrMapping bg1="lt1" tx1="dk1" bg2="lt2" tx2="dk2" accent1="accent1" accent2="accent2" accent3="accent3" accent4="accent4" accent5="accent5" accent6="accent6" hlink="hlink" folHlink="folHlink"/>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2_Blank-White">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672755" y="668691"/>
            <a:ext cx="17923537" cy="1426539"/>
          </a:xfrm>
          <a:prstGeom prst="rect">
            <a:avLst/>
          </a:prstGeom>
        </p:spPr>
        <p:txBody>
          <a:bodyPr vert="horz" lIns="0" tIns="0" rIns="0" bIns="0" rtlCol="0" anchor="t">
            <a:normAutofit/>
          </a:bodyPr>
          <a:lstStyle>
            <a:lvl1pPr>
              <a:defRPr lang="pt-PT" dirty="0"/>
            </a:lvl1pPr>
          </a:lstStyle>
          <a:p>
            <a:pPr lvl="0">
              <a:lnSpc>
                <a:spcPts val="4947"/>
              </a:lnSpc>
            </a:pPr>
            <a:r>
              <a:rPr lang="en-US"/>
              <a:t>Click to add title</a:t>
            </a:r>
            <a:endParaRPr lang="pt-PT"/>
          </a:p>
        </p:txBody>
      </p:sp>
      <p:sp>
        <p:nvSpPr>
          <p:cNvPr id="10" name="Text Placeholder 7">
            <a:extLst>
              <a:ext uri="{FF2B5EF4-FFF2-40B4-BE49-F238E27FC236}">
                <a16:creationId xmlns:a16="http://schemas.microsoft.com/office/drawing/2014/main" id="{053B0AF9-F410-4C47-9D9C-CAC9890E4210}"/>
              </a:ext>
            </a:extLst>
          </p:cNvPr>
          <p:cNvSpPr>
            <a:spLocks noGrp="1"/>
          </p:cNvSpPr>
          <p:nvPr>
            <p:ph type="body" sz="quarter" idx="10" hasCustomPrompt="1"/>
          </p:nvPr>
        </p:nvSpPr>
        <p:spPr>
          <a:xfrm>
            <a:off x="672755" y="2335702"/>
            <a:ext cx="18758591" cy="8324009"/>
          </a:xfrm>
          <a:prstGeom prst="rect">
            <a:avLst/>
          </a:prstGeom>
        </p:spPr>
        <p:txBody>
          <a:bodyPr>
            <a:noAutofit/>
          </a:bodyPr>
          <a:lstStyle>
            <a:lvl1pPr marL="371726" indent="-371726">
              <a:lnSpc>
                <a:spcPts val="3628"/>
              </a:lnSpc>
              <a:buClr>
                <a:schemeClr val="tx2"/>
              </a:buClr>
              <a:buFont typeface="Wingdings" panose="05000000000000000000" pitchFamily="2" charset="2"/>
              <a:buChar char="§"/>
              <a:defRPr sz="2968">
                <a:solidFill>
                  <a:schemeClr val="tx1"/>
                </a:solidFill>
              </a:defRPr>
            </a:lvl1pPr>
            <a:lvl2pPr>
              <a:lnSpc>
                <a:spcPct val="100000"/>
              </a:lnSpc>
              <a:defRPr sz="2309"/>
            </a:lvl2pPr>
            <a:lvl3pPr>
              <a:lnSpc>
                <a:spcPct val="100000"/>
              </a:lnSpc>
              <a:defRPr sz="2309"/>
            </a:lvl3pPr>
            <a:lvl4pPr>
              <a:lnSpc>
                <a:spcPct val="100000"/>
              </a:lnSpc>
              <a:defRPr sz="2309"/>
            </a:lvl4pPr>
            <a:lvl5pPr>
              <a:lnSpc>
                <a:spcPct val="100000"/>
              </a:lnSpc>
              <a:defRPr sz="2309"/>
            </a:lvl5pPr>
          </a:lstStyle>
          <a:p>
            <a:pPr marL="225425" indent="-225425">
              <a:buClr>
                <a:schemeClr val="tx2"/>
              </a:buClr>
              <a:buFont typeface="Wingdings" panose="05000000000000000000" pitchFamily="2" charset="2"/>
              <a:buChar char="§"/>
            </a:pPr>
            <a:r>
              <a:rPr lang="en-US"/>
              <a:t>Click to insert text</a:t>
            </a:r>
          </a:p>
          <a:p>
            <a:pPr marL="761777" lvl="1" indent="-390051">
              <a:buClr>
                <a:schemeClr val="accent4"/>
              </a:buClr>
              <a:buFont typeface="Arial" panose="020B0604020202020204" pitchFamily="34" charset="0"/>
              <a:buChar char="•"/>
            </a:pPr>
            <a:r>
              <a:rPr lang="en-US" sz="2638"/>
              <a:t>Click to insert text</a:t>
            </a:r>
            <a:endParaRPr lang="pt-PT" sz="2638"/>
          </a:p>
          <a:p>
            <a:pPr marL="1136120" lvl="2" indent="-397904">
              <a:buClr>
                <a:schemeClr val="accent2"/>
              </a:buClr>
              <a:buFont typeface="Verdana" panose="020B0604030504040204" pitchFamily="34" charset="0"/>
              <a:buChar char="–"/>
            </a:pPr>
            <a:r>
              <a:rPr lang="en-US"/>
              <a:t>Click to insert text</a:t>
            </a:r>
            <a:endParaRPr lang="pt-PT"/>
          </a:p>
          <a:p>
            <a:pPr marL="1507846" lvl="3" indent="-371726">
              <a:buClr>
                <a:schemeClr val="accent3"/>
              </a:buClr>
              <a:buFont typeface="Wingdings" panose="05000000000000000000" pitchFamily="2" charset="2"/>
              <a:buChar char="§"/>
            </a:pPr>
            <a:r>
              <a:rPr lang="en-US"/>
              <a:t>Click to insert text</a:t>
            </a:r>
            <a:endParaRPr lang="pt-PT"/>
          </a:p>
        </p:txBody>
      </p:sp>
    </p:spTree>
    <p:extLst>
      <p:ext uri="{BB962C8B-B14F-4D97-AF65-F5344CB8AC3E}">
        <p14:creationId xmlns:p14="http://schemas.microsoft.com/office/powerpoint/2010/main" val="146558246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Cover4">
    <p:spTree>
      <p:nvGrpSpPr>
        <p:cNvPr id="1" name=""/>
        <p:cNvGrpSpPr/>
        <p:nvPr/>
      </p:nvGrpSpPr>
      <p:grpSpPr>
        <a:xfrm>
          <a:off x="0" y="0"/>
          <a:ext cx="0" cy="0"/>
          <a:chOff x="0" y="0"/>
          <a:chExt cx="0" cy="0"/>
        </a:xfrm>
      </p:grpSpPr>
      <p:sp>
        <p:nvSpPr>
          <p:cNvPr id="9" name="Freeform 8"/>
          <p:cNvSpPr/>
          <p:nvPr userDrawn="1"/>
        </p:nvSpPr>
        <p:spPr>
          <a:xfrm>
            <a:off x="4" y="0"/>
            <a:ext cx="16445548" cy="6926813"/>
          </a:xfrm>
          <a:custGeom>
            <a:avLst/>
            <a:gdLst>
              <a:gd name="connsiteX0" fmla="*/ 0 w 9973295"/>
              <a:gd name="connsiteY0" fmla="*/ 0 h 4193362"/>
              <a:gd name="connsiteX1" fmla="*/ 9912010 w 9973295"/>
              <a:gd name="connsiteY1" fmla="*/ 0 h 4193362"/>
              <a:gd name="connsiteX2" fmla="*/ 9927053 w 9973295"/>
              <a:gd name="connsiteY2" fmla="*/ 149768 h 4193362"/>
              <a:gd name="connsiteX3" fmla="*/ 7984937 w 9973295"/>
              <a:gd name="connsiteY3" fmla="*/ 4193362 h 4193362"/>
              <a:gd name="connsiteX4" fmla="*/ 0 w 9973295"/>
              <a:gd name="connsiteY4" fmla="*/ 4193362 h 4193362"/>
              <a:gd name="connsiteX5" fmla="*/ 0 w 9973295"/>
              <a:gd name="connsiteY5" fmla="*/ 0 h 4193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73295" h="4193362">
                <a:moveTo>
                  <a:pt x="0" y="0"/>
                </a:moveTo>
                <a:lnTo>
                  <a:pt x="9912010" y="0"/>
                </a:lnTo>
                <a:lnTo>
                  <a:pt x="9927053" y="149768"/>
                </a:lnTo>
                <a:cubicBezTo>
                  <a:pt x="10097391" y="2056447"/>
                  <a:pt x="9870584" y="4193362"/>
                  <a:pt x="7984937" y="4193362"/>
                </a:cubicBezTo>
                <a:cubicBezTo>
                  <a:pt x="0" y="4193362"/>
                  <a:pt x="0" y="4193362"/>
                  <a:pt x="0" y="4193362"/>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itle 1"/>
          <p:cNvSpPr>
            <a:spLocks noGrp="1"/>
          </p:cNvSpPr>
          <p:nvPr>
            <p:ph type="ctrTitle" hasCustomPrompt="1"/>
          </p:nvPr>
        </p:nvSpPr>
        <p:spPr>
          <a:xfrm>
            <a:off x="672755" y="2175211"/>
            <a:ext cx="8191913" cy="11905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4947"/>
              </a:lnSpc>
              <a:defRPr lang="en-US" sz="4287" b="0" dirty="0">
                <a:solidFill>
                  <a:schemeClr val="bg1"/>
                </a:solidFill>
              </a:defRPr>
            </a:lvl1pPr>
          </a:lstStyle>
          <a:p>
            <a:pPr marL="0" lvl="0"/>
            <a:r>
              <a:rPr lang="en-US"/>
              <a:t>Title of Presentation</a:t>
            </a:r>
          </a:p>
        </p:txBody>
      </p:sp>
      <p:sp>
        <p:nvSpPr>
          <p:cNvPr id="21" name="Subtitle 2"/>
          <p:cNvSpPr>
            <a:spLocks noGrp="1"/>
          </p:cNvSpPr>
          <p:nvPr>
            <p:ph type="subTitle" idx="1" hasCustomPrompt="1"/>
          </p:nvPr>
        </p:nvSpPr>
        <p:spPr>
          <a:xfrm>
            <a:off x="672755" y="3685662"/>
            <a:ext cx="8191913" cy="20218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1507846" rtl="0" eaLnBrk="1" fontAlgn="auto" latinLnBrk="0" hangingPunct="1">
              <a:lnSpc>
                <a:spcPts val="2968"/>
              </a:lnSpc>
              <a:spcBef>
                <a:spcPts val="0"/>
              </a:spcBef>
              <a:spcAft>
                <a:spcPts val="0"/>
              </a:spcAft>
              <a:buClrTx/>
              <a:buSzTx/>
              <a:buFont typeface="Arial" panose="020B0604020202020204" pitchFamily="34" charset="0"/>
              <a:buNone/>
              <a:tabLst/>
              <a:defRPr lang="en-US" sz="2638" dirty="0">
                <a:solidFill>
                  <a:schemeClr val="bg1"/>
                </a:solidFill>
              </a:defRPr>
            </a:lvl1pPr>
          </a:lstStyle>
          <a:p>
            <a:pPr marL="0" lvl="0"/>
            <a:r>
              <a:rPr lang="en-US"/>
              <a:t>Subtitle</a:t>
            </a:r>
          </a:p>
        </p:txBody>
      </p:sp>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0052050" y="-1190845"/>
            <a:ext cx="7761828" cy="12020338"/>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65951" y="9417002"/>
            <a:ext cx="2600965" cy="1355257"/>
          </a:xfrm>
          <a:prstGeom prst="rect">
            <a:avLst/>
          </a:prstGeom>
        </p:spPr>
      </p:pic>
    </p:spTree>
    <p:extLst>
      <p:ext uri="{BB962C8B-B14F-4D97-AF65-F5344CB8AC3E}">
        <p14:creationId xmlns:p14="http://schemas.microsoft.com/office/powerpoint/2010/main" val="403909396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1_En blanco">
    <p:bg>
      <p:bgPr>
        <a:solidFill>
          <a:srgbClr val="1570A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61013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C105481D-0D0B-E9C7-02B6-54B5E6DB60BF}"/>
              </a:ext>
            </a:extLst>
          </p:cNvPr>
          <p:cNvPicPr>
            <a:picLocks noChangeAspect="1"/>
          </p:cNvPicPr>
          <p:nvPr userDrawn="1"/>
        </p:nvPicPr>
        <p:blipFill>
          <a:blip r:embed="rId2">
            <a:alphaModFix/>
            <a:extLst>
              <a:ext uri="{28A0092B-C50C-407E-A947-70E740481C1C}">
                <a14:useLocalDpi xmlns:a14="http://schemas.microsoft.com/office/drawing/2010/main"/>
              </a:ext>
            </a:extLst>
          </a:blip>
          <a:stretch>
            <a:fillRect/>
          </a:stretch>
        </p:blipFill>
        <p:spPr>
          <a:xfrm>
            <a:off x="-61870" y="0"/>
            <a:ext cx="20159620" cy="11328400"/>
          </a:xfrm>
          <a:prstGeom prst="rect">
            <a:avLst/>
          </a:prstGeom>
        </p:spPr>
      </p:pic>
      <p:sp>
        <p:nvSpPr>
          <p:cNvPr id="4" name="Holder 4"/>
          <p:cNvSpPr>
            <a:spLocks noGrp="1"/>
          </p:cNvSpPr>
          <p:nvPr>
            <p:ph type="ftr" sz="quarter" idx="5"/>
          </p:nvPr>
        </p:nvSpPr>
        <p:spPr>
          <a:xfrm>
            <a:off x="16647741" y="10759212"/>
            <a:ext cx="2962677" cy="200055"/>
          </a:xfrm>
          <a:prstGeom prst="rect">
            <a:avLst/>
          </a:prstGeom>
        </p:spPr>
        <p:txBody>
          <a:bodyPr lIns="0" tIns="0" rIns="0" bIns="0"/>
          <a:lstStyle>
            <a:lvl1pPr>
              <a:defRPr sz="1300" b="0" i="0">
                <a:solidFill>
                  <a:schemeClr val="bg1"/>
                </a:solidFill>
                <a:latin typeface="Ubuntu Light"/>
                <a:cs typeface="Ubuntu Light"/>
              </a:defRPr>
            </a:lvl1pPr>
          </a:lstStyle>
          <a:p>
            <a:pPr marL="26034">
              <a:spcBef>
                <a:spcPts val="30"/>
              </a:spcBef>
            </a:pPr>
            <a:r>
              <a:rPr lang="es-ES" err="1"/>
              <a:t>Public</a:t>
            </a:r>
            <a:r>
              <a:rPr lang="es-ES" spc="-40"/>
              <a:t> </a:t>
            </a:r>
            <a:r>
              <a:rPr lang="es-ES"/>
              <a:t>©</a:t>
            </a:r>
            <a:r>
              <a:rPr lang="es-ES" spc="-40"/>
              <a:t> </a:t>
            </a:r>
            <a:r>
              <a:rPr lang="es-ES"/>
              <a:t>2023</a:t>
            </a:r>
            <a:r>
              <a:rPr lang="es-ES" spc="-40"/>
              <a:t> </a:t>
            </a:r>
            <a:r>
              <a:rPr lang="es-ES" spc="-10"/>
              <a:t>Sogeti.</a:t>
            </a:r>
            <a:r>
              <a:rPr lang="es-ES" spc="-35"/>
              <a:t> </a:t>
            </a:r>
            <a:r>
              <a:rPr lang="es-ES" err="1"/>
              <a:t>All</a:t>
            </a:r>
            <a:r>
              <a:rPr lang="es-ES" spc="-40"/>
              <a:t> </a:t>
            </a:r>
            <a:r>
              <a:rPr lang="es-ES" err="1"/>
              <a:t>rights</a:t>
            </a:r>
            <a:r>
              <a:rPr lang="es-ES" spc="-40"/>
              <a:t> </a:t>
            </a:r>
            <a:r>
              <a:rPr lang="es-ES" spc="-10" err="1"/>
              <a:t>reserved</a:t>
            </a:r>
            <a:endParaRPr lang="es-ES" spc="-10"/>
          </a:p>
        </p:txBody>
      </p:sp>
      <p:sp>
        <p:nvSpPr>
          <p:cNvPr id="2" name="CuadroTexto 1">
            <a:extLst>
              <a:ext uri="{FF2B5EF4-FFF2-40B4-BE49-F238E27FC236}">
                <a16:creationId xmlns:a16="http://schemas.microsoft.com/office/drawing/2014/main" id="{72E5CF79-7DA3-E21E-3060-87CB44907F25}"/>
              </a:ext>
            </a:extLst>
          </p:cNvPr>
          <p:cNvSpPr txBox="1"/>
          <p:nvPr userDrawn="1"/>
        </p:nvSpPr>
        <p:spPr>
          <a:xfrm>
            <a:off x="755650" y="10845800"/>
            <a:ext cx="7772400" cy="292388"/>
          </a:xfrm>
          <a:prstGeom prst="rect">
            <a:avLst/>
          </a:prstGeom>
          <a:noFill/>
        </p:spPr>
        <p:txBody>
          <a:bodyPr wrap="square" rtlCol="0">
            <a:spAutoFit/>
          </a:bodyPr>
          <a:lstStyle/>
          <a:p>
            <a:r>
              <a:rPr lang="es-ES" sz="1300" b="0" i="0">
                <a:solidFill>
                  <a:schemeClr val="bg1"/>
                </a:solidFill>
                <a:latin typeface="Ubuntu Medium" panose="020B0504030602030204" pitchFamily="34" charset="0"/>
              </a:rPr>
              <a:t>#FlourishingDigitalBusinessWithQuality </a:t>
            </a:r>
            <a:r>
              <a:rPr lang="es-ES" sz="1300" b="1" i="0">
                <a:solidFill>
                  <a:schemeClr val="bg1"/>
                </a:solidFill>
                <a:latin typeface="Ubuntu" panose="020B0504030602030204" pitchFamily="34" charset="0"/>
              </a:rPr>
              <a:t> </a:t>
            </a:r>
            <a:r>
              <a:rPr lang="es-ES" sz="1300" b="1" i="0">
                <a:solidFill>
                  <a:srgbClr val="290E3B"/>
                </a:solidFill>
                <a:latin typeface="Ubuntu" panose="020B0504030602030204" pitchFamily="34" charset="0"/>
              </a:rPr>
              <a:t>·</a:t>
            </a:r>
            <a:r>
              <a:rPr lang="es-ES" sz="1300" b="0" i="0">
                <a:solidFill>
                  <a:schemeClr val="tx2"/>
                </a:solidFill>
                <a:latin typeface="Ubuntu Medium" panose="020B0504030602030204" pitchFamily="34" charset="0"/>
              </a:rPr>
              <a:t>   </a:t>
            </a:r>
            <a:r>
              <a:rPr lang="es-ES" sz="1300" b="1" i="0">
                <a:solidFill>
                  <a:srgbClr val="12A9D8"/>
                </a:solidFill>
                <a:latin typeface="Ubuntu" panose="020B0504030602030204" pitchFamily="34" charset="0"/>
              </a:rPr>
              <a:t>Sogeti España</a:t>
            </a:r>
          </a:p>
        </p:txBody>
      </p:sp>
      <p:sp>
        <p:nvSpPr>
          <p:cNvPr id="5" name="Forma libre 4">
            <a:extLst>
              <a:ext uri="{FF2B5EF4-FFF2-40B4-BE49-F238E27FC236}">
                <a16:creationId xmlns:a16="http://schemas.microsoft.com/office/drawing/2014/main" id="{FBAABD7F-C513-9B40-6AE2-E43DB3944CCE}"/>
              </a:ext>
            </a:extLst>
          </p:cNvPr>
          <p:cNvSpPr/>
          <p:nvPr userDrawn="1"/>
        </p:nvSpPr>
        <p:spPr>
          <a:xfrm flipV="1">
            <a:off x="755650" y="10384024"/>
            <a:ext cx="2362200" cy="385576"/>
          </a:xfrm>
          <a:custGeom>
            <a:avLst/>
            <a:gdLst/>
            <a:ahLst/>
            <a:cxnLst/>
            <a:rect l="l" t="t" r="r" b="b"/>
            <a:pathLst>
              <a:path w="4876802" h="796029">
                <a:moveTo>
                  <a:pt x="2572782" y="405299"/>
                </a:moveTo>
                <a:cubicBezTo>
                  <a:pt x="2589609" y="405299"/>
                  <a:pt x="2601809" y="398820"/>
                  <a:pt x="2609382" y="385863"/>
                </a:cubicBezTo>
                <a:cubicBezTo>
                  <a:pt x="2616954" y="372906"/>
                  <a:pt x="2620740" y="355826"/>
                  <a:pt x="2620740" y="334623"/>
                </a:cubicBezTo>
                <a:cubicBezTo>
                  <a:pt x="2620740" y="313420"/>
                  <a:pt x="2616618" y="296256"/>
                  <a:pt x="2608372" y="283131"/>
                </a:cubicBezTo>
                <a:cubicBezTo>
                  <a:pt x="2600126" y="270006"/>
                  <a:pt x="2587927" y="263443"/>
                  <a:pt x="2571772" y="263443"/>
                </a:cubicBezTo>
                <a:cubicBezTo>
                  <a:pt x="2554945" y="263443"/>
                  <a:pt x="2542744" y="270006"/>
                  <a:pt x="2535172" y="283131"/>
                </a:cubicBezTo>
                <a:cubicBezTo>
                  <a:pt x="2527600" y="296256"/>
                  <a:pt x="2523814" y="313420"/>
                  <a:pt x="2523814" y="334623"/>
                </a:cubicBezTo>
                <a:cubicBezTo>
                  <a:pt x="2523814" y="355826"/>
                  <a:pt x="2527937" y="372906"/>
                  <a:pt x="2536182" y="385863"/>
                </a:cubicBezTo>
                <a:cubicBezTo>
                  <a:pt x="2544428" y="398820"/>
                  <a:pt x="2556628" y="405299"/>
                  <a:pt x="2572782" y="405299"/>
                </a:cubicBezTo>
                <a:close/>
                <a:moveTo>
                  <a:pt x="1810782" y="405299"/>
                </a:moveTo>
                <a:cubicBezTo>
                  <a:pt x="1827610" y="405299"/>
                  <a:pt x="1839810" y="398820"/>
                  <a:pt x="1847382" y="385863"/>
                </a:cubicBezTo>
                <a:cubicBezTo>
                  <a:pt x="1854954" y="372906"/>
                  <a:pt x="1858740" y="355826"/>
                  <a:pt x="1858740" y="334623"/>
                </a:cubicBezTo>
                <a:cubicBezTo>
                  <a:pt x="1858740" y="313420"/>
                  <a:pt x="1854618" y="296256"/>
                  <a:pt x="1846372" y="283131"/>
                </a:cubicBezTo>
                <a:cubicBezTo>
                  <a:pt x="1838127" y="270006"/>
                  <a:pt x="1825927" y="263443"/>
                  <a:pt x="1809772" y="263443"/>
                </a:cubicBezTo>
                <a:cubicBezTo>
                  <a:pt x="1792945" y="263443"/>
                  <a:pt x="1780745" y="270006"/>
                  <a:pt x="1773173" y="283131"/>
                </a:cubicBezTo>
                <a:cubicBezTo>
                  <a:pt x="1765600" y="296256"/>
                  <a:pt x="1761814" y="313420"/>
                  <a:pt x="1761814" y="334623"/>
                </a:cubicBezTo>
                <a:cubicBezTo>
                  <a:pt x="1761814" y="355826"/>
                  <a:pt x="1765937" y="372906"/>
                  <a:pt x="1774182" y="385863"/>
                </a:cubicBezTo>
                <a:cubicBezTo>
                  <a:pt x="1782428" y="398820"/>
                  <a:pt x="1794628" y="405299"/>
                  <a:pt x="1810782" y="405299"/>
                </a:cubicBezTo>
                <a:close/>
                <a:moveTo>
                  <a:pt x="810657" y="405299"/>
                </a:moveTo>
                <a:cubicBezTo>
                  <a:pt x="827485" y="405299"/>
                  <a:pt x="839684" y="398820"/>
                  <a:pt x="847257" y="385863"/>
                </a:cubicBezTo>
                <a:cubicBezTo>
                  <a:pt x="854829" y="372906"/>
                  <a:pt x="858615" y="355826"/>
                  <a:pt x="858616" y="334623"/>
                </a:cubicBezTo>
                <a:cubicBezTo>
                  <a:pt x="858615" y="313420"/>
                  <a:pt x="854493" y="296256"/>
                  <a:pt x="846247" y="283131"/>
                </a:cubicBezTo>
                <a:cubicBezTo>
                  <a:pt x="838002" y="270006"/>
                  <a:pt x="825802" y="263443"/>
                  <a:pt x="809647" y="263443"/>
                </a:cubicBezTo>
                <a:cubicBezTo>
                  <a:pt x="792820" y="263443"/>
                  <a:pt x="780620" y="270006"/>
                  <a:pt x="773048" y="283131"/>
                </a:cubicBezTo>
                <a:cubicBezTo>
                  <a:pt x="765475" y="296256"/>
                  <a:pt x="761689" y="313420"/>
                  <a:pt x="761689" y="334623"/>
                </a:cubicBezTo>
                <a:cubicBezTo>
                  <a:pt x="761689" y="355826"/>
                  <a:pt x="765812" y="372906"/>
                  <a:pt x="774057" y="385863"/>
                </a:cubicBezTo>
                <a:cubicBezTo>
                  <a:pt x="782303" y="398820"/>
                  <a:pt x="794503" y="405299"/>
                  <a:pt x="810657" y="405299"/>
                </a:cubicBezTo>
                <a:close/>
                <a:moveTo>
                  <a:pt x="3325256" y="411861"/>
                </a:moveTo>
                <a:cubicBezTo>
                  <a:pt x="3316506" y="411861"/>
                  <a:pt x="3309608" y="408496"/>
                  <a:pt x="3304560" y="401765"/>
                </a:cubicBezTo>
                <a:cubicBezTo>
                  <a:pt x="3299512" y="395034"/>
                  <a:pt x="3296988" y="387125"/>
                  <a:pt x="3296988" y="378038"/>
                </a:cubicBezTo>
                <a:cubicBezTo>
                  <a:pt x="3296988" y="368951"/>
                  <a:pt x="3299512" y="361126"/>
                  <a:pt x="3304560" y="354564"/>
                </a:cubicBezTo>
                <a:cubicBezTo>
                  <a:pt x="3309608" y="348001"/>
                  <a:pt x="3316506" y="344720"/>
                  <a:pt x="3325256" y="344720"/>
                </a:cubicBezTo>
                <a:cubicBezTo>
                  <a:pt x="3333334" y="344720"/>
                  <a:pt x="3339980" y="348001"/>
                  <a:pt x="3345198" y="354564"/>
                </a:cubicBezTo>
                <a:cubicBezTo>
                  <a:pt x="3350414" y="361126"/>
                  <a:pt x="3353022" y="368951"/>
                  <a:pt x="3353022" y="378038"/>
                </a:cubicBezTo>
                <a:cubicBezTo>
                  <a:pt x="3353022" y="387125"/>
                  <a:pt x="3350414" y="395034"/>
                  <a:pt x="3345198" y="401765"/>
                </a:cubicBezTo>
                <a:cubicBezTo>
                  <a:pt x="3339980" y="408496"/>
                  <a:pt x="3333334" y="411861"/>
                  <a:pt x="3325256" y="411861"/>
                </a:cubicBezTo>
                <a:close/>
                <a:moveTo>
                  <a:pt x="2207070" y="453257"/>
                </a:moveTo>
                <a:lnTo>
                  <a:pt x="2207070" y="401765"/>
                </a:lnTo>
                <a:lnTo>
                  <a:pt x="2272697" y="401765"/>
                </a:lnTo>
                <a:lnTo>
                  <a:pt x="2272697" y="314430"/>
                </a:lnTo>
                <a:cubicBezTo>
                  <a:pt x="2272697" y="297939"/>
                  <a:pt x="2274043" y="283299"/>
                  <a:pt x="2276735" y="270510"/>
                </a:cubicBezTo>
                <a:cubicBezTo>
                  <a:pt x="2279428" y="257721"/>
                  <a:pt x="2284055" y="246868"/>
                  <a:pt x="2290618" y="237949"/>
                </a:cubicBezTo>
                <a:cubicBezTo>
                  <a:pt x="2297181" y="229031"/>
                  <a:pt x="2305931" y="222215"/>
                  <a:pt x="2316869" y="217504"/>
                </a:cubicBezTo>
                <a:cubicBezTo>
                  <a:pt x="2327807" y="212792"/>
                  <a:pt x="2341353" y="210436"/>
                  <a:pt x="2357508" y="210436"/>
                </a:cubicBezTo>
                <a:cubicBezTo>
                  <a:pt x="2366931" y="210436"/>
                  <a:pt x="2377280" y="211530"/>
                  <a:pt x="2388554" y="213718"/>
                </a:cubicBezTo>
                <a:cubicBezTo>
                  <a:pt x="2399829" y="215905"/>
                  <a:pt x="2411860" y="220028"/>
                  <a:pt x="2424649" y="226086"/>
                </a:cubicBezTo>
                <a:lnTo>
                  <a:pt x="2416572" y="276063"/>
                </a:lnTo>
                <a:cubicBezTo>
                  <a:pt x="2406475" y="271352"/>
                  <a:pt x="2397388" y="268239"/>
                  <a:pt x="2389312" y="266724"/>
                </a:cubicBezTo>
                <a:cubicBezTo>
                  <a:pt x="2381234" y="265210"/>
                  <a:pt x="2374335" y="264452"/>
                  <a:pt x="2368614" y="264452"/>
                </a:cubicBezTo>
                <a:cubicBezTo>
                  <a:pt x="2356498" y="264452"/>
                  <a:pt x="2347832" y="267902"/>
                  <a:pt x="2342615" y="274801"/>
                </a:cubicBezTo>
                <a:cubicBezTo>
                  <a:pt x="2337398" y="281701"/>
                  <a:pt x="2334790" y="292218"/>
                  <a:pt x="2334790" y="306353"/>
                </a:cubicBezTo>
                <a:lnTo>
                  <a:pt x="2334790" y="453257"/>
                </a:lnTo>
                <a:close/>
                <a:moveTo>
                  <a:pt x="1088092" y="457800"/>
                </a:moveTo>
                <a:cubicBezTo>
                  <a:pt x="1064870" y="457800"/>
                  <a:pt x="1044593" y="455949"/>
                  <a:pt x="1027260" y="452247"/>
                </a:cubicBezTo>
                <a:cubicBezTo>
                  <a:pt x="1009928" y="448545"/>
                  <a:pt x="993016" y="443665"/>
                  <a:pt x="976526" y="437607"/>
                </a:cubicBezTo>
                <a:lnTo>
                  <a:pt x="976526" y="215989"/>
                </a:lnTo>
                <a:lnTo>
                  <a:pt x="1039124" y="215989"/>
                </a:lnTo>
                <a:lnTo>
                  <a:pt x="1039124" y="392173"/>
                </a:lnTo>
                <a:cubicBezTo>
                  <a:pt x="1047874" y="394529"/>
                  <a:pt x="1056456" y="396128"/>
                  <a:pt x="1064870" y="396969"/>
                </a:cubicBezTo>
                <a:cubicBezTo>
                  <a:pt x="1073284" y="397810"/>
                  <a:pt x="1081866" y="398231"/>
                  <a:pt x="1090616" y="398231"/>
                </a:cubicBezTo>
                <a:cubicBezTo>
                  <a:pt x="1094318" y="398231"/>
                  <a:pt x="1098861" y="398063"/>
                  <a:pt x="1104246" y="397726"/>
                </a:cubicBezTo>
                <a:cubicBezTo>
                  <a:pt x="1109631" y="397390"/>
                  <a:pt x="1115184" y="396801"/>
                  <a:pt x="1120905" y="395959"/>
                </a:cubicBezTo>
                <a:cubicBezTo>
                  <a:pt x="1126627" y="395118"/>
                  <a:pt x="1132264" y="394192"/>
                  <a:pt x="1137817" y="393183"/>
                </a:cubicBezTo>
                <a:cubicBezTo>
                  <a:pt x="1143370" y="392173"/>
                  <a:pt x="1148166" y="391164"/>
                  <a:pt x="1152205" y="390154"/>
                </a:cubicBezTo>
                <a:lnTo>
                  <a:pt x="1163311" y="447704"/>
                </a:lnTo>
                <a:cubicBezTo>
                  <a:pt x="1157589" y="449723"/>
                  <a:pt x="1151111" y="451322"/>
                  <a:pt x="1143875" y="452500"/>
                </a:cubicBezTo>
                <a:cubicBezTo>
                  <a:pt x="1136639" y="453678"/>
                  <a:pt x="1129487" y="454687"/>
                  <a:pt x="1122420" y="455529"/>
                </a:cubicBezTo>
                <a:cubicBezTo>
                  <a:pt x="1115352" y="456370"/>
                  <a:pt x="1108706" y="456959"/>
                  <a:pt x="1102479" y="457296"/>
                </a:cubicBezTo>
                <a:cubicBezTo>
                  <a:pt x="1096253" y="457632"/>
                  <a:pt x="1091457" y="457800"/>
                  <a:pt x="1088092" y="457800"/>
                </a:cubicBezTo>
                <a:close/>
                <a:moveTo>
                  <a:pt x="2572782" y="459315"/>
                </a:moveTo>
                <a:cubicBezTo>
                  <a:pt x="2556628" y="459315"/>
                  <a:pt x="2541651" y="456370"/>
                  <a:pt x="2527852" y="450480"/>
                </a:cubicBezTo>
                <a:cubicBezTo>
                  <a:pt x="2514054" y="444591"/>
                  <a:pt x="2502190" y="436177"/>
                  <a:pt x="2492262" y="425239"/>
                </a:cubicBezTo>
                <a:cubicBezTo>
                  <a:pt x="2482334" y="414301"/>
                  <a:pt x="2474594" y="401176"/>
                  <a:pt x="2469040" y="385863"/>
                </a:cubicBezTo>
                <a:cubicBezTo>
                  <a:pt x="2463487" y="370550"/>
                  <a:pt x="2460711" y="353638"/>
                  <a:pt x="2460711" y="335128"/>
                </a:cubicBezTo>
                <a:cubicBezTo>
                  <a:pt x="2460711" y="316281"/>
                  <a:pt x="2463403" y="299201"/>
                  <a:pt x="2468788" y="283888"/>
                </a:cubicBezTo>
                <a:cubicBezTo>
                  <a:pt x="2474173" y="268575"/>
                  <a:pt x="2481829" y="255366"/>
                  <a:pt x="2491758" y="244259"/>
                </a:cubicBezTo>
                <a:cubicBezTo>
                  <a:pt x="2501686" y="233153"/>
                  <a:pt x="2513465" y="224571"/>
                  <a:pt x="2527095" y="218513"/>
                </a:cubicBezTo>
                <a:cubicBezTo>
                  <a:pt x="2540726" y="212455"/>
                  <a:pt x="2555954" y="209427"/>
                  <a:pt x="2572782" y="209427"/>
                </a:cubicBezTo>
                <a:cubicBezTo>
                  <a:pt x="2589609" y="209427"/>
                  <a:pt x="2604838" y="212455"/>
                  <a:pt x="2618468" y="218513"/>
                </a:cubicBezTo>
                <a:cubicBezTo>
                  <a:pt x="2632098" y="224571"/>
                  <a:pt x="2643794" y="233153"/>
                  <a:pt x="2653554" y="244259"/>
                </a:cubicBezTo>
                <a:cubicBezTo>
                  <a:pt x="2663314" y="255366"/>
                  <a:pt x="2670886" y="268575"/>
                  <a:pt x="2676271" y="283888"/>
                </a:cubicBezTo>
                <a:cubicBezTo>
                  <a:pt x="2681656" y="299201"/>
                  <a:pt x="2684348" y="316281"/>
                  <a:pt x="2684348" y="335128"/>
                </a:cubicBezTo>
                <a:cubicBezTo>
                  <a:pt x="2684348" y="353638"/>
                  <a:pt x="2681656" y="370550"/>
                  <a:pt x="2676271" y="385863"/>
                </a:cubicBezTo>
                <a:cubicBezTo>
                  <a:pt x="2670886" y="401176"/>
                  <a:pt x="2663230" y="414301"/>
                  <a:pt x="2653302" y="425239"/>
                </a:cubicBezTo>
                <a:cubicBezTo>
                  <a:pt x="2643373" y="436177"/>
                  <a:pt x="2631594" y="444591"/>
                  <a:pt x="2617964" y="450480"/>
                </a:cubicBezTo>
                <a:cubicBezTo>
                  <a:pt x="2604334" y="456370"/>
                  <a:pt x="2589273" y="459315"/>
                  <a:pt x="2572782" y="459315"/>
                </a:cubicBezTo>
                <a:close/>
                <a:moveTo>
                  <a:pt x="1810782" y="459315"/>
                </a:moveTo>
                <a:cubicBezTo>
                  <a:pt x="1794628" y="459315"/>
                  <a:pt x="1779651" y="456370"/>
                  <a:pt x="1765853" y="450480"/>
                </a:cubicBezTo>
                <a:cubicBezTo>
                  <a:pt x="1752054" y="444591"/>
                  <a:pt x="1740191" y="436177"/>
                  <a:pt x="1730262" y="425239"/>
                </a:cubicBezTo>
                <a:cubicBezTo>
                  <a:pt x="1720334" y="414301"/>
                  <a:pt x="1712594" y="401176"/>
                  <a:pt x="1707040" y="385863"/>
                </a:cubicBezTo>
                <a:cubicBezTo>
                  <a:pt x="1701488" y="370550"/>
                  <a:pt x="1698711" y="353638"/>
                  <a:pt x="1698711" y="335128"/>
                </a:cubicBezTo>
                <a:cubicBezTo>
                  <a:pt x="1698711" y="316281"/>
                  <a:pt x="1701403" y="299201"/>
                  <a:pt x="1706788" y="283888"/>
                </a:cubicBezTo>
                <a:cubicBezTo>
                  <a:pt x="1712173" y="268575"/>
                  <a:pt x="1719829" y="255366"/>
                  <a:pt x="1729758" y="244259"/>
                </a:cubicBezTo>
                <a:cubicBezTo>
                  <a:pt x="1739686" y="233153"/>
                  <a:pt x="1751465" y="224571"/>
                  <a:pt x="1765095" y="218513"/>
                </a:cubicBezTo>
                <a:cubicBezTo>
                  <a:pt x="1778726" y="212455"/>
                  <a:pt x="1793954" y="209427"/>
                  <a:pt x="1810782" y="209427"/>
                </a:cubicBezTo>
                <a:cubicBezTo>
                  <a:pt x="1827610" y="209427"/>
                  <a:pt x="1842838" y="212455"/>
                  <a:pt x="1856469" y="218513"/>
                </a:cubicBezTo>
                <a:cubicBezTo>
                  <a:pt x="1870099" y="224571"/>
                  <a:pt x="1881794" y="233153"/>
                  <a:pt x="1891554" y="244259"/>
                </a:cubicBezTo>
                <a:cubicBezTo>
                  <a:pt x="1901314" y="255366"/>
                  <a:pt x="1908886" y="268575"/>
                  <a:pt x="1914271" y="283888"/>
                </a:cubicBezTo>
                <a:cubicBezTo>
                  <a:pt x="1919656" y="299201"/>
                  <a:pt x="1922348" y="316281"/>
                  <a:pt x="1922348" y="335128"/>
                </a:cubicBezTo>
                <a:cubicBezTo>
                  <a:pt x="1922348" y="353638"/>
                  <a:pt x="1919656" y="370550"/>
                  <a:pt x="1914271" y="385863"/>
                </a:cubicBezTo>
                <a:cubicBezTo>
                  <a:pt x="1908886" y="401176"/>
                  <a:pt x="1901230" y="414301"/>
                  <a:pt x="1891302" y="425239"/>
                </a:cubicBezTo>
                <a:cubicBezTo>
                  <a:pt x="1881374" y="436177"/>
                  <a:pt x="1869594" y="444591"/>
                  <a:pt x="1855964" y="450480"/>
                </a:cubicBezTo>
                <a:cubicBezTo>
                  <a:pt x="1842334" y="456370"/>
                  <a:pt x="1827273" y="459315"/>
                  <a:pt x="1810782" y="459315"/>
                </a:cubicBezTo>
                <a:close/>
                <a:moveTo>
                  <a:pt x="810657" y="459315"/>
                </a:moveTo>
                <a:cubicBezTo>
                  <a:pt x="794503" y="459315"/>
                  <a:pt x="779526" y="456370"/>
                  <a:pt x="765728" y="450480"/>
                </a:cubicBezTo>
                <a:cubicBezTo>
                  <a:pt x="751929" y="444591"/>
                  <a:pt x="740066" y="436177"/>
                  <a:pt x="730138" y="425239"/>
                </a:cubicBezTo>
                <a:cubicBezTo>
                  <a:pt x="720209" y="414301"/>
                  <a:pt x="712469" y="401176"/>
                  <a:pt x="706916" y="385863"/>
                </a:cubicBezTo>
                <a:cubicBezTo>
                  <a:pt x="701362" y="370550"/>
                  <a:pt x="698586" y="353638"/>
                  <a:pt x="698586" y="335128"/>
                </a:cubicBezTo>
                <a:cubicBezTo>
                  <a:pt x="698586" y="316281"/>
                  <a:pt x="701278" y="299201"/>
                  <a:pt x="706663" y="283888"/>
                </a:cubicBezTo>
                <a:cubicBezTo>
                  <a:pt x="712048" y="268575"/>
                  <a:pt x="719704" y="255366"/>
                  <a:pt x="729633" y="244259"/>
                </a:cubicBezTo>
                <a:cubicBezTo>
                  <a:pt x="739561" y="233153"/>
                  <a:pt x="751340" y="224571"/>
                  <a:pt x="764970" y="218513"/>
                </a:cubicBezTo>
                <a:cubicBezTo>
                  <a:pt x="778601" y="212455"/>
                  <a:pt x="793830" y="209427"/>
                  <a:pt x="810657" y="209427"/>
                </a:cubicBezTo>
                <a:cubicBezTo>
                  <a:pt x="827485" y="209427"/>
                  <a:pt x="842713" y="212455"/>
                  <a:pt x="856344" y="218513"/>
                </a:cubicBezTo>
                <a:cubicBezTo>
                  <a:pt x="869974" y="224571"/>
                  <a:pt x="881669" y="233153"/>
                  <a:pt x="891429" y="244259"/>
                </a:cubicBezTo>
                <a:cubicBezTo>
                  <a:pt x="901189" y="255366"/>
                  <a:pt x="908761" y="268575"/>
                  <a:pt x="914146" y="283888"/>
                </a:cubicBezTo>
                <a:cubicBezTo>
                  <a:pt x="919531" y="299201"/>
                  <a:pt x="922223" y="316281"/>
                  <a:pt x="922223" y="335128"/>
                </a:cubicBezTo>
                <a:cubicBezTo>
                  <a:pt x="922223" y="353638"/>
                  <a:pt x="919531" y="370550"/>
                  <a:pt x="914146" y="385863"/>
                </a:cubicBezTo>
                <a:cubicBezTo>
                  <a:pt x="908761" y="401176"/>
                  <a:pt x="901105" y="414301"/>
                  <a:pt x="891177" y="425239"/>
                </a:cubicBezTo>
                <a:cubicBezTo>
                  <a:pt x="881248" y="436177"/>
                  <a:pt x="869469" y="444591"/>
                  <a:pt x="855839" y="450480"/>
                </a:cubicBezTo>
                <a:cubicBezTo>
                  <a:pt x="842209" y="456370"/>
                  <a:pt x="827148" y="459315"/>
                  <a:pt x="810657" y="459315"/>
                </a:cubicBezTo>
                <a:close/>
                <a:moveTo>
                  <a:pt x="546919" y="477993"/>
                </a:moveTo>
                <a:cubicBezTo>
                  <a:pt x="563410" y="477993"/>
                  <a:pt x="576620" y="474207"/>
                  <a:pt x="586548" y="466635"/>
                </a:cubicBezTo>
                <a:cubicBezTo>
                  <a:pt x="596476" y="459062"/>
                  <a:pt x="601441" y="446189"/>
                  <a:pt x="601441" y="428016"/>
                </a:cubicBezTo>
                <a:cubicBezTo>
                  <a:pt x="601441" y="408832"/>
                  <a:pt x="596392" y="395286"/>
                  <a:pt x="586296" y="387377"/>
                </a:cubicBezTo>
                <a:cubicBezTo>
                  <a:pt x="576199" y="379468"/>
                  <a:pt x="561223" y="375514"/>
                  <a:pt x="541366" y="375514"/>
                </a:cubicBezTo>
                <a:lnTo>
                  <a:pt x="516125" y="375514"/>
                </a:lnTo>
                <a:lnTo>
                  <a:pt x="516125" y="476479"/>
                </a:lnTo>
                <a:cubicBezTo>
                  <a:pt x="519827" y="477152"/>
                  <a:pt x="524960" y="477573"/>
                  <a:pt x="531522" y="477741"/>
                </a:cubicBezTo>
                <a:cubicBezTo>
                  <a:pt x="538085" y="477909"/>
                  <a:pt x="543217" y="477993"/>
                  <a:pt x="546919" y="477993"/>
                </a:cubicBezTo>
                <a:close/>
                <a:moveTo>
                  <a:pt x="3324752" y="482537"/>
                </a:moveTo>
                <a:cubicBezTo>
                  <a:pt x="3341916" y="482537"/>
                  <a:pt x="3354958" y="473198"/>
                  <a:pt x="3363876" y="454519"/>
                </a:cubicBezTo>
                <a:cubicBezTo>
                  <a:pt x="3372794" y="435841"/>
                  <a:pt x="3377254" y="408664"/>
                  <a:pt x="3377254" y="372990"/>
                </a:cubicBezTo>
                <a:cubicBezTo>
                  <a:pt x="3377254" y="336979"/>
                  <a:pt x="3372794" y="309634"/>
                  <a:pt x="3363876" y="290956"/>
                </a:cubicBezTo>
                <a:cubicBezTo>
                  <a:pt x="3354958" y="272277"/>
                  <a:pt x="3341916" y="262938"/>
                  <a:pt x="3324752" y="262938"/>
                </a:cubicBezTo>
                <a:cubicBezTo>
                  <a:pt x="3307924" y="262938"/>
                  <a:pt x="3294968" y="272277"/>
                  <a:pt x="3285880" y="290956"/>
                </a:cubicBezTo>
                <a:cubicBezTo>
                  <a:pt x="3276794" y="309634"/>
                  <a:pt x="3272250" y="336979"/>
                  <a:pt x="3272250" y="372990"/>
                </a:cubicBezTo>
                <a:cubicBezTo>
                  <a:pt x="3272250" y="408664"/>
                  <a:pt x="3276794" y="435841"/>
                  <a:pt x="3285880" y="454519"/>
                </a:cubicBezTo>
                <a:cubicBezTo>
                  <a:pt x="3294968" y="473198"/>
                  <a:pt x="3307924" y="482537"/>
                  <a:pt x="3324752" y="482537"/>
                </a:cubicBezTo>
                <a:close/>
                <a:moveTo>
                  <a:pt x="1323054" y="522923"/>
                </a:moveTo>
                <a:lnTo>
                  <a:pt x="1260961" y="512826"/>
                </a:lnTo>
                <a:lnTo>
                  <a:pt x="1260961" y="453257"/>
                </a:lnTo>
                <a:lnTo>
                  <a:pt x="1206945" y="453257"/>
                </a:lnTo>
                <a:lnTo>
                  <a:pt x="1206945" y="401765"/>
                </a:lnTo>
                <a:lnTo>
                  <a:pt x="1260961" y="401765"/>
                </a:lnTo>
                <a:lnTo>
                  <a:pt x="1260961" y="304334"/>
                </a:lnTo>
                <a:cubicBezTo>
                  <a:pt x="1260961" y="284477"/>
                  <a:pt x="1262980" y="268407"/>
                  <a:pt x="1267019" y="256123"/>
                </a:cubicBezTo>
                <a:cubicBezTo>
                  <a:pt x="1271057" y="243839"/>
                  <a:pt x="1276947" y="234331"/>
                  <a:pt x="1284688" y="227600"/>
                </a:cubicBezTo>
                <a:cubicBezTo>
                  <a:pt x="1292428" y="220869"/>
                  <a:pt x="1301852" y="216326"/>
                  <a:pt x="1312958" y="213970"/>
                </a:cubicBezTo>
                <a:cubicBezTo>
                  <a:pt x="1324064" y="211614"/>
                  <a:pt x="1336853" y="210436"/>
                  <a:pt x="1351325" y="210436"/>
                </a:cubicBezTo>
                <a:cubicBezTo>
                  <a:pt x="1363777" y="210436"/>
                  <a:pt x="1376650" y="211446"/>
                  <a:pt x="1389944" y="213465"/>
                </a:cubicBezTo>
                <a:cubicBezTo>
                  <a:pt x="1403238" y="215484"/>
                  <a:pt x="1415606" y="218850"/>
                  <a:pt x="1427048" y="223562"/>
                </a:cubicBezTo>
                <a:lnTo>
                  <a:pt x="1418466" y="277073"/>
                </a:lnTo>
                <a:cubicBezTo>
                  <a:pt x="1412745" y="274381"/>
                  <a:pt x="1407444" y="272193"/>
                  <a:pt x="1402564" y="270510"/>
                </a:cubicBezTo>
                <a:cubicBezTo>
                  <a:pt x="1397684" y="268828"/>
                  <a:pt x="1392973" y="267566"/>
                  <a:pt x="1388429" y="266724"/>
                </a:cubicBezTo>
                <a:cubicBezTo>
                  <a:pt x="1383886" y="265883"/>
                  <a:pt x="1379174" y="265294"/>
                  <a:pt x="1374294" y="264957"/>
                </a:cubicBezTo>
                <a:cubicBezTo>
                  <a:pt x="1369414" y="264621"/>
                  <a:pt x="1364114" y="264452"/>
                  <a:pt x="1358392" y="264452"/>
                </a:cubicBezTo>
                <a:cubicBezTo>
                  <a:pt x="1353007" y="264452"/>
                  <a:pt x="1348127" y="264957"/>
                  <a:pt x="1343752" y="265967"/>
                </a:cubicBezTo>
                <a:cubicBezTo>
                  <a:pt x="1339377" y="266977"/>
                  <a:pt x="1335675" y="268996"/>
                  <a:pt x="1332646" y="272025"/>
                </a:cubicBezTo>
                <a:cubicBezTo>
                  <a:pt x="1329617" y="275054"/>
                  <a:pt x="1327261" y="279261"/>
                  <a:pt x="1325579" y="284645"/>
                </a:cubicBezTo>
                <a:cubicBezTo>
                  <a:pt x="1323896" y="290030"/>
                  <a:pt x="1323054" y="297098"/>
                  <a:pt x="1323054" y="305848"/>
                </a:cubicBezTo>
                <a:lnTo>
                  <a:pt x="1323054" y="401765"/>
                </a:lnTo>
                <a:lnTo>
                  <a:pt x="1422505" y="401765"/>
                </a:lnTo>
                <a:lnTo>
                  <a:pt x="1422505" y="453257"/>
                </a:lnTo>
                <a:lnTo>
                  <a:pt x="1323054" y="453257"/>
                </a:lnTo>
                <a:close/>
                <a:moveTo>
                  <a:pt x="539852" y="532010"/>
                </a:moveTo>
                <a:cubicBezTo>
                  <a:pt x="534131" y="532010"/>
                  <a:pt x="527568" y="531841"/>
                  <a:pt x="520164" y="531505"/>
                </a:cubicBezTo>
                <a:cubicBezTo>
                  <a:pt x="512760" y="531168"/>
                  <a:pt x="505187" y="530748"/>
                  <a:pt x="497447" y="530243"/>
                </a:cubicBezTo>
                <a:cubicBezTo>
                  <a:pt x="489706" y="529738"/>
                  <a:pt x="482049" y="528981"/>
                  <a:pt x="474477" y="527971"/>
                </a:cubicBezTo>
                <a:cubicBezTo>
                  <a:pt x="466905" y="526961"/>
                  <a:pt x="460090" y="525784"/>
                  <a:pt x="454032" y="524437"/>
                </a:cubicBezTo>
                <a:lnTo>
                  <a:pt x="454032" y="215989"/>
                </a:lnTo>
                <a:lnTo>
                  <a:pt x="516125" y="215989"/>
                </a:lnTo>
                <a:lnTo>
                  <a:pt x="516125" y="321498"/>
                </a:lnTo>
                <a:lnTo>
                  <a:pt x="538337" y="321498"/>
                </a:lnTo>
                <a:cubicBezTo>
                  <a:pt x="578723" y="321498"/>
                  <a:pt x="609938" y="329827"/>
                  <a:pt x="631982" y="346486"/>
                </a:cubicBezTo>
                <a:cubicBezTo>
                  <a:pt x="654026" y="363146"/>
                  <a:pt x="665048" y="390154"/>
                  <a:pt x="665048" y="427511"/>
                </a:cubicBezTo>
                <a:cubicBezTo>
                  <a:pt x="665048" y="464531"/>
                  <a:pt x="654111" y="491203"/>
                  <a:pt x="632235" y="507526"/>
                </a:cubicBezTo>
                <a:cubicBezTo>
                  <a:pt x="610359" y="523848"/>
                  <a:pt x="579565" y="532010"/>
                  <a:pt x="539852" y="532010"/>
                </a:cubicBezTo>
                <a:close/>
                <a:moveTo>
                  <a:pt x="3816452" y="535544"/>
                </a:moveTo>
                <a:cubicBezTo>
                  <a:pt x="3797604" y="535544"/>
                  <a:pt x="3780694" y="532430"/>
                  <a:pt x="3765716" y="526204"/>
                </a:cubicBezTo>
                <a:cubicBezTo>
                  <a:pt x="3750740" y="519978"/>
                  <a:pt x="3738708" y="513836"/>
                  <a:pt x="3729622" y="507778"/>
                </a:cubicBezTo>
                <a:lnTo>
                  <a:pt x="3751834" y="462344"/>
                </a:lnTo>
                <a:cubicBezTo>
                  <a:pt x="3760248" y="468065"/>
                  <a:pt x="3770260" y="472861"/>
                  <a:pt x="3781872" y="476731"/>
                </a:cubicBezTo>
                <a:cubicBezTo>
                  <a:pt x="3793482" y="480602"/>
                  <a:pt x="3805178" y="482537"/>
                  <a:pt x="3816956" y="482537"/>
                </a:cubicBezTo>
                <a:cubicBezTo>
                  <a:pt x="3829072" y="482537"/>
                  <a:pt x="3838580" y="479255"/>
                  <a:pt x="3845480" y="472693"/>
                </a:cubicBezTo>
                <a:cubicBezTo>
                  <a:pt x="3852378" y="466130"/>
                  <a:pt x="3855828" y="457127"/>
                  <a:pt x="3855828" y="445685"/>
                </a:cubicBezTo>
                <a:cubicBezTo>
                  <a:pt x="3855828" y="437944"/>
                  <a:pt x="3854230" y="431550"/>
                  <a:pt x="3851032" y="426501"/>
                </a:cubicBezTo>
                <a:cubicBezTo>
                  <a:pt x="3847836" y="421453"/>
                  <a:pt x="3843712" y="417414"/>
                  <a:pt x="3838664" y="414385"/>
                </a:cubicBezTo>
                <a:cubicBezTo>
                  <a:pt x="3833616" y="411357"/>
                  <a:pt x="3827894" y="409169"/>
                  <a:pt x="3821500" y="407823"/>
                </a:cubicBezTo>
                <a:cubicBezTo>
                  <a:pt x="3815106" y="406477"/>
                  <a:pt x="3808712" y="405803"/>
                  <a:pt x="3802316" y="405803"/>
                </a:cubicBezTo>
                <a:lnTo>
                  <a:pt x="3779094" y="405803"/>
                </a:lnTo>
                <a:lnTo>
                  <a:pt x="3779094" y="354311"/>
                </a:lnTo>
                <a:lnTo>
                  <a:pt x="3798278" y="354311"/>
                </a:lnTo>
                <a:cubicBezTo>
                  <a:pt x="3818470" y="354311"/>
                  <a:pt x="3835130" y="351030"/>
                  <a:pt x="3848256" y="344467"/>
                </a:cubicBezTo>
                <a:cubicBezTo>
                  <a:pt x="3861380" y="337904"/>
                  <a:pt x="3867944" y="326378"/>
                  <a:pt x="3867944" y="309887"/>
                </a:cubicBezTo>
                <a:cubicBezTo>
                  <a:pt x="3867944" y="296425"/>
                  <a:pt x="3863652" y="285150"/>
                  <a:pt x="3855072" y="276063"/>
                </a:cubicBezTo>
                <a:cubicBezTo>
                  <a:pt x="3846488" y="266977"/>
                  <a:pt x="3831596" y="262433"/>
                  <a:pt x="3810394" y="262433"/>
                </a:cubicBezTo>
                <a:cubicBezTo>
                  <a:pt x="3793230" y="262433"/>
                  <a:pt x="3778506" y="264284"/>
                  <a:pt x="3766222" y="267986"/>
                </a:cubicBezTo>
                <a:cubicBezTo>
                  <a:pt x="3753938" y="271688"/>
                  <a:pt x="3743924" y="275222"/>
                  <a:pt x="3736184" y="278588"/>
                </a:cubicBezTo>
                <a:lnTo>
                  <a:pt x="3724068" y="226591"/>
                </a:lnTo>
                <a:cubicBezTo>
                  <a:pt x="3727770" y="224908"/>
                  <a:pt x="3732988" y="223057"/>
                  <a:pt x="3739718" y="221037"/>
                </a:cubicBezTo>
                <a:cubicBezTo>
                  <a:pt x="3746450" y="219018"/>
                  <a:pt x="3753770" y="217167"/>
                  <a:pt x="3761678" y="215484"/>
                </a:cubicBezTo>
                <a:cubicBezTo>
                  <a:pt x="3769588" y="213802"/>
                  <a:pt x="3777832" y="212371"/>
                  <a:pt x="3786414" y="211193"/>
                </a:cubicBezTo>
                <a:cubicBezTo>
                  <a:pt x="3794996" y="210015"/>
                  <a:pt x="3803158" y="209427"/>
                  <a:pt x="3810898" y="209427"/>
                </a:cubicBezTo>
                <a:cubicBezTo>
                  <a:pt x="3831764" y="209427"/>
                  <a:pt x="3849770" y="211867"/>
                  <a:pt x="3864916" y="216746"/>
                </a:cubicBezTo>
                <a:cubicBezTo>
                  <a:pt x="3880060" y="221626"/>
                  <a:pt x="3892512" y="228526"/>
                  <a:pt x="3902272" y="237444"/>
                </a:cubicBezTo>
                <a:cubicBezTo>
                  <a:pt x="3912032" y="246363"/>
                  <a:pt x="3919268" y="256880"/>
                  <a:pt x="3923980" y="268996"/>
                </a:cubicBezTo>
                <a:cubicBezTo>
                  <a:pt x="3928692" y="281112"/>
                  <a:pt x="3931048" y="294405"/>
                  <a:pt x="3931048" y="308877"/>
                </a:cubicBezTo>
                <a:cubicBezTo>
                  <a:pt x="3931048" y="327051"/>
                  <a:pt x="3926588" y="342700"/>
                  <a:pt x="3917668" y="355826"/>
                </a:cubicBezTo>
                <a:cubicBezTo>
                  <a:pt x="3908750" y="368951"/>
                  <a:pt x="3896214" y="378879"/>
                  <a:pt x="3880060" y="385610"/>
                </a:cubicBezTo>
                <a:cubicBezTo>
                  <a:pt x="3891840" y="391668"/>
                  <a:pt x="3901262" y="400419"/>
                  <a:pt x="3908330" y="411861"/>
                </a:cubicBezTo>
                <a:cubicBezTo>
                  <a:pt x="3915398" y="423304"/>
                  <a:pt x="3918932" y="435252"/>
                  <a:pt x="3918932" y="447704"/>
                </a:cubicBezTo>
                <a:cubicBezTo>
                  <a:pt x="3918932" y="460156"/>
                  <a:pt x="3916912" y="471767"/>
                  <a:pt x="3912874" y="482537"/>
                </a:cubicBezTo>
                <a:cubicBezTo>
                  <a:pt x="3908834" y="493306"/>
                  <a:pt x="3902608" y="502646"/>
                  <a:pt x="3894196" y="510555"/>
                </a:cubicBezTo>
                <a:cubicBezTo>
                  <a:pt x="3885780" y="518464"/>
                  <a:pt x="3875096" y="524606"/>
                  <a:pt x="3862138" y="528981"/>
                </a:cubicBezTo>
                <a:cubicBezTo>
                  <a:pt x="3849180" y="533356"/>
                  <a:pt x="3833952" y="535544"/>
                  <a:pt x="3816452" y="535544"/>
                </a:cubicBezTo>
                <a:close/>
                <a:moveTo>
                  <a:pt x="3567354" y="535544"/>
                </a:moveTo>
                <a:cubicBezTo>
                  <a:pt x="3549854" y="535544"/>
                  <a:pt x="3532268" y="532178"/>
                  <a:pt x="3514600" y="525447"/>
                </a:cubicBezTo>
                <a:cubicBezTo>
                  <a:pt x="3496930" y="518716"/>
                  <a:pt x="3481366" y="508283"/>
                  <a:pt x="3467904" y="494148"/>
                </a:cubicBezTo>
                <a:lnTo>
                  <a:pt x="3498698" y="450733"/>
                </a:lnTo>
                <a:cubicBezTo>
                  <a:pt x="3509130" y="461839"/>
                  <a:pt x="3519732" y="469748"/>
                  <a:pt x="3530502" y="474460"/>
                </a:cubicBezTo>
                <a:cubicBezTo>
                  <a:pt x="3541272" y="479171"/>
                  <a:pt x="3551536" y="481527"/>
                  <a:pt x="3561296" y="481527"/>
                </a:cubicBezTo>
                <a:cubicBezTo>
                  <a:pt x="3573076" y="481527"/>
                  <a:pt x="3582836" y="478078"/>
                  <a:pt x="3590576" y="471178"/>
                </a:cubicBezTo>
                <a:cubicBezTo>
                  <a:pt x="3598316" y="464279"/>
                  <a:pt x="3602186" y="454435"/>
                  <a:pt x="3602188" y="441646"/>
                </a:cubicBezTo>
                <a:cubicBezTo>
                  <a:pt x="3602186" y="432559"/>
                  <a:pt x="3599074" y="423641"/>
                  <a:pt x="3592848" y="414890"/>
                </a:cubicBezTo>
                <a:cubicBezTo>
                  <a:pt x="3586622" y="406140"/>
                  <a:pt x="3578712" y="397053"/>
                  <a:pt x="3569120" y="387630"/>
                </a:cubicBezTo>
                <a:cubicBezTo>
                  <a:pt x="3559528" y="378206"/>
                  <a:pt x="3549264" y="368362"/>
                  <a:pt x="3538326" y="358097"/>
                </a:cubicBezTo>
                <a:cubicBezTo>
                  <a:pt x="3527388" y="347833"/>
                  <a:pt x="3517124" y="336727"/>
                  <a:pt x="3507532" y="324779"/>
                </a:cubicBezTo>
                <a:cubicBezTo>
                  <a:pt x="3497940" y="312831"/>
                  <a:pt x="3490032" y="299790"/>
                  <a:pt x="3483806" y="285655"/>
                </a:cubicBezTo>
                <a:cubicBezTo>
                  <a:pt x="3477580" y="271520"/>
                  <a:pt x="3474466" y="256039"/>
                  <a:pt x="3474466" y="239211"/>
                </a:cubicBezTo>
                <a:cubicBezTo>
                  <a:pt x="3474466" y="237192"/>
                  <a:pt x="3474382" y="233658"/>
                  <a:pt x="3474214" y="228610"/>
                </a:cubicBezTo>
                <a:cubicBezTo>
                  <a:pt x="3474046" y="223562"/>
                  <a:pt x="3474466" y="219355"/>
                  <a:pt x="3475476" y="215989"/>
                </a:cubicBezTo>
                <a:lnTo>
                  <a:pt x="3679426" y="215989"/>
                </a:lnTo>
                <a:lnTo>
                  <a:pt x="3679426" y="267481"/>
                </a:lnTo>
                <a:lnTo>
                  <a:pt x="3545142" y="267481"/>
                </a:lnTo>
                <a:cubicBezTo>
                  <a:pt x="3545142" y="272530"/>
                  <a:pt x="3546908" y="278083"/>
                  <a:pt x="3550442" y="284141"/>
                </a:cubicBezTo>
                <a:cubicBezTo>
                  <a:pt x="3553976" y="290198"/>
                  <a:pt x="3558268" y="296172"/>
                  <a:pt x="3563316" y="302062"/>
                </a:cubicBezTo>
                <a:cubicBezTo>
                  <a:pt x="3568364" y="307952"/>
                  <a:pt x="3573748" y="313673"/>
                  <a:pt x="3579470" y="319226"/>
                </a:cubicBezTo>
                <a:cubicBezTo>
                  <a:pt x="3585190" y="324779"/>
                  <a:pt x="3590240" y="329575"/>
                  <a:pt x="3594614" y="333613"/>
                </a:cubicBezTo>
                <a:cubicBezTo>
                  <a:pt x="3603364" y="341691"/>
                  <a:pt x="3611946" y="350104"/>
                  <a:pt x="3620360" y="358855"/>
                </a:cubicBezTo>
                <a:cubicBezTo>
                  <a:pt x="3628774" y="367605"/>
                  <a:pt x="3636346" y="376692"/>
                  <a:pt x="3643078" y="386115"/>
                </a:cubicBezTo>
                <a:cubicBezTo>
                  <a:pt x="3649808" y="395539"/>
                  <a:pt x="3655194" y="405214"/>
                  <a:pt x="3659232" y="415143"/>
                </a:cubicBezTo>
                <a:cubicBezTo>
                  <a:pt x="3663270" y="425071"/>
                  <a:pt x="3665290" y="435420"/>
                  <a:pt x="3665290" y="446189"/>
                </a:cubicBezTo>
                <a:cubicBezTo>
                  <a:pt x="3665290" y="460998"/>
                  <a:pt x="3662598" y="474039"/>
                  <a:pt x="3657212" y="485313"/>
                </a:cubicBezTo>
                <a:cubicBezTo>
                  <a:pt x="3651828" y="496588"/>
                  <a:pt x="3644592" y="505927"/>
                  <a:pt x="3635506" y="513331"/>
                </a:cubicBezTo>
                <a:cubicBezTo>
                  <a:pt x="3626418" y="520735"/>
                  <a:pt x="3615986" y="526288"/>
                  <a:pt x="3604206" y="529990"/>
                </a:cubicBezTo>
                <a:cubicBezTo>
                  <a:pt x="3592426" y="533692"/>
                  <a:pt x="3580142" y="535544"/>
                  <a:pt x="3567354" y="535544"/>
                </a:cubicBezTo>
                <a:close/>
                <a:moveTo>
                  <a:pt x="3324752" y="535544"/>
                </a:moveTo>
                <a:cubicBezTo>
                  <a:pt x="3290088" y="535544"/>
                  <a:pt x="3263332" y="522081"/>
                  <a:pt x="3244486" y="495157"/>
                </a:cubicBezTo>
                <a:cubicBezTo>
                  <a:pt x="3225638" y="468233"/>
                  <a:pt x="3216214" y="427511"/>
                  <a:pt x="3216214" y="372990"/>
                </a:cubicBezTo>
                <a:cubicBezTo>
                  <a:pt x="3216214" y="317796"/>
                  <a:pt x="3225470" y="276737"/>
                  <a:pt x="3243980" y="249813"/>
                </a:cubicBezTo>
                <a:cubicBezTo>
                  <a:pt x="3262490" y="222889"/>
                  <a:pt x="3289414" y="209427"/>
                  <a:pt x="3324752" y="209427"/>
                </a:cubicBezTo>
                <a:cubicBezTo>
                  <a:pt x="3360090" y="209427"/>
                  <a:pt x="3387014" y="222889"/>
                  <a:pt x="3405524" y="249813"/>
                </a:cubicBezTo>
                <a:cubicBezTo>
                  <a:pt x="3424034" y="276737"/>
                  <a:pt x="3433290" y="317796"/>
                  <a:pt x="3433290" y="372990"/>
                </a:cubicBezTo>
                <a:cubicBezTo>
                  <a:pt x="3433290" y="427847"/>
                  <a:pt x="3424034" y="468654"/>
                  <a:pt x="3405524" y="495410"/>
                </a:cubicBezTo>
                <a:cubicBezTo>
                  <a:pt x="3387014" y="522166"/>
                  <a:pt x="3360090" y="535544"/>
                  <a:pt x="3324752" y="535544"/>
                </a:cubicBezTo>
                <a:close/>
                <a:moveTo>
                  <a:pt x="3062528" y="535544"/>
                </a:moveTo>
                <a:cubicBezTo>
                  <a:pt x="3045028" y="535544"/>
                  <a:pt x="3027444" y="532178"/>
                  <a:pt x="3009774" y="525447"/>
                </a:cubicBezTo>
                <a:cubicBezTo>
                  <a:pt x="2992106" y="518716"/>
                  <a:pt x="2976540" y="508283"/>
                  <a:pt x="2963078" y="494148"/>
                </a:cubicBezTo>
                <a:lnTo>
                  <a:pt x="2993872" y="450733"/>
                </a:lnTo>
                <a:cubicBezTo>
                  <a:pt x="3004306" y="461839"/>
                  <a:pt x="3014908" y="469748"/>
                  <a:pt x="3025676" y="474460"/>
                </a:cubicBezTo>
                <a:cubicBezTo>
                  <a:pt x="3036446" y="479171"/>
                  <a:pt x="3046712" y="481527"/>
                  <a:pt x="3056472" y="481527"/>
                </a:cubicBezTo>
                <a:cubicBezTo>
                  <a:pt x="3068250" y="481527"/>
                  <a:pt x="3078010" y="478078"/>
                  <a:pt x="3085752" y="471178"/>
                </a:cubicBezTo>
                <a:cubicBezTo>
                  <a:pt x="3093492" y="464279"/>
                  <a:pt x="3097362" y="454435"/>
                  <a:pt x="3097362" y="441646"/>
                </a:cubicBezTo>
                <a:cubicBezTo>
                  <a:pt x="3097362" y="432559"/>
                  <a:pt x="3094248" y="423641"/>
                  <a:pt x="3088022" y="414890"/>
                </a:cubicBezTo>
                <a:cubicBezTo>
                  <a:pt x="3081796" y="406140"/>
                  <a:pt x="3073888" y="397053"/>
                  <a:pt x="3064296" y="387630"/>
                </a:cubicBezTo>
                <a:cubicBezTo>
                  <a:pt x="3054704" y="378206"/>
                  <a:pt x="3044440" y="368362"/>
                  <a:pt x="3033502" y="358097"/>
                </a:cubicBezTo>
                <a:cubicBezTo>
                  <a:pt x="3022564" y="347833"/>
                  <a:pt x="3012298" y="336727"/>
                  <a:pt x="3002708" y="324779"/>
                </a:cubicBezTo>
                <a:cubicBezTo>
                  <a:pt x="2993116" y="312831"/>
                  <a:pt x="2985206" y="299790"/>
                  <a:pt x="2978980" y="285655"/>
                </a:cubicBezTo>
                <a:cubicBezTo>
                  <a:pt x="2972754" y="271520"/>
                  <a:pt x="2969642" y="256039"/>
                  <a:pt x="2969642" y="239211"/>
                </a:cubicBezTo>
                <a:cubicBezTo>
                  <a:pt x="2969642" y="237192"/>
                  <a:pt x="2969558" y="233658"/>
                  <a:pt x="2969388" y="228610"/>
                </a:cubicBezTo>
                <a:cubicBezTo>
                  <a:pt x="2969220" y="223562"/>
                  <a:pt x="2969640" y="219355"/>
                  <a:pt x="2970650" y="215989"/>
                </a:cubicBezTo>
                <a:lnTo>
                  <a:pt x="3174600" y="215989"/>
                </a:lnTo>
                <a:lnTo>
                  <a:pt x="3174600" y="267481"/>
                </a:lnTo>
                <a:lnTo>
                  <a:pt x="3040316" y="267481"/>
                </a:lnTo>
                <a:cubicBezTo>
                  <a:pt x="3040316" y="272530"/>
                  <a:pt x="3042084" y="278083"/>
                  <a:pt x="3045618" y="284141"/>
                </a:cubicBezTo>
                <a:cubicBezTo>
                  <a:pt x="3049152" y="290198"/>
                  <a:pt x="3053442" y="296172"/>
                  <a:pt x="3058490" y="302062"/>
                </a:cubicBezTo>
                <a:cubicBezTo>
                  <a:pt x="3063538" y="307952"/>
                  <a:pt x="3068924" y="313673"/>
                  <a:pt x="3074644" y="319226"/>
                </a:cubicBezTo>
                <a:cubicBezTo>
                  <a:pt x="3080366" y="324779"/>
                  <a:pt x="3085414" y="329575"/>
                  <a:pt x="3089790" y="333613"/>
                </a:cubicBezTo>
                <a:cubicBezTo>
                  <a:pt x="3098540" y="341691"/>
                  <a:pt x="3107122" y="350104"/>
                  <a:pt x="3115536" y="358855"/>
                </a:cubicBezTo>
                <a:cubicBezTo>
                  <a:pt x="3123950" y="367605"/>
                  <a:pt x="3131522" y="376692"/>
                  <a:pt x="3138252" y="386115"/>
                </a:cubicBezTo>
                <a:cubicBezTo>
                  <a:pt x="3144984" y="395539"/>
                  <a:pt x="3150368" y="405214"/>
                  <a:pt x="3154408" y="415143"/>
                </a:cubicBezTo>
                <a:cubicBezTo>
                  <a:pt x="3158446" y="425071"/>
                  <a:pt x="3160464" y="435420"/>
                  <a:pt x="3160464" y="446189"/>
                </a:cubicBezTo>
                <a:cubicBezTo>
                  <a:pt x="3160464" y="460998"/>
                  <a:pt x="3157772" y="474039"/>
                  <a:pt x="3152388" y="485313"/>
                </a:cubicBezTo>
                <a:cubicBezTo>
                  <a:pt x="3147002" y="496588"/>
                  <a:pt x="3139766" y="505927"/>
                  <a:pt x="3130680" y="513331"/>
                </a:cubicBezTo>
                <a:cubicBezTo>
                  <a:pt x="3121594" y="520735"/>
                  <a:pt x="3111160" y="526288"/>
                  <a:pt x="3099382" y="529990"/>
                </a:cubicBezTo>
                <a:cubicBezTo>
                  <a:pt x="3087602" y="533692"/>
                  <a:pt x="3075318" y="535544"/>
                  <a:pt x="3062528" y="535544"/>
                </a:cubicBezTo>
                <a:close/>
                <a:moveTo>
                  <a:pt x="2292890" y="561290"/>
                </a:moveTo>
                <a:cubicBezTo>
                  <a:pt x="2282120" y="561290"/>
                  <a:pt x="2272949" y="557756"/>
                  <a:pt x="2265377" y="550688"/>
                </a:cubicBezTo>
                <a:cubicBezTo>
                  <a:pt x="2257805" y="543621"/>
                  <a:pt x="2254018" y="533861"/>
                  <a:pt x="2254018" y="521408"/>
                </a:cubicBezTo>
                <a:cubicBezTo>
                  <a:pt x="2254018" y="509293"/>
                  <a:pt x="2257805" y="499701"/>
                  <a:pt x="2265377" y="492633"/>
                </a:cubicBezTo>
                <a:cubicBezTo>
                  <a:pt x="2272949" y="485566"/>
                  <a:pt x="2282120" y="482032"/>
                  <a:pt x="2292890" y="482032"/>
                </a:cubicBezTo>
                <a:cubicBezTo>
                  <a:pt x="2303660" y="482032"/>
                  <a:pt x="2312914" y="485566"/>
                  <a:pt x="2320655" y="492633"/>
                </a:cubicBezTo>
                <a:cubicBezTo>
                  <a:pt x="2328396" y="499701"/>
                  <a:pt x="2332266" y="509293"/>
                  <a:pt x="2332266" y="521408"/>
                </a:cubicBezTo>
                <a:cubicBezTo>
                  <a:pt x="2332266" y="533861"/>
                  <a:pt x="2328396" y="543621"/>
                  <a:pt x="2320655" y="550688"/>
                </a:cubicBezTo>
                <a:cubicBezTo>
                  <a:pt x="2312914" y="557756"/>
                  <a:pt x="2303660" y="561290"/>
                  <a:pt x="2292890" y="561290"/>
                </a:cubicBezTo>
                <a:close/>
                <a:moveTo>
                  <a:pt x="1959420" y="563309"/>
                </a:moveTo>
                <a:lnTo>
                  <a:pt x="1959420" y="511817"/>
                </a:lnTo>
                <a:lnTo>
                  <a:pt x="2025047" y="511817"/>
                </a:lnTo>
                <a:lnTo>
                  <a:pt x="2025047" y="310392"/>
                </a:lnTo>
                <a:cubicBezTo>
                  <a:pt x="2025047" y="277746"/>
                  <a:pt x="2031610" y="252926"/>
                  <a:pt x="2044735" y="235930"/>
                </a:cubicBezTo>
                <a:cubicBezTo>
                  <a:pt x="2057860" y="218934"/>
                  <a:pt x="2078727" y="210436"/>
                  <a:pt x="2107333" y="210436"/>
                </a:cubicBezTo>
                <a:cubicBezTo>
                  <a:pt x="2117767" y="210436"/>
                  <a:pt x="2127106" y="211109"/>
                  <a:pt x="2135351" y="212455"/>
                </a:cubicBezTo>
                <a:cubicBezTo>
                  <a:pt x="2143597" y="213802"/>
                  <a:pt x="2150580" y="215400"/>
                  <a:pt x="2156302" y="217251"/>
                </a:cubicBezTo>
                <a:cubicBezTo>
                  <a:pt x="2162023" y="219102"/>
                  <a:pt x="2166650" y="220869"/>
                  <a:pt x="2170184" y="222552"/>
                </a:cubicBezTo>
                <a:cubicBezTo>
                  <a:pt x="2173718" y="224235"/>
                  <a:pt x="2175990" y="225413"/>
                  <a:pt x="2176999" y="226086"/>
                </a:cubicBezTo>
                <a:lnTo>
                  <a:pt x="2168922" y="276063"/>
                </a:lnTo>
                <a:cubicBezTo>
                  <a:pt x="2166230" y="275054"/>
                  <a:pt x="2160677" y="272866"/>
                  <a:pt x="2152263" y="269501"/>
                </a:cubicBezTo>
                <a:cubicBezTo>
                  <a:pt x="2143849" y="266135"/>
                  <a:pt x="2133416" y="264452"/>
                  <a:pt x="2120964" y="264452"/>
                </a:cubicBezTo>
                <a:cubicBezTo>
                  <a:pt x="2111204" y="264452"/>
                  <a:pt x="2103126" y="267313"/>
                  <a:pt x="2096732" y="273034"/>
                </a:cubicBezTo>
                <a:cubicBezTo>
                  <a:pt x="2090338" y="278756"/>
                  <a:pt x="2087140" y="289694"/>
                  <a:pt x="2087140" y="305848"/>
                </a:cubicBezTo>
                <a:lnTo>
                  <a:pt x="2087140" y="563309"/>
                </a:lnTo>
                <a:close/>
                <a:moveTo>
                  <a:pt x="1607052" y="565833"/>
                </a:moveTo>
                <a:cubicBezTo>
                  <a:pt x="1594263" y="565833"/>
                  <a:pt x="1581811" y="564234"/>
                  <a:pt x="1569695" y="561037"/>
                </a:cubicBezTo>
                <a:cubicBezTo>
                  <a:pt x="1557579" y="557840"/>
                  <a:pt x="1546810" y="552455"/>
                  <a:pt x="1537386" y="544883"/>
                </a:cubicBezTo>
                <a:cubicBezTo>
                  <a:pt x="1527963" y="537310"/>
                  <a:pt x="1520474" y="527214"/>
                  <a:pt x="1514921" y="514593"/>
                </a:cubicBezTo>
                <a:cubicBezTo>
                  <a:pt x="1509368" y="501973"/>
                  <a:pt x="1506592" y="486071"/>
                  <a:pt x="1506592" y="466887"/>
                </a:cubicBezTo>
                <a:lnTo>
                  <a:pt x="1506592" y="453257"/>
                </a:lnTo>
                <a:lnTo>
                  <a:pt x="1454595" y="453257"/>
                </a:lnTo>
                <a:lnTo>
                  <a:pt x="1454595" y="401765"/>
                </a:lnTo>
                <a:lnTo>
                  <a:pt x="1506592" y="401765"/>
                </a:lnTo>
                <a:lnTo>
                  <a:pt x="1506592" y="215989"/>
                </a:lnTo>
                <a:lnTo>
                  <a:pt x="1569190" y="215989"/>
                </a:lnTo>
                <a:lnTo>
                  <a:pt x="1569190" y="401765"/>
                </a:lnTo>
                <a:lnTo>
                  <a:pt x="1666621" y="401765"/>
                </a:lnTo>
                <a:lnTo>
                  <a:pt x="1666621" y="453257"/>
                </a:lnTo>
                <a:lnTo>
                  <a:pt x="1569190" y="453257"/>
                </a:lnTo>
                <a:lnTo>
                  <a:pt x="1569190" y="465878"/>
                </a:lnTo>
                <a:cubicBezTo>
                  <a:pt x="1569190" y="475974"/>
                  <a:pt x="1570368" y="484135"/>
                  <a:pt x="1572724" y="490362"/>
                </a:cubicBezTo>
                <a:cubicBezTo>
                  <a:pt x="1575080" y="496588"/>
                  <a:pt x="1578193" y="501384"/>
                  <a:pt x="1582063" y="504749"/>
                </a:cubicBezTo>
                <a:cubicBezTo>
                  <a:pt x="1585933" y="508115"/>
                  <a:pt x="1590477" y="510302"/>
                  <a:pt x="1595693" y="511312"/>
                </a:cubicBezTo>
                <a:cubicBezTo>
                  <a:pt x="1600910" y="512322"/>
                  <a:pt x="1606379" y="512826"/>
                  <a:pt x="1612100" y="512826"/>
                </a:cubicBezTo>
                <a:cubicBezTo>
                  <a:pt x="1622533" y="512826"/>
                  <a:pt x="1633555" y="511396"/>
                  <a:pt x="1645166" y="508535"/>
                </a:cubicBezTo>
                <a:cubicBezTo>
                  <a:pt x="1656777" y="505675"/>
                  <a:pt x="1666453" y="502898"/>
                  <a:pt x="1674194" y="500206"/>
                </a:cubicBezTo>
                <a:lnTo>
                  <a:pt x="1684795" y="550688"/>
                </a:lnTo>
                <a:cubicBezTo>
                  <a:pt x="1673689" y="556073"/>
                  <a:pt x="1661236" y="559943"/>
                  <a:pt x="1647438" y="562299"/>
                </a:cubicBezTo>
                <a:cubicBezTo>
                  <a:pt x="1633639" y="564655"/>
                  <a:pt x="1620178" y="565833"/>
                  <a:pt x="1607052" y="565833"/>
                </a:cubicBezTo>
                <a:close/>
                <a:moveTo>
                  <a:pt x="0" y="796029"/>
                </a:moveTo>
                <a:lnTo>
                  <a:pt x="4876802" y="796029"/>
                </a:lnTo>
                <a:lnTo>
                  <a:pt x="4824822" y="344498"/>
                </a:lnTo>
                <a:cubicBezTo>
                  <a:pt x="4801968" y="145891"/>
                  <a:pt x="4682292" y="207"/>
                  <a:pt x="4541980" y="155"/>
                </a:cubicBezTo>
                <a:lnTo>
                  <a:pt x="0" y="0"/>
                </a:lnTo>
                <a:close/>
              </a:path>
            </a:pathLst>
          </a:custGeom>
          <a:solidFill>
            <a:schemeClr val="bg1"/>
          </a:solidFill>
          <a:ln w="2834" cap="flat">
            <a:noFill/>
            <a:prstDash val="solid"/>
            <a:miter/>
          </a:ln>
        </p:spPr>
        <p:txBody>
          <a:bodyPr wrap="square" rtlCol="0" anchor="ctr">
            <a:noAutofit/>
          </a:bodyPr>
          <a:lstStyle/>
          <a:p>
            <a:endParaRPr lang="en-US"/>
          </a:p>
        </p:txBody>
      </p:sp>
      <p:pic>
        <p:nvPicPr>
          <p:cNvPr id="8" name="Imagen 7" descr="Un dibujo de una cara feliz&#10;&#10;Descripción generada automáticamente con confianza baja">
            <a:extLst>
              <a:ext uri="{FF2B5EF4-FFF2-40B4-BE49-F238E27FC236}">
                <a16:creationId xmlns:a16="http://schemas.microsoft.com/office/drawing/2014/main" id="{A82FAAE7-F450-2EFB-B470-9CA2B285AACF}"/>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7824450" y="406400"/>
            <a:ext cx="1801936" cy="934010"/>
          </a:xfrm>
          <a:prstGeom prst="rect">
            <a:avLst/>
          </a:prstGeom>
        </p:spPr>
      </p:pic>
    </p:spTree>
    <p:extLst>
      <p:ext uri="{BB962C8B-B14F-4D97-AF65-F5344CB8AC3E}">
        <p14:creationId xmlns:p14="http://schemas.microsoft.com/office/powerpoint/2010/main" val="277367485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losing3">
    <p:spTree>
      <p:nvGrpSpPr>
        <p:cNvPr id="1" name=""/>
        <p:cNvGrpSpPr/>
        <p:nvPr/>
      </p:nvGrpSpPr>
      <p:grpSpPr>
        <a:xfrm>
          <a:off x="0" y="0"/>
          <a:ext cx="0" cy="0"/>
          <a:chOff x="0" y="0"/>
          <a:chExt cx="0" cy="0"/>
        </a:xfrm>
      </p:grpSpPr>
      <p:sp>
        <p:nvSpPr>
          <p:cNvPr id="10" name="Freeform 9"/>
          <p:cNvSpPr/>
          <p:nvPr userDrawn="1"/>
        </p:nvSpPr>
        <p:spPr>
          <a:xfrm>
            <a:off x="0" y="0"/>
            <a:ext cx="10052050" cy="9574239"/>
          </a:xfrm>
          <a:custGeom>
            <a:avLst/>
            <a:gdLst>
              <a:gd name="connsiteX0" fmla="*/ 0 w 6096000"/>
              <a:gd name="connsiteY0" fmla="*/ 0 h 5796064"/>
              <a:gd name="connsiteX1" fmla="*/ 6096000 w 6096000"/>
              <a:gd name="connsiteY1" fmla="*/ 0 h 5796064"/>
              <a:gd name="connsiteX2" fmla="*/ 6096000 w 6096000"/>
              <a:gd name="connsiteY2" fmla="*/ 133757 h 5796064"/>
              <a:gd name="connsiteX3" fmla="*/ 6096000 w 6096000"/>
              <a:gd name="connsiteY3" fmla="*/ 4034055 h 5796064"/>
              <a:gd name="connsiteX4" fmla="*/ 0 w 6096000"/>
              <a:gd name="connsiteY4" fmla="*/ 5309105 h 5796064"/>
              <a:gd name="connsiteX5" fmla="*/ 0 w 6096000"/>
              <a:gd name="connsiteY5" fmla="*/ 8972 h 5796064"/>
              <a:gd name="connsiteX6" fmla="*/ 0 w 6096000"/>
              <a:gd name="connsiteY6" fmla="*/ 0 h 579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0" h="5796064">
                <a:moveTo>
                  <a:pt x="0" y="0"/>
                </a:moveTo>
                <a:lnTo>
                  <a:pt x="6096000" y="0"/>
                </a:lnTo>
                <a:lnTo>
                  <a:pt x="6096000" y="133757"/>
                </a:lnTo>
                <a:cubicBezTo>
                  <a:pt x="6096000" y="1105896"/>
                  <a:pt x="6096000" y="2375629"/>
                  <a:pt x="6096000" y="4034055"/>
                </a:cubicBezTo>
                <a:cubicBezTo>
                  <a:pt x="6096000" y="6848354"/>
                  <a:pt x="721895" y="5492896"/>
                  <a:pt x="0" y="5309105"/>
                </a:cubicBezTo>
                <a:cubicBezTo>
                  <a:pt x="0" y="5309105"/>
                  <a:pt x="0" y="5309105"/>
                  <a:pt x="0" y="8972"/>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09">
              <a:solidFill>
                <a:schemeClr val="tx1"/>
              </a:solidFill>
            </a:endParaRPr>
          </a:p>
        </p:txBody>
      </p:sp>
      <p:sp>
        <p:nvSpPr>
          <p:cNvPr id="15" name="Rectangle 14"/>
          <p:cNvSpPr/>
          <p:nvPr userDrawn="1"/>
        </p:nvSpPr>
        <p:spPr>
          <a:xfrm>
            <a:off x="11799108" y="4053050"/>
            <a:ext cx="3660622" cy="3858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3298"/>
              </a:lnSpc>
            </a:pPr>
            <a:r>
              <a:rPr lang="en-US" sz="2638" b="1">
                <a:solidFill>
                  <a:schemeClr val="accent3"/>
                </a:solidFill>
                <a:latin typeface="Ubuntu" panose="020B0504030602030204" pitchFamily="34" charset="0"/>
              </a:rPr>
              <a:t>About Sogeti</a:t>
            </a:r>
          </a:p>
        </p:txBody>
      </p:sp>
      <p:sp>
        <p:nvSpPr>
          <p:cNvPr id="16" name="Rectangle 15"/>
          <p:cNvSpPr/>
          <p:nvPr userDrawn="1"/>
        </p:nvSpPr>
        <p:spPr>
          <a:xfrm>
            <a:off x="11816940" y="10092533"/>
            <a:ext cx="3392567" cy="6727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ct val="100000"/>
              </a:lnSpc>
              <a:spcAft>
                <a:spcPts val="660"/>
              </a:spcAft>
            </a:pPr>
            <a:r>
              <a:rPr lang="en-US" sz="1484" err="1">
                <a:solidFill>
                  <a:schemeClr val="tx1"/>
                </a:solidFill>
                <a:latin typeface="Ubuntu" panose="020B0504030602030204" pitchFamily="34" charset="0"/>
              </a:rPr>
              <a:t>Visítanos</a:t>
            </a:r>
            <a:r>
              <a:rPr lang="en-US" sz="1484">
                <a:solidFill>
                  <a:schemeClr val="tx1"/>
                </a:solidFill>
                <a:latin typeface="Ubuntu" panose="020B0504030602030204" pitchFamily="34" charset="0"/>
              </a:rPr>
              <a:t> en:</a:t>
            </a:r>
            <a:endParaRPr lang="en-US" sz="1484">
              <a:solidFill>
                <a:schemeClr val="accent3"/>
              </a:solidFill>
              <a:latin typeface="Ubuntu" panose="020B0504030602030204" pitchFamily="34" charset="0"/>
            </a:endParaRPr>
          </a:p>
          <a:p>
            <a:pPr algn="l">
              <a:lnSpc>
                <a:spcPct val="100000"/>
              </a:lnSpc>
              <a:spcAft>
                <a:spcPts val="660"/>
              </a:spcAft>
            </a:pPr>
            <a:r>
              <a:rPr lang="en-US" sz="1731" b="1">
                <a:solidFill>
                  <a:schemeClr val="accent3"/>
                </a:solidFill>
                <a:latin typeface="Ubuntu" panose="020B0504030602030204" pitchFamily="34" charset="0"/>
              </a:rPr>
              <a:t>www.sogeti.es</a:t>
            </a:r>
          </a:p>
        </p:txBody>
      </p:sp>
      <p:sp>
        <p:nvSpPr>
          <p:cNvPr id="30" name="Rectangle 29">
            <a:hlinkClick r:id="rId2"/>
          </p:cNvPr>
          <p:cNvSpPr/>
          <p:nvPr userDrawn="1"/>
        </p:nvSpPr>
        <p:spPr>
          <a:xfrm>
            <a:off x="11850157" y="10124738"/>
            <a:ext cx="1822224" cy="304189"/>
          </a:xfrm>
          <a:prstGeom prst="rect">
            <a:avLst/>
          </a:prstGeom>
          <a:solidFill>
            <a:srgbClr val="000000">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Ubuntu" panose="020B0504030602030204" pitchFamily="34" charset="0"/>
            </a:endParaRPr>
          </a:p>
        </p:txBody>
      </p:sp>
      <p:sp>
        <p:nvSpPr>
          <p:cNvPr id="23" name="Rectangle 22"/>
          <p:cNvSpPr/>
          <p:nvPr userDrawn="1"/>
        </p:nvSpPr>
        <p:spPr>
          <a:xfrm>
            <a:off x="693431" y="7592467"/>
            <a:ext cx="6594305" cy="737253"/>
          </a:xfrm>
          <a:prstGeom prst="rect">
            <a:avLst/>
          </a:prstGeom>
        </p:spPr>
        <p:txBody>
          <a:bodyPr wrap="square" lIns="0" tIns="0" rIns="0" bIns="0" anchor="b" anchorCtr="0">
            <a:spAutoFit/>
          </a:bodyPr>
          <a:lstStyle/>
          <a:p>
            <a:pPr algn="l">
              <a:spcAft>
                <a:spcPts val="989"/>
              </a:spcAft>
            </a:pPr>
            <a:r>
              <a:rPr lang="en-US" sz="1319" noProof="0">
                <a:solidFill>
                  <a:schemeClr val="bg1"/>
                </a:solidFill>
                <a:latin typeface="+mn-lt"/>
                <a:cs typeface="Arial"/>
              </a:rPr>
              <a:t>This message contains information that may be privileged or confidential and is the property of the Capgemini Group.</a:t>
            </a:r>
          </a:p>
          <a:p>
            <a:pPr algn="l">
              <a:spcAft>
                <a:spcPts val="989"/>
              </a:spcAft>
            </a:pPr>
            <a:r>
              <a:rPr lang="en-US" sz="1319" noProof="0">
                <a:solidFill>
                  <a:schemeClr val="bg1"/>
                </a:solidFill>
                <a:latin typeface="+mn-lt"/>
                <a:cs typeface="Arial"/>
              </a:rPr>
              <a:t>Copyright</a:t>
            </a:r>
            <a:r>
              <a:rPr lang="en-US" sz="1319" baseline="30000" noProof="0">
                <a:solidFill>
                  <a:schemeClr val="bg1"/>
                </a:solidFill>
                <a:latin typeface="+mn-lt"/>
                <a:cs typeface="Arial"/>
              </a:rPr>
              <a:t>©</a:t>
            </a:r>
            <a:r>
              <a:rPr lang="en-US" sz="1319" noProof="0">
                <a:solidFill>
                  <a:schemeClr val="bg1"/>
                </a:solidFill>
                <a:latin typeface="+mn-lt"/>
                <a:cs typeface="Arial"/>
              </a:rPr>
              <a:t> 2020 Sogeti. All rights reserved.</a:t>
            </a:r>
          </a:p>
        </p:txBody>
      </p:sp>
      <p:pic>
        <p:nvPicPr>
          <p:cNvPr id="11" name="Picture 1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6890336" y="679706"/>
            <a:ext cx="2600965" cy="1355257"/>
          </a:xfrm>
          <a:prstGeom prst="rect">
            <a:avLst/>
          </a:prstGeom>
        </p:spPr>
      </p:pic>
      <p:pic>
        <p:nvPicPr>
          <p:cNvPr id="9" name="Picture 2" descr="D:\My Work\Template\Icons\Social Media\LinkedIN.png">
            <a:hlinkClick r:id="rId4"/>
            <a:extLst>
              <a:ext uri="{FF2B5EF4-FFF2-40B4-BE49-F238E27FC236}">
                <a16:creationId xmlns:a16="http://schemas.microsoft.com/office/drawing/2014/main" id="{69B0AD73-FA6F-418A-94C3-EED4E25A5325}"/>
              </a:ext>
            </a:extLst>
          </p:cNvPr>
          <p:cNvPicPr>
            <a:picLocks noChangeAspect="1" noChangeArrowheads="1"/>
          </p:cNvPicPr>
          <p:nvPr userDrawn="1"/>
        </p:nvPicPr>
        <p:blipFill>
          <a:blip r:embed="rId5" cstate="print"/>
          <a:srcRect/>
          <a:stretch>
            <a:fillRect/>
          </a:stretch>
        </p:blipFill>
        <p:spPr bwMode="auto">
          <a:xfrm>
            <a:off x="693431" y="6545298"/>
            <a:ext cx="549425" cy="550389"/>
          </a:xfrm>
          <a:prstGeom prst="rect">
            <a:avLst/>
          </a:prstGeom>
          <a:noFill/>
        </p:spPr>
      </p:pic>
      <p:pic>
        <p:nvPicPr>
          <p:cNvPr id="12" name="Picture 5" descr="D:\My Work\Template\Icons\Social Media\Twitter.png">
            <a:hlinkClick r:id="rId6"/>
            <a:extLst>
              <a:ext uri="{FF2B5EF4-FFF2-40B4-BE49-F238E27FC236}">
                <a16:creationId xmlns:a16="http://schemas.microsoft.com/office/drawing/2014/main" id="{CD01C794-85B7-4ED7-A647-3BFD39BDA81E}"/>
              </a:ext>
            </a:extLst>
          </p:cNvPr>
          <p:cNvPicPr>
            <a:picLocks noChangeAspect="1" noChangeArrowheads="1"/>
          </p:cNvPicPr>
          <p:nvPr userDrawn="1"/>
        </p:nvPicPr>
        <p:blipFill>
          <a:blip r:embed="rId7" cstate="print"/>
          <a:srcRect/>
          <a:stretch>
            <a:fillRect/>
          </a:stretch>
        </p:blipFill>
        <p:spPr bwMode="auto">
          <a:xfrm>
            <a:off x="1325602" y="6545298"/>
            <a:ext cx="549425" cy="550389"/>
          </a:xfrm>
          <a:prstGeom prst="rect">
            <a:avLst/>
          </a:prstGeom>
          <a:noFill/>
        </p:spPr>
      </p:pic>
      <p:pic>
        <p:nvPicPr>
          <p:cNvPr id="13" name="Picture 6" descr="D:\My Work\Template\Icons\Social Media\YouTube.png">
            <a:hlinkClick r:id="rId8"/>
            <a:extLst>
              <a:ext uri="{FF2B5EF4-FFF2-40B4-BE49-F238E27FC236}">
                <a16:creationId xmlns:a16="http://schemas.microsoft.com/office/drawing/2014/main" id="{721FA104-A027-4E51-8E5C-6108C26E223D}"/>
              </a:ext>
            </a:extLst>
          </p:cNvPr>
          <p:cNvPicPr>
            <a:picLocks noChangeAspect="1" noChangeArrowheads="1"/>
          </p:cNvPicPr>
          <p:nvPr userDrawn="1"/>
        </p:nvPicPr>
        <p:blipFill>
          <a:blip r:embed="rId9" cstate="print"/>
          <a:srcRect/>
          <a:stretch>
            <a:fillRect/>
          </a:stretch>
        </p:blipFill>
        <p:spPr bwMode="auto">
          <a:xfrm>
            <a:off x="1957773" y="6545298"/>
            <a:ext cx="549425" cy="550389"/>
          </a:xfrm>
          <a:prstGeom prst="rect">
            <a:avLst/>
          </a:prstGeom>
          <a:noFill/>
        </p:spPr>
      </p:pic>
      <p:sp>
        <p:nvSpPr>
          <p:cNvPr id="17" name="Rectangle 16">
            <a:extLst>
              <a:ext uri="{FF2B5EF4-FFF2-40B4-BE49-F238E27FC236}">
                <a16:creationId xmlns:a16="http://schemas.microsoft.com/office/drawing/2014/main" id="{7C9E7AB6-360B-4526-A05F-E716E577D207}"/>
              </a:ext>
            </a:extLst>
          </p:cNvPr>
          <p:cNvSpPr/>
          <p:nvPr userDrawn="1"/>
        </p:nvSpPr>
        <p:spPr>
          <a:xfrm>
            <a:off x="11799108" y="5027920"/>
            <a:ext cx="7208266" cy="12725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s-ES" sz="1319" b="0" i="0" kern="1200">
                <a:solidFill>
                  <a:schemeClr val="tx2"/>
                </a:solidFill>
                <a:effectLst/>
                <a:latin typeface="Ubuntu" panose="020B0504030602030204" pitchFamily="34" charset="0"/>
                <a:ea typeface="+mn-ea"/>
                <a:cs typeface="+mn-cs"/>
              </a:rPr>
              <a:t>Como parte del Grupo Capgemini, Sogeti opera en más de 100 localizaciones a nivel mundial. Trabajando estrechamente con clientes y socios para aprovechar al máximo las oportunidades de la tecnología, Sogeti combina agilidad y velocidad de implementación  para  diseñar  soluciones  innovadoras  enfocadas  al  futuro  en Digital </a:t>
            </a:r>
            <a:r>
              <a:rPr lang="es-ES" sz="1319" b="0" i="0" kern="1200" err="1">
                <a:solidFill>
                  <a:schemeClr val="tx2"/>
                </a:solidFill>
                <a:effectLst/>
                <a:latin typeface="Ubuntu" panose="020B0504030602030204" pitchFamily="34" charset="0"/>
                <a:ea typeface="+mn-ea"/>
                <a:cs typeface="+mn-cs"/>
              </a:rPr>
              <a:t>Assurance</a:t>
            </a:r>
            <a:r>
              <a:rPr lang="es-ES" sz="1319" b="0" i="0" kern="1200">
                <a:solidFill>
                  <a:schemeClr val="tx2"/>
                </a:solidFill>
                <a:effectLst/>
                <a:latin typeface="Ubuntu" panose="020B0504030602030204" pitchFamily="34" charset="0"/>
                <a:ea typeface="+mn-ea"/>
                <a:cs typeface="+mn-cs"/>
              </a:rPr>
              <a:t> &amp; </a:t>
            </a:r>
            <a:r>
              <a:rPr lang="es-ES" sz="1319" b="0" i="0" kern="1200" err="1">
                <a:solidFill>
                  <a:schemeClr val="tx2"/>
                </a:solidFill>
                <a:effectLst/>
                <a:latin typeface="Ubuntu" panose="020B0504030602030204" pitchFamily="34" charset="0"/>
                <a:ea typeface="+mn-ea"/>
                <a:cs typeface="+mn-cs"/>
              </a:rPr>
              <a:t>Testing</a:t>
            </a:r>
            <a:r>
              <a:rPr lang="es-ES" sz="1319" b="0" i="0" kern="1200">
                <a:solidFill>
                  <a:schemeClr val="tx2"/>
                </a:solidFill>
                <a:effectLst/>
                <a:latin typeface="Ubuntu" panose="020B0504030602030204" pitchFamily="34" charset="0"/>
                <a:ea typeface="+mn-ea"/>
                <a:cs typeface="+mn-cs"/>
              </a:rPr>
              <a:t>,  Cloud  y Ciberseguridad,  y  todo  ello,  impulsado  por  IA  y  automatización.  Con  su  enfoque  práctico  y  su  pasión  por  la tecnología, Sogeti ayuda a las organizaciones a implementar su transformación digital a gran velocidad. </a:t>
            </a:r>
          </a:p>
          <a:p>
            <a:pPr algn="just"/>
            <a:endParaRPr lang="es-ES" sz="1319" b="0" i="0" kern="1200">
              <a:solidFill>
                <a:schemeClr val="tx2"/>
              </a:solidFill>
              <a:effectLst/>
              <a:latin typeface="Ubuntu" panose="020B0504030602030204" pitchFamily="34" charset="0"/>
              <a:ea typeface="+mn-ea"/>
              <a:cs typeface="+mn-cs"/>
            </a:endParaRPr>
          </a:p>
          <a:p>
            <a:pPr algn="just"/>
            <a:r>
              <a:rPr lang="es-ES" sz="1319" b="0" i="0" kern="1200">
                <a:solidFill>
                  <a:schemeClr val="tx2"/>
                </a:solidFill>
                <a:effectLst/>
                <a:latin typeface="Ubuntu" panose="020B0504030602030204" pitchFamily="34" charset="0"/>
                <a:ea typeface="+mn-ea"/>
                <a:cs typeface="+mn-cs"/>
              </a:rPr>
              <a:t>Capgemini   es   un   líder global en consultoría, transformación digital, servicios de tecnología e   ingeniería. El Grupo Capgemini está a la vanguardia de la innovación para abordar la diversidad de oportunidades que tienen sus clientes en el dinámico mundo de las plataformas, la nube y lo digital. Respaldada por una sólida trayectoria de más de 50 años y una dilatada experiencia multisectorial, Capgemini ayuda a las compañías a alcanzar sus objetivos de negocio mediante una amplia gama de servicios que cubre desde la estrategia, hasta las operaciones. Capgemini actúa bajo la firme convicción de que el valor de negocio de la tecnología se genera y desarrolla a través de las personas. Hoy es una compañía multicultural de 270.000 profesionales, presente en casi 50países. Con </a:t>
            </a:r>
            <a:r>
              <a:rPr lang="es-ES" sz="1319" b="0" i="0" kern="1200" err="1">
                <a:solidFill>
                  <a:schemeClr val="tx2"/>
                </a:solidFill>
                <a:effectLst/>
                <a:latin typeface="Ubuntu" panose="020B0504030602030204" pitchFamily="34" charset="0"/>
                <a:ea typeface="+mn-ea"/>
                <a:cs typeface="+mn-cs"/>
              </a:rPr>
              <a:t>Altran</a:t>
            </a:r>
            <a:r>
              <a:rPr lang="es-ES" sz="1319" b="0" i="0" kern="1200">
                <a:solidFill>
                  <a:schemeClr val="tx2"/>
                </a:solidFill>
                <a:effectLst/>
                <a:latin typeface="Ubuntu" panose="020B0504030602030204" pitchFamily="34" charset="0"/>
                <a:ea typeface="+mn-ea"/>
                <a:cs typeface="+mn-cs"/>
              </a:rPr>
              <a:t>, el Grupo registró en 2019 unos ingresos combinados de 17 mil millones de euros. </a:t>
            </a:r>
            <a:r>
              <a:rPr lang="es-ES" sz="1319" b="0" i="1" kern="1200">
                <a:solidFill>
                  <a:schemeClr val="tx2"/>
                </a:solidFill>
                <a:effectLst/>
                <a:latin typeface="Ubuntu" panose="020B0504030602030204" pitchFamily="34" charset="0"/>
                <a:ea typeface="+mn-ea"/>
                <a:cs typeface="+mn-cs"/>
              </a:rPr>
              <a:t>People </a:t>
            </a:r>
            <a:r>
              <a:rPr lang="es-ES" sz="1319" b="0" i="1" kern="1200" err="1">
                <a:solidFill>
                  <a:schemeClr val="tx2"/>
                </a:solidFill>
                <a:effectLst/>
                <a:latin typeface="Ubuntu" panose="020B0504030602030204" pitchFamily="34" charset="0"/>
                <a:ea typeface="+mn-ea"/>
                <a:cs typeface="+mn-cs"/>
              </a:rPr>
              <a:t>matter</a:t>
            </a:r>
            <a:r>
              <a:rPr lang="es-ES" sz="1319" b="0" i="1" kern="1200">
                <a:solidFill>
                  <a:schemeClr val="tx2"/>
                </a:solidFill>
                <a:effectLst/>
                <a:latin typeface="Ubuntu" panose="020B0504030602030204" pitchFamily="34" charset="0"/>
                <a:ea typeface="+mn-ea"/>
                <a:cs typeface="+mn-cs"/>
              </a:rPr>
              <a:t>, </a:t>
            </a:r>
            <a:r>
              <a:rPr lang="es-ES" sz="1319" b="0" i="1" kern="1200" err="1">
                <a:solidFill>
                  <a:schemeClr val="tx2"/>
                </a:solidFill>
                <a:effectLst/>
                <a:latin typeface="Ubuntu" panose="020B0504030602030204" pitchFamily="34" charset="0"/>
                <a:ea typeface="+mn-ea"/>
                <a:cs typeface="+mn-cs"/>
              </a:rPr>
              <a:t>results</a:t>
            </a:r>
            <a:r>
              <a:rPr lang="es-ES" sz="1319" b="0" i="1" kern="1200">
                <a:solidFill>
                  <a:schemeClr val="tx2"/>
                </a:solidFill>
                <a:effectLst/>
                <a:latin typeface="Ubuntu" panose="020B0504030602030204" pitchFamily="34" charset="0"/>
                <a:ea typeface="+mn-ea"/>
                <a:cs typeface="+mn-cs"/>
              </a:rPr>
              <a:t> </a:t>
            </a:r>
            <a:r>
              <a:rPr lang="es-ES" sz="1319" b="0" i="1" kern="1200" err="1">
                <a:solidFill>
                  <a:schemeClr val="tx2"/>
                </a:solidFill>
                <a:effectLst/>
                <a:latin typeface="Ubuntu" panose="020B0504030602030204" pitchFamily="34" charset="0"/>
                <a:ea typeface="+mn-ea"/>
                <a:cs typeface="+mn-cs"/>
              </a:rPr>
              <a:t>count</a:t>
            </a:r>
            <a:r>
              <a:rPr lang="es-ES" sz="1319" b="0" i="1" kern="1200">
                <a:solidFill>
                  <a:schemeClr val="tx2"/>
                </a:solidFill>
                <a:effectLst/>
                <a:latin typeface="Ubuntu" panose="020B0504030602030204" pitchFamily="34" charset="0"/>
                <a:ea typeface="+mn-ea"/>
                <a:cs typeface="+mn-cs"/>
              </a:rPr>
              <a:t>.</a:t>
            </a:r>
            <a:endParaRPr lang="fr-FR" sz="1319" i="1" kern="1200">
              <a:solidFill>
                <a:schemeClr val="tx2"/>
              </a:solidFill>
              <a:effectLst/>
              <a:latin typeface="Ubuntu" panose="020B0504030602030204" pitchFamily="34" charset="0"/>
              <a:ea typeface="+mn-ea"/>
              <a:cs typeface="+mn-cs"/>
            </a:endParaRPr>
          </a:p>
        </p:txBody>
      </p:sp>
    </p:spTree>
    <p:extLst>
      <p:ext uri="{BB962C8B-B14F-4D97-AF65-F5344CB8AC3E}">
        <p14:creationId xmlns:p14="http://schemas.microsoft.com/office/powerpoint/2010/main" val="36932747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sp>
        <p:nvSpPr>
          <p:cNvPr id="2" name="Freeform 27">
            <a:extLst>
              <a:ext uri="{FF2B5EF4-FFF2-40B4-BE49-F238E27FC236}">
                <a16:creationId xmlns:a16="http://schemas.microsoft.com/office/drawing/2014/main" id="{108CEABC-E788-2F97-3EF9-A046A6208106}"/>
              </a:ext>
            </a:extLst>
          </p:cNvPr>
          <p:cNvSpPr/>
          <p:nvPr userDrawn="1"/>
        </p:nvSpPr>
        <p:spPr>
          <a:xfrm>
            <a:off x="12378519" y="0"/>
            <a:ext cx="7725581" cy="11328400"/>
          </a:xfrm>
          <a:custGeom>
            <a:avLst/>
            <a:gdLst>
              <a:gd name="connsiteX0" fmla="*/ 3889339 w 4560403"/>
              <a:gd name="connsiteY0" fmla="*/ 0 h 6858001"/>
              <a:gd name="connsiteX1" fmla="*/ 4560403 w 4560403"/>
              <a:gd name="connsiteY1" fmla="*/ 0 h 6858001"/>
              <a:gd name="connsiteX2" fmla="*/ 4560403 w 4560403"/>
              <a:gd name="connsiteY2" fmla="*/ 6858001 h 6858001"/>
              <a:gd name="connsiteX3" fmla="*/ 797256 w 4560403"/>
              <a:gd name="connsiteY3" fmla="*/ 6858001 h 6858001"/>
              <a:gd name="connsiteX4" fmla="*/ 788343 w 4560403"/>
              <a:gd name="connsiteY4" fmla="*/ 6827268 h 6858001"/>
              <a:gd name="connsiteX5" fmla="*/ 116308 w 4560403"/>
              <a:gd name="connsiteY5" fmla="*/ 4510048 h 6858001"/>
              <a:gd name="connsiteX6" fmla="*/ 1654161 w 4560403"/>
              <a:gd name="connsiteY6" fmla="*/ 1075400 h 6858001"/>
              <a:gd name="connsiteX7" fmla="*/ 3880655 w 4560403"/>
              <a:gd name="connsiteY7" fmla="*/ 4178 h 6858001"/>
              <a:gd name="connsiteX8" fmla="*/ 3889339 w 4560403"/>
              <a:gd name="connsiteY8" fmla="*/ 0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60403" h="6858001">
                <a:moveTo>
                  <a:pt x="3889339" y="0"/>
                </a:moveTo>
                <a:lnTo>
                  <a:pt x="4560403" y="0"/>
                </a:lnTo>
                <a:lnTo>
                  <a:pt x="4560403" y="6858001"/>
                </a:lnTo>
                <a:lnTo>
                  <a:pt x="797256" y="6858001"/>
                </a:lnTo>
                <a:lnTo>
                  <a:pt x="788343" y="6827268"/>
                </a:lnTo>
                <a:cubicBezTo>
                  <a:pt x="116308" y="4510048"/>
                  <a:pt x="116308" y="4510048"/>
                  <a:pt x="116308" y="4510048"/>
                </a:cubicBezTo>
                <a:cubicBezTo>
                  <a:pt x="-280530" y="3141724"/>
                  <a:pt x="364088" y="1689508"/>
                  <a:pt x="1654161" y="1075400"/>
                </a:cubicBezTo>
                <a:cubicBezTo>
                  <a:pt x="2768462" y="539282"/>
                  <a:pt x="3456195" y="208397"/>
                  <a:pt x="3880655" y="4178"/>
                </a:cubicBezTo>
                <a:lnTo>
                  <a:pt x="3889339"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672755" y="668691"/>
            <a:ext cx="15661826" cy="1426539"/>
          </a:xfrm>
          <a:prstGeom prst="rect">
            <a:avLst/>
          </a:prstGeom>
        </p:spPr>
        <p:txBody>
          <a:bodyPr vert="horz" lIns="0" tIns="0" rIns="0" bIns="0" rtlCol="0" anchor="t">
            <a:normAutofit/>
          </a:bodyPr>
          <a:lstStyle>
            <a:lvl1pPr>
              <a:defRPr lang="pt-PT" b="1" i="0" dirty="0">
                <a:latin typeface="Ubuntu" panose="020B0504030602030204" pitchFamily="34" charset="0"/>
              </a:defRPr>
            </a:lvl1pPr>
          </a:lstStyle>
          <a:p>
            <a:pPr lvl="0">
              <a:lnSpc>
                <a:spcPts val="4947"/>
              </a:lnSpc>
            </a:pPr>
            <a:r>
              <a:rPr lang="en-US"/>
              <a:t>Click to add title</a:t>
            </a:r>
            <a:endParaRPr lang="pt-PT"/>
          </a:p>
        </p:txBody>
      </p:sp>
      <p:pic>
        <p:nvPicPr>
          <p:cNvPr id="5" name="Imagen 4">
            <a:extLst>
              <a:ext uri="{FF2B5EF4-FFF2-40B4-BE49-F238E27FC236}">
                <a16:creationId xmlns:a16="http://schemas.microsoft.com/office/drawing/2014/main" id="{0C29C71A-B665-46B6-9792-7D3B8F6B4BD9}"/>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7545396" y="503485"/>
            <a:ext cx="1962528" cy="1019036"/>
          </a:xfrm>
          <a:prstGeom prst="rect">
            <a:avLst/>
          </a:prstGeom>
        </p:spPr>
      </p:pic>
      <p:sp>
        <p:nvSpPr>
          <p:cNvPr id="3" name="Retângulo 43">
            <a:extLst>
              <a:ext uri="{FF2B5EF4-FFF2-40B4-BE49-F238E27FC236}">
                <a16:creationId xmlns:a16="http://schemas.microsoft.com/office/drawing/2014/main" id="{C2BF109B-B5B3-CB82-9B2F-A811E5D1C6A1}"/>
              </a:ext>
            </a:extLst>
          </p:cNvPr>
          <p:cNvSpPr/>
          <p:nvPr userDrawn="1"/>
        </p:nvSpPr>
        <p:spPr>
          <a:xfrm>
            <a:off x="-1127705" y="10772564"/>
            <a:ext cx="4274077" cy="362509"/>
          </a:xfrm>
          <a:prstGeom prst="rect">
            <a:avLst/>
          </a:prstGeom>
        </p:spPr>
        <p:txBody>
          <a:bodyPr wrap="none" lIns="0" tIns="0" rIns="0" bIns="0" anchor="ctr">
            <a:noAutofit/>
          </a:bodyPr>
          <a:lstStyle/>
          <a:p>
            <a:pPr algn="r">
              <a:lnSpc>
                <a:spcPct val="100000"/>
              </a:lnSpc>
            </a:pPr>
            <a:r>
              <a:rPr lang="en-US" sz="1319" dirty="0">
                <a:solidFill>
                  <a:schemeClr val="bg2">
                    <a:lumMod val="50000"/>
                  </a:schemeClr>
                </a:solidFill>
                <a:cs typeface="Arial" panose="020B0604020202020204" pitchFamily="34" charset="0"/>
              </a:rPr>
              <a:t>© 2023 Sogeti. All rights reserved.</a:t>
            </a:r>
          </a:p>
        </p:txBody>
      </p:sp>
    </p:spTree>
    <p:extLst>
      <p:ext uri="{BB962C8B-B14F-4D97-AF65-F5344CB8AC3E}">
        <p14:creationId xmlns:p14="http://schemas.microsoft.com/office/powerpoint/2010/main" val="18825178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3_Blank-White">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672755" y="668691"/>
            <a:ext cx="15661826" cy="1426539"/>
          </a:xfrm>
          <a:prstGeom prst="rect">
            <a:avLst/>
          </a:prstGeom>
        </p:spPr>
        <p:txBody>
          <a:bodyPr vert="horz" lIns="0" tIns="0" rIns="0" bIns="0" rtlCol="0" anchor="t">
            <a:normAutofit/>
          </a:bodyPr>
          <a:lstStyle>
            <a:lvl1pPr>
              <a:defRPr lang="pt-PT" b="1" i="0" dirty="0">
                <a:latin typeface="Ubuntu" panose="020B0504030602030204" pitchFamily="34" charset="0"/>
              </a:defRPr>
            </a:lvl1pPr>
          </a:lstStyle>
          <a:p>
            <a:pPr lvl="0">
              <a:lnSpc>
                <a:spcPts val="4947"/>
              </a:lnSpc>
            </a:pPr>
            <a:r>
              <a:rPr lang="en-US"/>
              <a:t>Click to add title</a:t>
            </a:r>
            <a:endParaRPr lang="pt-PT"/>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626297" y="10829141"/>
            <a:ext cx="4274077" cy="362509"/>
          </a:xfrm>
          <a:prstGeom prst="rect">
            <a:avLst/>
          </a:prstGeom>
        </p:spPr>
        <p:txBody>
          <a:bodyPr wrap="none" lIns="0" tIns="0" rIns="0" bIns="0" anchor="ctr">
            <a:noAutofit/>
          </a:bodyPr>
          <a:lstStyle/>
          <a:p>
            <a:pPr>
              <a:lnSpc>
                <a:spcPct val="100000"/>
              </a:lnSpc>
            </a:pPr>
            <a:r>
              <a:rPr lang="en-US" sz="1319" dirty="0">
                <a:solidFill>
                  <a:schemeClr val="bg2">
                    <a:lumMod val="50000"/>
                  </a:schemeClr>
                </a:solidFill>
                <a:cs typeface="Arial" panose="020B0604020202020204" pitchFamily="34" charset="0"/>
              </a:rPr>
              <a:t>© 2021 Sogeti. All rights reserved.</a:t>
            </a:r>
          </a:p>
        </p:txBody>
      </p:sp>
      <p:pic>
        <p:nvPicPr>
          <p:cNvPr id="7" name="Gráfico 6" descr="Inicio">
            <a:hlinkClick r:id="" action="ppaction://noaction" tooltip="Inicio"/>
            <a:extLst>
              <a:ext uri="{FF2B5EF4-FFF2-40B4-BE49-F238E27FC236}">
                <a16:creationId xmlns:a16="http://schemas.microsoft.com/office/drawing/2014/main" id="{3B826228-1357-424A-93BC-09F8E8312AE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7116710" y="10782089"/>
            <a:ext cx="409220" cy="382908"/>
          </a:xfrm>
          <a:prstGeom prst="rect">
            <a:avLst/>
          </a:prstGeom>
        </p:spPr>
      </p:pic>
      <p:pic>
        <p:nvPicPr>
          <p:cNvPr id="8" name="Gráfico 7" descr="Marca de verificación">
            <a:hlinkClick r:id="" action="ppaction://noaction"/>
            <a:extLst>
              <a:ext uri="{FF2B5EF4-FFF2-40B4-BE49-F238E27FC236}">
                <a16:creationId xmlns:a16="http://schemas.microsoft.com/office/drawing/2014/main" id="{A9D88D05-B555-4105-B160-2515484CE3B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8452954" y="10767559"/>
            <a:ext cx="345848" cy="397437"/>
          </a:xfrm>
          <a:prstGeom prst="rect">
            <a:avLst/>
          </a:prstGeom>
        </p:spPr>
      </p:pic>
      <p:pic>
        <p:nvPicPr>
          <p:cNvPr id="10" name="Gráfico 9" descr="Bombilla y equipo">
            <a:hlinkClick r:id="" action="ppaction://noaction"/>
            <a:extLst>
              <a:ext uri="{FF2B5EF4-FFF2-40B4-BE49-F238E27FC236}">
                <a16:creationId xmlns:a16="http://schemas.microsoft.com/office/drawing/2014/main" id="{6BD3EDC8-38F5-49A5-8F3B-EAF423D92D94}"/>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8047416" y="10815812"/>
            <a:ext cx="345848" cy="323611"/>
          </a:xfrm>
          <a:prstGeom prst="rect">
            <a:avLst/>
          </a:prstGeom>
        </p:spPr>
      </p:pic>
      <p:pic>
        <p:nvPicPr>
          <p:cNvPr id="11" name="Gráfico 10" descr="Repetir">
            <a:hlinkClick r:id="" action="ppaction://noaction"/>
            <a:extLst>
              <a:ext uri="{FF2B5EF4-FFF2-40B4-BE49-F238E27FC236}">
                <a16:creationId xmlns:a16="http://schemas.microsoft.com/office/drawing/2014/main" id="{417A97FF-C031-46D6-9330-26FE23D28EBE}"/>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7600342" y="10788032"/>
            <a:ext cx="364036" cy="382908"/>
          </a:xfrm>
          <a:prstGeom prst="rect">
            <a:avLst/>
          </a:prstGeom>
        </p:spPr>
      </p:pic>
      <p:pic>
        <p:nvPicPr>
          <p:cNvPr id="12" name="Gráfico 11" descr="Discurso">
            <a:hlinkClick r:id="" action="ppaction://noaction"/>
            <a:extLst>
              <a:ext uri="{FF2B5EF4-FFF2-40B4-BE49-F238E27FC236}">
                <a16:creationId xmlns:a16="http://schemas.microsoft.com/office/drawing/2014/main" id="{B07188C4-3463-4A9C-9C6C-52BAB98F6AAA}"/>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19399330" y="10788032"/>
            <a:ext cx="406455" cy="455011"/>
          </a:xfrm>
          <a:prstGeom prst="rect">
            <a:avLst/>
          </a:prstGeom>
        </p:spPr>
      </p:pic>
      <p:pic>
        <p:nvPicPr>
          <p:cNvPr id="13" name="Gráfico 12" descr="Diseño web">
            <a:hlinkClick r:id="" action="ppaction://noaction"/>
            <a:extLst>
              <a:ext uri="{FF2B5EF4-FFF2-40B4-BE49-F238E27FC236}">
                <a16:creationId xmlns:a16="http://schemas.microsoft.com/office/drawing/2014/main" id="{410D0330-7D7C-4386-998A-CDFFDCA73CD2}"/>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18895257" y="10777216"/>
            <a:ext cx="407618" cy="408333"/>
          </a:xfrm>
          <a:prstGeom prst="rect">
            <a:avLst/>
          </a:prstGeom>
        </p:spPr>
      </p:pic>
    </p:spTree>
    <p:extLst>
      <p:ext uri="{BB962C8B-B14F-4D97-AF65-F5344CB8AC3E}">
        <p14:creationId xmlns:p14="http://schemas.microsoft.com/office/powerpoint/2010/main" val="366358912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Blank-White">
    <p:spTree>
      <p:nvGrpSpPr>
        <p:cNvPr id="1" name=""/>
        <p:cNvGrpSpPr/>
        <p:nvPr/>
      </p:nvGrpSpPr>
      <p:grpSpPr>
        <a:xfrm>
          <a:off x="0" y="0"/>
          <a:ext cx="0" cy="0"/>
          <a:chOff x="0" y="0"/>
          <a:chExt cx="0" cy="0"/>
        </a:xfrm>
      </p:grpSpPr>
      <p:sp>
        <p:nvSpPr>
          <p:cNvPr id="3" name="Marcador de posición de imagen 2">
            <a:extLst>
              <a:ext uri="{FF2B5EF4-FFF2-40B4-BE49-F238E27FC236}">
                <a16:creationId xmlns:a16="http://schemas.microsoft.com/office/drawing/2014/main" id="{A8C9879A-2586-406A-A1CA-41C8D2799AD9}"/>
              </a:ext>
            </a:extLst>
          </p:cNvPr>
          <p:cNvSpPr>
            <a:spLocks noGrp="1"/>
          </p:cNvSpPr>
          <p:nvPr>
            <p:ph type="pic" sz="quarter" idx="11"/>
          </p:nvPr>
        </p:nvSpPr>
        <p:spPr>
          <a:xfrm>
            <a:off x="15580678" y="7992816"/>
            <a:ext cx="3494659" cy="2402040"/>
          </a:xfrm>
          <a:prstGeom prst="rect">
            <a:avLst/>
          </a:prstGeom>
        </p:spPr>
        <p:txBody>
          <a:bodyPr/>
          <a:lstStyle/>
          <a:p>
            <a:endParaRPr lang="en-GB"/>
          </a:p>
        </p:txBody>
      </p:sp>
      <p:sp>
        <p:nvSpPr>
          <p:cNvPr id="6" name="Title Placeholder 1">
            <a:extLst>
              <a:ext uri="{FF2B5EF4-FFF2-40B4-BE49-F238E27FC236}">
                <a16:creationId xmlns:a16="http://schemas.microsoft.com/office/drawing/2014/main" id="{552BBB0A-405D-419D-8BD5-EC8D9F84B795}"/>
              </a:ext>
            </a:extLst>
          </p:cNvPr>
          <p:cNvSpPr>
            <a:spLocks noGrp="1"/>
          </p:cNvSpPr>
          <p:nvPr>
            <p:ph type="title" hasCustomPrompt="1"/>
          </p:nvPr>
        </p:nvSpPr>
        <p:spPr>
          <a:xfrm>
            <a:off x="15830680" y="2937062"/>
            <a:ext cx="2972120" cy="1067529"/>
          </a:xfrm>
          <a:prstGeom prst="rect">
            <a:avLst/>
          </a:prstGeom>
        </p:spPr>
        <p:txBody>
          <a:bodyPr vert="horz" lIns="0" tIns="0" rIns="0" bIns="0" rtlCol="0" anchor="t">
            <a:normAutofit/>
          </a:bodyPr>
          <a:lstStyle>
            <a:lvl1pPr algn="ctr">
              <a:lnSpc>
                <a:spcPct val="100000"/>
              </a:lnSpc>
              <a:defRPr lang="pt-PT" sz="3298" b="0" i="0" dirty="0">
                <a:solidFill>
                  <a:schemeClr val="accent2"/>
                </a:solidFill>
                <a:latin typeface="Ubuntu" panose="020B0504030602030204" pitchFamily="34" charset="0"/>
              </a:defRPr>
            </a:lvl1pPr>
          </a:lstStyle>
          <a:p>
            <a:pPr lvl="0">
              <a:lnSpc>
                <a:spcPts val="4947"/>
              </a:lnSpc>
            </a:pPr>
            <a:r>
              <a:rPr lang="en-US"/>
              <a:t>Click to add title</a:t>
            </a:r>
            <a:endParaRPr lang="pt-PT"/>
          </a:p>
        </p:txBody>
      </p:sp>
      <p:sp>
        <p:nvSpPr>
          <p:cNvPr id="9" name="Retângulo 43">
            <a:extLst>
              <a:ext uri="{FF2B5EF4-FFF2-40B4-BE49-F238E27FC236}">
                <a16:creationId xmlns:a16="http://schemas.microsoft.com/office/drawing/2014/main" id="{834ADCB4-BFB1-450D-8F6D-64217F4CD92C}"/>
              </a:ext>
            </a:extLst>
          </p:cNvPr>
          <p:cNvSpPr/>
          <p:nvPr userDrawn="1"/>
        </p:nvSpPr>
        <p:spPr>
          <a:xfrm>
            <a:off x="626297" y="10829141"/>
            <a:ext cx="4274077" cy="362509"/>
          </a:xfrm>
          <a:prstGeom prst="rect">
            <a:avLst/>
          </a:prstGeom>
        </p:spPr>
        <p:txBody>
          <a:bodyPr wrap="none" lIns="0" tIns="0" rIns="0" bIns="0" anchor="ctr">
            <a:noAutofit/>
          </a:bodyPr>
          <a:lstStyle/>
          <a:p>
            <a:pPr>
              <a:lnSpc>
                <a:spcPct val="100000"/>
              </a:lnSpc>
            </a:pPr>
            <a:r>
              <a:rPr lang="en-US" sz="1319">
                <a:solidFill>
                  <a:schemeClr val="bg2">
                    <a:lumMod val="50000"/>
                  </a:schemeClr>
                </a:solidFill>
                <a:cs typeface="Arial" panose="020B0604020202020204" pitchFamily="34" charset="0"/>
              </a:rPr>
              <a:t>© 2020 Sogeti. All rights reserved.</a:t>
            </a:r>
          </a:p>
        </p:txBody>
      </p:sp>
      <p:sp>
        <p:nvSpPr>
          <p:cNvPr id="5" name="Freeform 16">
            <a:extLst>
              <a:ext uri="{FF2B5EF4-FFF2-40B4-BE49-F238E27FC236}">
                <a16:creationId xmlns:a16="http://schemas.microsoft.com/office/drawing/2014/main" id="{8784F769-4DA7-4C4F-B06E-5390DC3FD483}"/>
              </a:ext>
            </a:extLst>
          </p:cNvPr>
          <p:cNvSpPr/>
          <p:nvPr userDrawn="1"/>
        </p:nvSpPr>
        <p:spPr>
          <a:xfrm>
            <a:off x="-37904" y="0"/>
            <a:ext cx="9615002" cy="11328400"/>
          </a:xfrm>
          <a:custGeom>
            <a:avLst/>
            <a:gdLst>
              <a:gd name="connsiteX0" fmla="*/ 0 w 6223905"/>
              <a:gd name="connsiteY0" fmla="*/ 0 h 6858000"/>
              <a:gd name="connsiteX1" fmla="*/ 4186882 w 6223905"/>
              <a:gd name="connsiteY1" fmla="*/ 0 h 6858000"/>
              <a:gd name="connsiteX2" fmla="*/ 4197034 w 6223905"/>
              <a:gd name="connsiteY2" fmla="*/ 22340 h 6858000"/>
              <a:gd name="connsiteX3" fmla="*/ 5904357 w 6223905"/>
              <a:gd name="connsiteY3" fmla="*/ 3779388 h 6858000"/>
              <a:gd name="connsiteX4" fmla="*/ 5873730 w 6223905"/>
              <a:gd name="connsiteY4" fmla="*/ 6784163 h 6858000"/>
              <a:gd name="connsiteX5" fmla="*/ 5834113 w 6223905"/>
              <a:gd name="connsiteY5" fmla="*/ 6858000 h 6858000"/>
              <a:gd name="connsiteX6" fmla="*/ 0 w 6223905"/>
              <a:gd name="connsiteY6" fmla="*/ 6858000 h 6858000"/>
              <a:gd name="connsiteX7" fmla="*/ 0 w 6223905"/>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23905" h="6858000">
                <a:moveTo>
                  <a:pt x="0" y="0"/>
                </a:moveTo>
                <a:lnTo>
                  <a:pt x="4186882" y="0"/>
                </a:lnTo>
                <a:lnTo>
                  <a:pt x="4197034" y="22340"/>
                </a:lnTo>
                <a:cubicBezTo>
                  <a:pt x="5904357" y="3779388"/>
                  <a:pt x="5904357" y="3779388"/>
                  <a:pt x="5904357" y="3779388"/>
                </a:cubicBezTo>
                <a:cubicBezTo>
                  <a:pt x="6352858" y="4766336"/>
                  <a:pt x="6316954" y="5863968"/>
                  <a:pt x="5873730" y="6784163"/>
                </a:cubicBezTo>
                <a:lnTo>
                  <a:pt x="5834113" y="6858000"/>
                </a:lnTo>
                <a:lnTo>
                  <a:pt x="0" y="6858000"/>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1" name="Title 1">
            <a:extLst>
              <a:ext uri="{FF2B5EF4-FFF2-40B4-BE49-F238E27FC236}">
                <a16:creationId xmlns:a16="http://schemas.microsoft.com/office/drawing/2014/main" id="{4EFC6D4F-5807-4D67-9D4D-1D7B42FF5C93}"/>
              </a:ext>
            </a:extLst>
          </p:cNvPr>
          <p:cNvSpPr txBox="1">
            <a:spLocks/>
          </p:cNvSpPr>
          <p:nvPr userDrawn="1"/>
        </p:nvSpPr>
        <p:spPr>
          <a:xfrm>
            <a:off x="7798069" y="623243"/>
            <a:ext cx="18758590" cy="791414"/>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a:lstStyle>
          <a:p>
            <a:r>
              <a:rPr lang="en-US" sz="4617" b="1">
                <a:solidFill>
                  <a:schemeClr val="accent3"/>
                </a:solidFill>
                <a:latin typeface="Ubuntu Mono" panose="020B0509030602030204" pitchFamily="49" charset="0"/>
              </a:rPr>
              <a:t>Approach</a:t>
            </a:r>
          </a:p>
        </p:txBody>
      </p:sp>
      <p:sp>
        <p:nvSpPr>
          <p:cNvPr id="24" name="Title 1">
            <a:extLst>
              <a:ext uri="{FF2B5EF4-FFF2-40B4-BE49-F238E27FC236}">
                <a16:creationId xmlns:a16="http://schemas.microsoft.com/office/drawing/2014/main" id="{73A582A1-67C5-4C6D-91B5-9CE6FDB1877E}"/>
              </a:ext>
            </a:extLst>
          </p:cNvPr>
          <p:cNvSpPr txBox="1">
            <a:spLocks/>
          </p:cNvSpPr>
          <p:nvPr userDrawn="1"/>
        </p:nvSpPr>
        <p:spPr>
          <a:xfrm>
            <a:off x="7798367" y="1301136"/>
            <a:ext cx="4639049" cy="791414"/>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a:lstStyle>
          <a:p>
            <a:r>
              <a:rPr lang="en-US" sz="2638" i="1">
                <a:solidFill>
                  <a:schemeClr val="accent3"/>
                </a:solidFill>
              </a:rPr>
              <a:t>What we do? How we do it?</a:t>
            </a:r>
          </a:p>
        </p:txBody>
      </p:sp>
      <p:grpSp>
        <p:nvGrpSpPr>
          <p:cNvPr id="27" name="Grupo 26">
            <a:extLst>
              <a:ext uri="{FF2B5EF4-FFF2-40B4-BE49-F238E27FC236}">
                <a16:creationId xmlns:a16="http://schemas.microsoft.com/office/drawing/2014/main" id="{2BA492A3-981D-4CEB-9478-05D51C9B80BB}"/>
              </a:ext>
            </a:extLst>
          </p:cNvPr>
          <p:cNvGrpSpPr/>
          <p:nvPr userDrawn="1"/>
        </p:nvGrpSpPr>
        <p:grpSpPr>
          <a:xfrm>
            <a:off x="15558501" y="2666171"/>
            <a:ext cx="3516478" cy="1602004"/>
            <a:chOff x="10488487" y="215003"/>
            <a:chExt cx="1422239" cy="682410"/>
          </a:xfrm>
        </p:grpSpPr>
        <p:sp>
          <p:nvSpPr>
            <p:cNvPr id="28" name="Forma libre 38">
              <a:extLst>
                <a:ext uri="{FF2B5EF4-FFF2-40B4-BE49-F238E27FC236}">
                  <a16:creationId xmlns:a16="http://schemas.microsoft.com/office/drawing/2014/main" id="{9B560B13-FBD9-4DE7-8DF0-C463E25550BB}"/>
                </a:ext>
              </a:extLst>
            </p:cNvPr>
            <p:cNvSpPr/>
            <p:nvPr/>
          </p:nvSpPr>
          <p:spPr>
            <a:xfrm>
              <a:off x="11626523" y="215003"/>
              <a:ext cx="284203" cy="266007"/>
            </a:xfrm>
            <a:custGeom>
              <a:avLst/>
              <a:gdLst>
                <a:gd name="connsiteX0" fmla="*/ 0 w 324197"/>
                <a:gd name="connsiteY0" fmla="*/ 0 h 266007"/>
                <a:gd name="connsiteX1" fmla="*/ 324197 w 324197"/>
                <a:gd name="connsiteY1" fmla="*/ 0 h 266007"/>
                <a:gd name="connsiteX2" fmla="*/ 324197 w 324197"/>
                <a:gd name="connsiteY2" fmla="*/ 266007 h 266007"/>
              </a:gdLst>
              <a:ahLst/>
              <a:cxnLst>
                <a:cxn ang="0">
                  <a:pos x="connsiteX0" y="connsiteY0"/>
                </a:cxn>
                <a:cxn ang="0">
                  <a:pos x="connsiteX1" y="connsiteY1"/>
                </a:cxn>
                <a:cxn ang="0">
                  <a:pos x="connsiteX2" y="connsiteY2"/>
                </a:cxn>
              </a:cxnLst>
              <a:rect l="l" t="t" r="r" b="b"/>
              <a:pathLst>
                <a:path w="324197" h="266007">
                  <a:moveTo>
                    <a:pt x="0" y="0"/>
                  </a:moveTo>
                  <a:lnTo>
                    <a:pt x="324197" y="0"/>
                  </a:lnTo>
                  <a:lnTo>
                    <a:pt x="324197" y="266007"/>
                  </a:lnTo>
                </a:path>
              </a:pathLst>
            </a:cu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4617">
                <a:solidFill>
                  <a:schemeClr val="accent1"/>
                </a:solidFill>
              </a:endParaRPr>
            </a:p>
          </p:txBody>
        </p:sp>
        <p:sp>
          <p:nvSpPr>
            <p:cNvPr id="29" name="Forma libre 39">
              <a:extLst>
                <a:ext uri="{FF2B5EF4-FFF2-40B4-BE49-F238E27FC236}">
                  <a16:creationId xmlns:a16="http://schemas.microsoft.com/office/drawing/2014/main" id="{C0F514D2-B83B-44FD-A2AE-C7BF8E018753}"/>
                </a:ext>
              </a:extLst>
            </p:cNvPr>
            <p:cNvSpPr/>
            <p:nvPr/>
          </p:nvSpPr>
          <p:spPr>
            <a:xfrm flipH="1">
              <a:off x="10488488" y="218803"/>
              <a:ext cx="284203" cy="266007"/>
            </a:xfrm>
            <a:custGeom>
              <a:avLst/>
              <a:gdLst>
                <a:gd name="connsiteX0" fmla="*/ 0 w 324197"/>
                <a:gd name="connsiteY0" fmla="*/ 0 h 266007"/>
                <a:gd name="connsiteX1" fmla="*/ 324197 w 324197"/>
                <a:gd name="connsiteY1" fmla="*/ 0 h 266007"/>
                <a:gd name="connsiteX2" fmla="*/ 324197 w 324197"/>
                <a:gd name="connsiteY2" fmla="*/ 266007 h 266007"/>
              </a:gdLst>
              <a:ahLst/>
              <a:cxnLst>
                <a:cxn ang="0">
                  <a:pos x="connsiteX0" y="connsiteY0"/>
                </a:cxn>
                <a:cxn ang="0">
                  <a:pos x="connsiteX1" y="connsiteY1"/>
                </a:cxn>
                <a:cxn ang="0">
                  <a:pos x="connsiteX2" y="connsiteY2"/>
                </a:cxn>
              </a:cxnLst>
              <a:rect l="l" t="t" r="r" b="b"/>
              <a:pathLst>
                <a:path w="324197" h="266007">
                  <a:moveTo>
                    <a:pt x="0" y="0"/>
                  </a:moveTo>
                  <a:lnTo>
                    <a:pt x="324197" y="0"/>
                  </a:lnTo>
                  <a:lnTo>
                    <a:pt x="324197" y="266007"/>
                  </a:lnTo>
                </a:path>
              </a:pathLst>
            </a:cu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4617">
                <a:solidFill>
                  <a:schemeClr val="accent1"/>
                </a:solidFill>
              </a:endParaRPr>
            </a:p>
          </p:txBody>
        </p:sp>
        <p:sp>
          <p:nvSpPr>
            <p:cNvPr id="30" name="Forma libre 40">
              <a:extLst>
                <a:ext uri="{FF2B5EF4-FFF2-40B4-BE49-F238E27FC236}">
                  <a16:creationId xmlns:a16="http://schemas.microsoft.com/office/drawing/2014/main" id="{C8193272-B57C-4746-8BFA-C37E1F3CE58B}"/>
                </a:ext>
              </a:extLst>
            </p:cNvPr>
            <p:cNvSpPr/>
            <p:nvPr/>
          </p:nvSpPr>
          <p:spPr>
            <a:xfrm flipH="1" flipV="1">
              <a:off x="10488487" y="588404"/>
              <a:ext cx="284204" cy="307805"/>
            </a:xfrm>
            <a:custGeom>
              <a:avLst/>
              <a:gdLst>
                <a:gd name="connsiteX0" fmla="*/ 0 w 324197"/>
                <a:gd name="connsiteY0" fmla="*/ 0 h 266007"/>
                <a:gd name="connsiteX1" fmla="*/ 324197 w 324197"/>
                <a:gd name="connsiteY1" fmla="*/ 0 h 266007"/>
                <a:gd name="connsiteX2" fmla="*/ 324197 w 324197"/>
                <a:gd name="connsiteY2" fmla="*/ 266007 h 266007"/>
              </a:gdLst>
              <a:ahLst/>
              <a:cxnLst>
                <a:cxn ang="0">
                  <a:pos x="connsiteX0" y="connsiteY0"/>
                </a:cxn>
                <a:cxn ang="0">
                  <a:pos x="connsiteX1" y="connsiteY1"/>
                </a:cxn>
                <a:cxn ang="0">
                  <a:pos x="connsiteX2" y="connsiteY2"/>
                </a:cxn>
              </a:cxnLst>
              <a:rect l="l" t="t" r="r" b="b"/>
              <a:pathLst>
                <a:path w="324197" h="266007">
                  <a:moveTo>
                    <a:pt x="0" y="0"/>
                  </a:moveTo>
                  <a:lnTo>
                    <a:pt x="324197" y="0"/>
                  </a:lnTo>
                  <a:lnTo>
                    <a:pt x="324197" y="266007"/>
                  </a:lnTo>
                </a:path>
              </a:pathLst>
            </a:cu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4617">
                <a:solidFill>
                  <a:schemeClr val="accent1"/>
                </a:solidFill>
              </a:endParaRPr>
            </a:p>
          </p:txBody>
        </p:sp>
        <p:sp>
          <p:nvSpPr>
            <p:cNvPr id="31" name="Forma libre 41">
              <a:extLst>
                <a:ext uri="{FF2B5EF4-FFF2-40B4-BE49-F238E27FC236}">
                  <a16:creationId xmlns:a16="http://schemas.microsoft.com/office/drawing/2014/main" id="{DC0B3F4A-1724-42F4-B370-873C9938D226}"/>
                </a:ext>
              </a:extLst>
            </p:cNvPr>
            <p:cNvSpPr/>
            <p:nvPr/>
          </p:nvSpPr>
          <p:spPr>
            <a:xfrm flipV="1">
              <a:off x="11626522" y="589608"/>
              <a:ext cx="284203" cy="307805"/>
            </a:xfrm>
            <a:custGeom>
              <a:avLst/>
              <a:gdLst>
                <a:gd name="connsiteX0" fmla="*/ 0 w 324197"/>
                <a:gd name="connsiteY0" fmla="*/ 0 h 266007"/>
                <a:gd name="connsiteX1" fmla="*/ 324197 w 324197"/>
                <a:gd name="connsiteY1" fmla="*/ 0 h 266007"/>
                <a:gd name="connsiteX2" fmla="*/ 324197 w 324197"/>
                <a:gd name="connsiteY2" fmla="*/ 266007 h 266007"/>
              </a:gdLst>
              <a:ahLst/>
              <a:cxnLst>
                <a:cxn ang="0">
                  <a:pos x="connsiteX0" y="connsiteY0"/>
                </a:cxn>
                <a:cxn ang="0">
                  <a:pos x="connsiteX1" y="connsiteY1"/>
                </a:cxn>
                <a:cxn ang="0">
                  <a:pos x="connsiteX2" y="connsiteY2"/>
                </a:cxn>
              </a:cxnLst>
              <a:rect l="l" t="t" r="r" b="b"/>
              <a:pathLst>
                <a:path w="324197" h="266007">
                  <a:moveTo>
                    <a:pt x="0" y="0"/>
                  </a:moveTo>
                  <a:lnTo>
                    <a:pt x="324197" y="0"/>
                  </a:lnTo>
                  <a:lnTo>
                    <a:pt x="324197" y="266007"/>
                  </a:lnTo>
                </a:path>
              </a:pathLst>
            </a:cu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4617">
                <a:solidFill>
                  <a:schemeClr val="accent1"/>
                </a:solidFill>
              </a:endParaRPr>
            </a:p>
          </p:txBody>
        </p:sp>
      </p:grpSp>
      <p:sp>
        <p:nvSpPr>
          <p:cNvPr id="33" name="Marcador de texto 32">
            <a:extLst>
              <a:ext uri="{FF2B5EF4-FFF2-40B4-BE49-F238E27FC236}">
                <a16:creationId xmlns:a16="http://schemas.microsoft.com/office/drawing/2014/main" id="{7249E9AA-9773-4C10-8E5B-39831154715B}"/>
              </a:ext>
            </a:extLst>
          </p:cNvPr>
          <p:cNvSpPr>
            <a:spLocks noGrp="1"/>
          </p:cNvSpPr>
          <p:nvPr>
            <p:ph type="body" sz="quarter" idx="10"/>
          </p:nvPr>
        </p:nvSpPr>
        <p:spPr>
          <a:xfrm>
            <a:off x="15581929" y="4578148"/>
            <a:ext cx="3475760" cy="2999566"/>
          </a:xfrm>
          <a:prstGeom prst="rect">
            <a:avLst/>
          </a:prstGeom>
        </p:spPr>
        <p:txBody>
          <a:bodyPr/>
          <a:lstStyle>
            <a:lvl1pPr>
              <a:lnSpc>
                <a:spcPct val="100000"/>
              </a:lnSpc>
              <a:defRPr lang="es-ES" sz="2638" kern="1200" dirty="0" smtClean="0">
                <a:solidFill>
                  <a:schemeClr val="accent3"/>
                </a:solidFill>
                <a:latin typeface="Ubuntu" panose="020B0504030602030204" pitchFamily="34" charset="0"/>
                <a:ea typeface="+mn-ea"/>
                <a:cs typeface="+mn-cs"/>
              </a:defRPr>
            </a:lvl1pPr>
            <a:lvl2pPr>
              <a:lnSpc>
                <a:spcPct val="100000"/>
              </a:lnSpc>
              <a:defRPr lang="es-ES" sz="2638" kern="1200" dirty="0" smtClean="0">
                <a:solidFill>
                  <a:schemeClr val="accent3"/>
                </a:solidFill>
                <a:latin typeface="Ubuntu" panose="020B0504030602030204" pitchFamily="34" charset="0"/>
                <a:ea typeface="+mn-ea"/>
                <a:cs typeface="+mn-cs"/>
              </a:defRPr>
            </a:lvl2pPr>
            <a:lvl3pPr>
              <a:lnSpc>
                <a:spcPct val="100000"/>
              </a:lnSpc>
              <a:defRPr lang="es-ES" sz="2638" kern="1200" dirty="0" smtClean="0">
                <a:solidFill>
                  <a:schemeClr val="accent3"/>
                </a:solidFill>
                <a:latin typeface="Ubuntu" panose="020B0504030602030204" pitchFamily="34" charset="0"/>
                <a:ea typeface="+mn-ea"/>
                <a:cs typeface="+mn-cs"/>
              </a:defRPr>
            </a:lvl3pPr>
            <a:lvl4pPr>
              <a:lnSpc>
                <a:spcPct val="100000"/>
              </a:lnSpc>
              <a:defRPr lang="es-ES" sz="2638" kern="1200" dirty="0" smtClean="0">
                <a:solidFill>
                  <a:schemeClr val="accent3"/>
                </a:solidFill>
                <a:latin typeface="Ubuntu" panose="020B0504030602030204" pitchFamily="34" charset="0"/>
                <a:ea typeface="+mn-ea"/>
                <a:cs typeface="+mn-cs"/>
              </a:defRPr>
            </a:lvl4pPr>
            <a:lvl5pPr>
              <a:lnSpc>
                <a:spcPct val="100000"/>
              </a:lnSpc>
              <a:defRPr lang="en-GB" sz="2638" kern="1200" dirty="0">
                <a:solidFill>
                  <a:schemeClr val="accent3"/>
                </a:solidFill>
                <a:latin typeface="Ubuntu" panose="020B0504030602030204" pitchFamily="34" charset="0"/>
                <a:ea typeface="+mn-ea"/>
                <a:cs typeface="+mn-cs"/>
              </a:defRPr>
            </a:lvl5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GB"/>
          </a:p>
        </p:txBody>
      </p:sp>
      <p:sp>
        <p:nvSpPr>
          <p:cNvPr id="37" name="Title 1">
            <a:extLst>
              <a:ext uri="{FF2B5EF4-FFF2-40B4-BE49-F238E27FC236}">
                <a16:creationId xmlns:a16="http://schemas.microsoft.com/office/drawing/2014/main" id="{0BE45C9D-D59B-4862-B83E-6E5B1DF13AC2}"/>
              </a:ext>
            </a:extLst>
          </p:cNvPr>
          <p:cNvSpPr txBox="1">
            <a:spLocks/>
          </p:cNvSpPr>
          <p:nvPr userDrawn="1"/>
        </p:nvSpPr>
        <p:spPr>
          <a:xfrm>
            <a:off x="1147711" y="5847992"/>
            <a:ext cx="18758590" cy="791414"/>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a:lstStyle>
          <a:p>
            <a:r>
              <a:rPr lang="en-US" sz="4617" b="1">
                <a:solidFill>
                  <a:schemeClr val="bg1"/>
                </a:solidFill>
                <a:latin typeface="Ubuntu Mono" panose="020B0509030602030204" pitchFamily="49" charset="0"/>
              </a:rPr>
              <a:t>Value</a:t>
            </a:r>
          </a:p>
        </p:txBody>
      </p:sp>
      <p:sp>
        <p:nvSpPr>
          <p:cNvPr id="38" name="Title 1">
            <a:extLst>
              <a:ext uri="{FF2B5EF4-FFF2-40B4-BE49-F238E27FC236}">
                <a16:creationId xmlns:a16="http://schemas.microsoft.com/office/drawing/2014/main" id="{37025ADD-45F0-4223-80D2-9D5BC34E8904}"/>
              </a:ext>
            </a:extLst>
          </p:cNvPr>
          <p:cNvSpPr txBox="1">
            <a:spLocks/>
          </p:cNvSpPr>
          <p:nvPr userDrawn="1"/>
        </p:nvSpPr>
        <p:spPr>
          <a:xfrm>
            <a:off x="1147712" y="6447847"/>
            <a:ext cx="4639049" cy="791414"/>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a:lstStyle>
          <a:p>
            <a:r>
              <a:rPr lang="en-US" sz="2638" i="1">
                <a:solidFill>
                  <a:schemeClr val="accent2"/>
                </a:solidFill>
              </a:rPr>
              <a:t>Why we do it?</a:t>
            </a:r>
          </a:p>
        </p:txBody>
      </p:sp>
      <p:sp>
        <p:nvSpPr>
          <p:cNvPr id="40" name="Title 1">
            <a:extLst>
              <a:ext uri="{FF2B5EF4-FFF2-40B4-BE49-F238E27FC236}">
                <a16:creationId xmlns:a16="http://schemas.microsoft.com/office/drawing/2014/main" id="{040E4CC5-D410-4884-8DEE-D6B499B7ABE7}"/>
              </a:ext>
            </a:extLst>
          </p:cNvPr>
          <p:cNvSpPr txBox="1">
            <a:spLocks/>
          </p:cNvSpPr>
          <p:nvPr userDrawn="1"/>
        </p:nvSpPr>
        <p:spPr>
          <a:xfrm>
            <a:off x="1056991" y="674924"/>
            <a:ext cx="3080379" cy="791414"/>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a:lstStyle>
          <a:p>
            <a:r>
              <a:rPr lang="en-US" sz="4617" b="1">
                <a:solidFill>
                  <a:schemeClr val="bg1"/>
                </a:solidFill>
                <a:latin typeface="Ubuntu Mono" panose="020B0509030602030204" pitchFamily="49" charset="0"/>
              </a:rPr>
              <a:t>Context</a:t>
            </a:r>
          </a:p>
        </p:txBody>
      </p:sp>
      <p:sp>
        <p:nvSpPr>
          <p:cNvPr id="41" name="Title 1">
            <a:extLst>
              <a:ext uri="{FF2B5EF4-FFF2-40B4-BE49-F238E27FC236}">
                <a16:creationId xmlns:a16="http://schemas.microsoft.com/office/drawing/2014/main" id="{86F0C253-AA89-4F54-989C-D88EE47DCC8D}"/>
              </a:ext>
            </a:extLst>
          </p:cNvPr>
          <p:cNvSpPr txBox="1">
            <a:spLocks/>
          </p:cNvSpPr>
          <p:nvPr userDrawn="1"/>
        </p:nvSpPr>
        <p:spPr>
          <a:xfrm>
            <a:off x="1046410" y="1240378"/>
            <a:ext cx="4639049" cy="791414"/>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sz="2600" kern="1200">
                <a:solidFill>
                  <a:schemeClr val="accent1"/>
                </a:solidFill>
                <a:latin typeface="Ubuntu" panose="020B0504030602030204" pitchFamily="34" charset="0"/>
                <a:ea typeface="+mj-ea"/>
                <a:cs typeface="+mj-cs"/>
              </a:defRPr>
            </a:lvl1pPr>
          </a:lstStyle>
          <a:p>
            <a:r>
              <a:rPr lang="en-US" sz="2638" i="1">
                <a:solidFill>
                  <a:schemeClr val="accent2"/>
                </a:solidFill>
              </a:rPr>
              <a:t>Customer challenges</a:t>
            </a:r>
          </a:p>
        </p:txBody>
      </p:sp>
      <p:sp>
        <p:nvSpPr>
          <p:cNvPr id="43" name="Freeform 11">
            <a:extLst>
              <a:ext uri="{FF2B5EF4-FFF2-40B4-BE49-F238E27FC236}">
                <a16:creationId xmlns:a16="http://schemas.microsoft.com/office/drawing/2014/main" id="{CB247926-8A4A-427A-9772-1FFF8016632C}"/>
              </a:ext>
            </a:extLst>
          </p:cNvPr>
          <p:cNvSpPr/>
          <p:nvPr userDrawn="1"/>
        </p:nvSpPr>
        <p:spPr>
          <a:xfrm rot="10800000">
            <a:off x="15353540" y="-22465"/>
            <a:ext cx="4750560" cy="2103293"/>
          </a:xfrm>
          <a:custGeom>
            <a:avLst/>
            <a:gdLst>
              <a:gd name="connsiteX0" fmla="*/ 4395998 w 7237505"/>
              <a:gd name="connsiteY0" fmla="*/ 58 h 4933262"/>
              <a:gd name="connsiteX1" fmla="*/ 7233138 w 7237505"/>
              <a:gd name="connsiteY1" fmla="*/ 4903565 h 4933262"/>
              <a:gd name="connsiteX2" fmla="*/ 7237505 w 7237505"/>
              <a:gd name="connsiteY2" fmla="*/ 4933262 h 4933262"/>
              <a:gd name="connsiteX3" fmla="*/ 0 w 7237505"/>
              <a:gd name="connsiteY3" fmla="*/ 4933262 h 4933262"/>
              <a:gd name="connsiteX4" fmla="*/ 0 w 7237505"/>
              <a:gd name="connsiteY4" fmla="*/ 1491292 h 4933262"/>
              <a:gd name="connsiteX5" fmla="*/ 148016 w 7237505"/>
              <a:gd name="connsiteY5" fmla="*/ 1437398 h 4933262"/>
              <a:gd name="connsiteX6" fmla="*/ 3756131 w 7237505"/>
              <a:gd name="connsiteY6" fmla="*/ 123640 h 4933262"/>
              <a:gd name="connsiteX7" fmla="*/ 4395998 w 7237505"/>
              <a:gd name="connsiteY7" fmla="*/ 58 h 4933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37505" h="4933262">
                <a:moveTo>
                  <a:pt x="4395998" y="58"/>
                </a:moveTo>
                <a:cubicBezTo>
                  <a:pt x="6238787" y="-15730"/>
                  <a:pt x="6966936" y="3156975"/>
                  <a:pt x="7233138" y="4903565"/>
                </a:cubicBezTo>
                <a:lnTo>
                  <a:pt x="7237505" y="4933262"/>
                </a:lnTo>
                <a:lnTo>
                  <a:pt x="0" y="4933262"/>
                </a:lnTo>
                <a:lnTo>
                  <a:pt x="0" y="1491292"/>
                </a:lnTo>
                <a:lnTo>
                  <a:pt x="148016" y="1437398"/>
                </a:lnTo>
                <a:cubicBezTo>
                  <a:pt x="1090161" y="1094352"/>
                  <a:pt x="2272461" y="663862"/>
                  <a:pt x="3756131" y="123640"/>
                </a:cubicBezTo>
                <a:cubicBezTo>
                  <a:pt x="3983091" y="41001"/>
                  <a:pt x="4196102" y="1771"/>
                  <a:pt x="4395998" y="58"/>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4" name="Imagen 43">
            <a:extLst>
              <a:ext uri="{FF2B5EF4-FFF2-40B4-BE49-F238E27FC236}">
                <a16:creationId xmlns:a16="http://schemas.microsoft.com/office/drawing/2014/main" id="{9AD8EB7A-98C7-4954-8670-4E7F0C9A1C20}"/>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6200784" y="359660"/>
            <a:ext cx="1911022" cy="992292"/>
          </a:xfrm>
          <a:prstGeom prst="rect">
            <a:avLst/>
          </a:prstGeom>
        </p:spPr>
      </p:pic>
      <p:sp>
        <p:nvSpPr>
          <p:cNvPr id="52" name="CuadroTexto 51">
            <a:extLst>
              <a:ext uri="{FF2B5EF4-FFF2-40B4-BE49-F238E27FC236}">
                <a16:creationId xmlns:a16="http://schemas.microsoft.com/office/drawing/2014/main" id="{AD3F5070-83BB-4FF3-862A-2F897ACC5162}"/>
              </a:ext>
            </a:extLst>
          </p:cNvPr>
          <p:cNvSpPr txBox="1"/>
          <p:nvPr userDrawn="1"/>
        </p:nvSpPr>
        <p:spPr>
          <a:xfrm>
            <a:off x="18457188" y="376414"/>
            <a:ext cx="3475760" cy="701474"/>
          </a:xfrm>
          <a:prstGeom prst="rect">
            <a:avLst/>
          </a:prstGeom>
          <a:noFill/>
        </p:spPr>
        <p:txBody>
          <a:bodyPr wrap="square" rtlCol="0">
            <a:spAutoFit/>
          </a:bodyPr>
          <a:lstStyle/>
          <a:p>
            <a:r>
              <a:rPr lang="en-US" sz="1979" b="1" noProof="0">
                <a:solidFill>
                  <a:schemeClr val="bg1"/>
                </a:solidFill>
                <a:latin typeface="Ubuntu" panose="020B0504030602030204" pitchFamily="34" charset="0"/>
              </a:rPr>
              <a:t>Customer</a:t>
            </a:r>
          </a:p>
          <a:p>
            <a:r>
              <a:rPr lang="en-US" sz="1979" b="1" noProof="0">
                <a:solidFill>
                  <a:schemeClr val="bg1"/>
                </a:solidFill>
                <a:latin typeface="Ubuntu" panose="020B0504030602030204" pitchFamily="34" charset="0"/>
              </a:rPr>
              <a:t>stories</a:t>
            </a:r>
          </a:p>
        </p:txBody>
      </p:sp>
      <p:cxnSp>
        <p:nvCxnSpPr>
          <p:cNvPr id="54" name="Conector recto 53">
            <a:extLst>
              <a:ext uri="{FF2B5EF4-FFF2-40B4-BE49-F238E27FC236}">
                <a16:creationId xmlns:a16="http://schemas.microsoft.com/office/drawing/2014/main" id="{E7776513-9B4F-4C05-923C-6E38EA3EF004}"/>
              </a:ext>
            </a:extLst>
          </p:cNvPr>
          <p:cNvCxnSpPr/>
          <p:nvPr userDrawn="1"/>
        </p:nvCxnSpPr>
        <p:spPr>
          <a:xfrm>
            <a:off x="18372286" y="188807"/>
            <a:ext cx="0" cy="1225849"/>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55" name="CuadroTexto 54">
            <a:extLst>
              <a:ext uri="{FF2B5EF4-FFF2-40B4-BE49-F238E27FC236}">
                <a16:creationId xmlns:a16="http://schemas.microsoft.com/office/drawing/2014/main" id="{0B6BE599-84E3-4CDC-893C-176A2E1762A6}"/>
              </a:ext>
            </a:extLst>
          </p:cNvPr>
          <p:cNvSpPr txBox="1"/>
          <p:nvPr userDrawn="1"/>
        </p:nvSpPr>
        <p:spPr>
          <a:xfrm>
            <a:off x="16261193" y="2366243"/>
            <a:ext cx="2111094" cy="396904"/>
          </a:xfrm>
          <a:prstGeom prst="rect">
            <a:avLst/>
          </a:prstGeom>
          <a:noFill/>
        </p:spPr>
        <p:txBody>
          <a:bodyPr wrap="square" rtlCol="0">
            <a:spAutoFit/>
          </a:bodyPr>
          <a:lstStyle/>
          <a:p>
            <a:pPr algn="ctr"/>
            <a:r>
              <a:rPr lang="es-ES" sz="1979" b="0">
                <a:solidFill>
                  <a:schemeClr val="accent2"/>
                </a:solidFill>
                <a:latin typeface="Ubuntu" panose="020B0504030602030204" pitchFamily="34" charset="0"/>
              </a:rPr>
              <a:t>Sogeti</a:t>
            </a:r>
            <a:r>
              <a:rPr lang="es-ES" sz="1979" b="0">
                <a:solidFill>
                  <a:schemeClr val="accent3"/>
                </a:solidFill>
                <a:latin typeface="Ubuntu" panose="020B0504030602030204" pitchFamily="34" charset="0"/>
              </a:rPr>
              <a:t> </a:t>
            </a:r>
            <a:r>
              <a:rPr lang="es-ES" sz="1979" b="0">
                <a:solidFill>
                  <a:schemeClr val="accent2"/>
                </a:solidFill>
                <a:latin typeface="Ubuntu" panose="020B0504030602030204" pitchFamily="34" charset="0"/>
              </a:rPr>
              <a:t>España</a:t>
            </a:r>
            <a:endParaRPr lang="en-GB" sz="1979" b="0">
              <a:solidFill>
                <a:schemeClr val="accent2"/>
              </a:solidFill>
              <a:latin typeface="Ubuntu" panose="020B0504030602030204" pitchFamily="34" charset="0"/>
            </a:endParaRPr>
          </a:p>
        </p:txBody>
      </p:sp>
      <p:grpSp>
        <p:nvGrpSpPr>
          <p:cNvPr id="45" name="Grupo 44">
            <a:extLst>
              <a:ext uri="{FF2B5EF4-FFF2-40B4-BE49-F238E27FC236}">
                <a16:creationId xmlns:a16="http://schemas.microsoft.com/office/drawing/2014/main" id="{DA7ECECE-D71B-463F-AD1F-D881257D8DA4}"/>
              </a:ext>
            </a:extLst>
          </p:cNvPr>
          <p:cNvGrpSpPr/>
          <p:nvPr userDrawn="1"/>
        </p:nvGrpSpPr>
        <p:grpSpPr>
          <a:xfrm>
            <a:off x="15558502" y="7979449"/>
            <a:ext cx="3540564" cy="2427122"/>
            <a:chOff x="10488487" y="215003"/>
            <a:chExt cx="1422239" cy="682410"/>
          </a:xfrm>
        </p:grpSpPr>
        <p:sp>
          <p:nvSpPr>
            <p:cNvPr id="46" name="Forma libre 68">
              <a:extLst>
                <a:ext uri="{FF2B5EF4-FFF2-40B4-BE49-F238E27FC236}">
                  <a16:creationId xmlns:a16="http://schemas.microsoft.com/office/drawing/2014/main" id="{C5110CE5-F17D-47DD-A92E-34A98005AEF6}"/>
                </a:ext>
              </a:extLst>
            </p:cNvPr>
            <p:cNvSpPr/>
            <p:nvPr/>
          </p:nvSpPr>
          <p:spPr>
            <a:xfrm>
              <a:off x="11626523" y="215003"/>
              <a:ext cx="284203" cy="266007"/>
            </a:xfrm>
            <a:custGeom>
              <a:avLst/>
              <a:gdLst>
                <a:gd name="connsiteX0" fmla="*/ 0 w 324197"/>
                <a:gd name="connsiteY0" fmla="*/ 0 h 266007"/>
                <a:gd name="connsiteX1" fmla="*/ 324197 w 324197"/>
                <a:gd name="connsiteY1" fmla="*/ 0 h 266007"/>
                <a:gd name="connsiteX2" fmla="*/ 324197 w 324197"/>
                <a:gd name="connsiteY2" fmla="*/ 266007 h 266007"/>
              </a:gdLst>
              <a:ahLst/>
              <a:cxnLst>
                <a:cxn ang="0">
                  <a:pos x="connsiteX0" y="connsiteY0"/>
                </a:cxn>
                <a:cxn ang="0">
                  <a:pos x="connsiteX1" y="connsiteY1"/>
                </a:cxn>
                <a:cxn ang="0">
                  <a:pos x="connsiteX2" y="connsiteY2"/>
                </a:cxn>
              </a:cxnLst>
              <a:rect l="l" t="t" r="r" b="b"/>
              <a:pathLst>
                <a:path w="324197" h="266007">
                  <a:moveTo>
                    <a:pt x="0" y="0"/>
                  </a:moveTo>
                  <a:lnTo>
                    <a:pt x="324197" y="0"/>
                  </a:lnTo>
                  <a:lnTo>
                    <a:pt x="324197" y="266007"/>
                  </a:lnTo>
                </a:path>
              </a:pathLst>
            </a:cu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4617"/>
            </a:p>
          </p:txBody>
        </p:sp>
        <p:sp>
          <p:nvSpPr>
            <p:cNvPr id="47" name="Forma libre 69">
              <a:extLst>
                <a:ext uri="{FF2B5EF4-FFF2-40B4-BE49-F238E27FC236}">
                  <a16:creationId xmlns:a16="http://schemas.microsoft.com/office/drawing/2014/main" id="{7EDAEA1A-D96A-4951-B6E9-7ADF98EEA680}"/>
                </a:ext>
              </a:extLst>
            </p:cNvPr>
            <p:cNvSpPr/>
            <p:nvPr/>
          </p:nvSpPr>
          <p:spPr>
            <a:xfrm flipH="1">
              <a:off x="10488488" y="218803"/>
              <a:ext cx="284203" cy="266007"/>
            </a:xfrm>
            <a:custGeom>
              <a:avLst/>
              <a:gdLst>
                <a:gd name="connsiteX0" fmla="*/ 0 w 324197"/>
                <a:gd name="connsiteY0" fmla="*/ 0 h 266007"/>
                <a:gd name="connsiteX1" fmla="*/ 324197 w 324197"/>
                <a:gd name="connsiteY1" fmla="*/ 0 h 266007"/>
                <a:gd name="connsiteX2" fmla="*/ 324197 w 324197"/>
                <a:gd name="connsiteY2" fmla="*/ 266007 h 266007"/>
              </a:gdLst>
              <a:ahLst/>
              <a:cxnLst>
                <a:cxn ang="0">
                  <a:pos x="connsiteX0" y="connsiteY0"/>
                </a:cxn>
                <a:cxn ang="0">
                  <a:pos x="connsiteX1" y="connsiteY1"/>
                </a:cxn>
                <a:cxn ang="0">
                  <a:pos x="connsiteX2" y="connsiteY2"/>
                </a:cxn>
              </a:cxnLst>
              <a:rect l="l" t="t" r="r" b="b"/>
              <a:pathLst>
                <a:path w="324197" h="266007">
                  <a:moveTo>
                    <a:pt x="0" y="0"/>
                  </a:moveTo>
                  <a:lnTo>
                    <a:pt x="324197" y="0"/>
                  </a:lnTo>
                  <a:lnTo>
                    <a:pt x="324197" y="266007"/>
                  </a:lnTo>
                </a:path>
              </a:pathLst>
            </a:cu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4617"/>
            </a:p>
          </p:txBody>
        </p:sp>
        <p:sp>
          <p:nvSpPr>
            <p:cNvPr id="48" name="Forma libre 70">
              <a:extLst>
                <a:ext uri="{FF2B5EF4-FFF2-40B4-BE49-F238E27FC236}">
                  <a16:creationId xmlns:a16="http://schemas.microsoft.com/office/drawing/2014/main" id="{5683823D-2399-4137-94F8-792CF84BFE7B}"/>
                </a:ext>
              </a:extLst>
            </p:cNvPr>
            <p:cNvSpPr/>
            <p:nvPr/>
          </p:nvSpPr>
          <p:spPr>
            <a:xfrm flipH="1" flipV="1">
              <a:off x="10488487" y="588404"/>
              <a:ext cx="284204" cy="307805"/>
            </a:xfrm>
            <a:custGeom>
              <a:avLst/>
              <a:gdLst>
                <a:gd name="connsiteX0" fmla="*/ 0 w 324197"/>
                <a:gd name="connsiteY0" fmla="*/ 0 h 266007"/>
                <a:gd name="connsiteX1" fmla="*/ 324197 w 324197"/>
                <a:gd name="connsiteY1" fmla="*/ 0 h 266007"/>
                <a:gd name="connsiteX2" fmla="*/ 324197 w 324197"/>
                <a:gd name="connsiteY2" fmla="*/ 266007 h 266007"/>
              </a:gdLst>
              <a:ahLst/>
              <a:cxnLst>
                <a:cxn ang="0">
                  <a:pos x="connsiteX0" y="connsiteY0"/>
                </a:cxn>
                <a:cxn ang="0">
                  <a:pos x="connsiteX1" y="connsiteY1"/>
                </a:cxn>
                <a:cxn ang="0">
                  <a:pos x="connsiteX2" y="connsiteY2"/>
                </a:cxn>
              </a:cxnLst>
              <a:rect l="l" t="t" r="r" b="b"/>
              <a:pathLst>
                <a:path w="324197" h="266007">
                  <a:moveTo>
                    <a:pt x="0" y="0"/>
                  </a:moveTo>
                  <a:lnTo>
                    <a:pt x="324197" y="0"/>
                  </a:lnTo>
                  <a:lnTo>
                    <a:pt x="324197" y="266007"/>
                  </a:lnTo>
                </a:path>
              </a:pathLst>
            </a:cu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4617"/>
            </a:p>
          </p:txBody>
        </p:sp>
        <p:sp>
          <p:nvSpPr>
            <p:cNvPr id="49" name="Forma libre 71">
              <a:extLst>
                <a:ext uri="{FF2B5EF4-FFF2-40B4-BE49-F238E27FC236}">
                  <a16:creationId xmlns:a16="http://schemas.microsoft.com/office/drawing/2014/main" id="{56ABFE81-255D-4595-B5B7-BC50D50E0A9C}"/>
                </a:ext>
              </a:extLst>
            </p:cNvPr>
            <p:cNvSpPr/>
            <p:nvPr/>
          </p:nvSpPr>
          <p:spPr>
            <a:xfrm flipV="1">
              <a:off x="11626522" y="589608"/>
              <a:ext cx="284203" cy="307805"/>
            </a:xfrm>
            <a:custGeom>
              <a:avLst/>
              <a:gdLst>
                <a:gd name="connsiteX0" fmla="*/ 0 w 324197"/>
                <a:gd name="connsiteY0" fmla="*/ 0 h 266007"/>
                <a:gd name="connsiteX1" fmla="*/ 324197 w 324197"/>
                <a:gd name="connsiteY1" fmla="*/ 0 h 266007"/>
                <a:gd name="connsiteX2" fmla="*/ 324197 w 324197"/>
                <a:gd name="connsiteY2" fmla="*/ 266007 h 266007"/>
              </a:gdLst>
              <a:ahLst/>
              <a:cxnLst>
                <a:cxn ang="0">
                  <a:pos x="connsiteX0" y="connsiteY0"/>
                </a:cxn>
                <a:cxn ang="0">
                  <a:pos x="connsiteX1" y="connsiteY1"/>
                </a:cxn>
                <a:cxn ang="0">
                  <a:pos x="connsiteX2" y="connsiteY2"/>
                </a:cxn>
              </a:cxnLst>
              <a:rect l="l" t="t" r="r" b="b"/>
              <a:pathLst>
                <a:path w="324197" h="266007">
                  <a:moveTo>
                    <a:pt x="0" y="0"/>
                  </a:moveTo>
                  <a:lnTo>
                    <a:pt x="324197" y="0"/>
                  </a:lnTo>
                  <a:lnTo>
                    <a:pt x="324197" y="266007"/>
                  </a:lnTo>
                </a:path>
              </a:pathLst>
            </a:cu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4617"/>
            </a:p>
          </p:txBody>
        </p:sp>
      </p:grpSp>
    </p:spTree>
    <p:extLst>
      <p:ext uri="{BB962C8B-B14F-4D97-AF65-F5344CB8AC3E}">
        <p14:creationId xmlns:p14="http://schemas.microsoft.com/office/powerpoint/2010/main" val="68178917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8_Cover2">
    <p:spTree>
      <p:nvGrpSpPr>
        <p:cNvPr id="1" name=""/>
        <p:cNvGrpSpPr/>
        <p:nvPr/>
      </p:nvGrpSpPr>
      <p:grpSpPr>
        <a:xfrm>
          <a:off x="0" y="0"/>
          <a:ext cx="0" cy="0"/>
          <a:chOff x="0" y="0"/>
          <a:chExt cx="0" cy="0"/>
        </a:xfrm>
      </p:grpSpPr>
      <p:sp>
        <p:nvSpPr>
          <p:cNvPr id="2" name="Rectangle 1"/>
          <p:cNvSpPr/>
          <p:nvPr userDrawn="1"/>
        </p:nvSpPr>
        <p:spPr>
          <a:xfrm>
            <a:off x="0" y="0"/>
            <a:ext cx="20104100" cy="113284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09">
              <a:solidFill>
                <a:schemeClr val="tx1"/>
              </a:solidFill>
            </a:endParaRPr>
          </a:p>
        </p:txBody>
      </p:sp>
      <p:sp>
        <p:nvSpPr>
          <p:cNvPr id="5" name="Oval 4"/>
          <p:cNvSpPr/>
          <p:nvPr userDrawn="1"/>
        </p:nvSpPr>
        <p:spPr>
          <a:xfrm>
            <a:off x="8820676" y="383463"/>
            <a:ext cx="10635801" cy="1065446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sz="2309">
              <a:solidFill>
                <a:schemeClr val="tx1"/>
              </a:solidFill>
            </a:endParaRPr>
          </a:p>
        </p:txBody>
      </p:sp>
      <p:sp>
        <p:nvSpPr>
          <p:cNvPr id="8" name="Title 1"/>
          <p:cNvSpPr>
            <a:spLocks noGrp="1"/>
          </p:cNvSpPr>
          <p:nvPr>
            <p:ph type="ctrTitle" hasCustomPrompt="1"/>
          </p:nvPr>
        </p:nvSpPr>
        <p:spPr>
          <a:xfrm>
            <a:off x="9400600" y="4589859"/>
            <a:ext cx="9533942" cy="11905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r">
              <a:lnSpc>
                <a:spcPts val="4947"/>
              </a:lnSpc>
              <a:defRPr lang="en-US" sz="4287" b="0" dirty="0">
                <a:solidFill>
                  <a:schemeClr val="accent3"/>
                </a:solidFill>
              </a:defRPr>
            </a:lvl1pPr>
          </a:lstStyle>
          <a:p>
            <a:pPr marL="0" lvl="0"/>
            <a:r>
              <a:rPr lang="en-US"/>
              <a:t>Title of Presentation</a:t>
            </a:r>
          </a:p>
        </p:txBody>
      </p:sp>
      <p:sp>
        <p:nvSpPr>
          <p:cNvPr id="9" name="Subtitle 2"/>
          <p:cNvSpPr>
            <a:spLocks noGrp="1"/>
          </p:cNvSpPr>
          <p:nvPr>
            <p:ph type="subTitle" idx="1" hasCustomPrompt="1"/>
          </p:nvPr>
        </p:nvSpPr>
        <p:spPr>
          <a:xfrm>
            <a:off x="9400600" y="6100311"/>
            <a:ext cx="9533942" cy="20218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r" defTabSz="1507846" rtl="0" eaLnBrk="1" fontAlgn="auto" latinLnBrk="0" hangingPunct="1">
              <a:lnSpc>
                <a:spcPts val="2968"/>
              </a:lnSpc>
              <a:spcBef>
                <a:spcPts val="0"/>
              </a:spcBef>
              <a:spcAft>
                <a:spcPts val="0"/>
              </a:spcAft>
              <a:buClrTx/>
              <a:buSzTx/>
              <a:buFont typeface="Arial" panose="020B0604020202020204" pitchFamily="34" charset="0"/>
              <a:buNone/>
              <a:tabLst/>
              <a:defRPr lang="en-US" sz="2638" dirty="0">
                <a:solidFill>
                  <a:schemeClr val="accent3"/>
                </a:solidFill>
              </a:defRPr>
            </a:lvl1pPr>
          </a:lstStyle>
          <a:p>
            <a:pPr marL="0" lvl="0"/>
            <a:r>
              <a:rPr lang="en-US"/>
              <a:t>Subtitle</a:t>
            </a:r>
          </a:p>
        </p:txBody>
      </p:sp>
    </p:spTree>
    <p:extLst>
      <p:ext uri="{BB962C8B-B14F-4D97-AF65-F5344CB8AC3E}">
        <p14:creationId xmlns:p14="http://schemas.microsoft.com/office/powerpoint/2010/main" val="4179717212"/>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losing3">
    <p:spTree>
      <p:nvGrpSpPr>
        <p:cNvPr id="1" name=""/>
        <p:cNvGrpSpPr/>
        <p:nvPr/>
      </p:nvGrpSpPr>
      <p:grpSpPr>
        <a:xfrm>
          <a:off x="0" y="0"/>
          <a:ext cx="0" cy="0"/>
          <a:chOff x="0" y="0"/>
          <a:chExt cx="0" cy="0"/>
        </a:xfrm>
      </p:grpSpPr>
      <p:sp>
        <p:nvSpPr>
          <p:cNvPr id="10" name="Freeform 9"/>
          <p:cNvSpPr/>
          <p:nvPr userDrawn="1"/>
        </p:nvSpPr>
        <p:spPr>
          <a:xfrm>
            <a:off x="0" y="0"/>
            <a:ext cx="10052050" cy="9574239"/>
          </a:xfrm>
          <a:custGeom>
            <a:avLst/>
            <a:gdLst>
              <a:gd name="connsiteX0" fmla="*/ 0 w 6096000"/>
              <a:gd name="connsiteY0" fmla="*/ 0 h 5796064"/>
              <a:gd name="connsiteX1" fmla="*/ 6096000 w 6096000"/>
              <a:gd name="connsiteY1" fmla="*/ 0 h 5796064"/>
              <a:gd name="connsiteX2" fmla="*/ 6096000 w 6096000"/>
              <a:gd name="connsiteY2" fmla="*/ 133757 h 5796064"/>
              <a:gd name="connsiteX3" fmla="*/ 6096000 w 6096000"/>
              <a:gd name="connsiteY3" fmla="*/ 4034055 h 5796064"/>
              <a:gd name="connsiteX4" fmla="*/ 0 w 6096000"/>
              <a:gd name="connsiteY4" fmla="*/ 5309105 h 5796064"/>
              <a:gd name="connsiteX5" fmla="*/ 0 w 6096000"/>
              <a:gd name="connsiteY5" fmla="*/ 8972 h 5796064"/>
              <a:gd name="connsiteX6" fmla="*/ 0 w 6096000"/>
              <a:gd name="connsiteY6" fmla="*/ 0 h 579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0" h="5796064">
                <a:moveTo>
                  <a:pt x="0" y="0"/>
                </a:moveTo>
                <a:lnTo>
                  <a:pt x="6096000" y="0"/>
                </a:lnTo>
                <a:lnTo>
                  <a:pt x="6096000" y="133757"/>
                </a:lnTo>
                <a:cubicBezTo>
                  <a:pt x="6096000" y="1105896"/>
                  <a:pt x="6096000" y="2375629"/>
                  <a:pt x="6096000" y="4034055"/>
                </a:cubicBezTo>
                <a:cubicBezTo>
                  <a:pt x="6096000" y="6848354"/>
                  <a:pt x="721895" y="5492896"/>
                  <a:pt x="0" y="5309105"/>
                </a:cubicBezTo>
                <a:cubicBezTo>
                  <a:pt x="0" y="5309105"/>
                  <a:pt x="0" y="5309105"/>
                  <a:pt x="0" y="8972"/>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09">
              <a:solidFill>
                <a:schemeClr val="tx1"/>
              </a:solidFill>
            </a:endParaRPr>
          </a:p>
        </p:txBody>
      </p:sp>
      <p:sp>
        <p:nvSpPr>
          <p:cNvPr id="15" name="Rectangle 14"/>
          <p:cNvSpPr/>
          <p:nvPr userDrawn="1"/>
        </p:nvSpPr>
        <p:spPr>
          <a:xfrm>
            <a:off x="11799108" y="4053050"/>
            <a:ext cx="3660622" cy="3858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3298"/>
              </a:lnSpc>
            </a:pPr>
            <a:r>
              <a:rPr lang="en-US" sz="2638" b="1">
                <a:solidFill>
                  <a:schemeClr val="accent3"/>
                </a:solidFill>
                <a:latin typeface="Ubuntu" panose="020B0504030602030204" pitchFamily="34" charset="0"/>
              </a:rPr>
              <a:t>About Sogeti</a:t>
            </a:r>
          </a:p>
        </p:txBody>
      </p:sp>
      <p:sp>
        <p:nvSpPr>
          <p:cNvPr id="16" name="Rectangle 15"/>
          <p:cNvSpPr/>
          <p:nvPr userDrawn="1"/>
        </p:nvSpPr>
        <p:spPr>
          <a:xfrm>
            <a:off x="11816940" y="10092533"/>
            <a:ext cx="3392567" cy="6727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lnSpc>
                <a:spcPct val="100000"/>
              </a:lnSpc>
              <a:spcAft>
                <a:spcPts val="660"/>
              </a:spcAft>
            </a:pPr>
            <a:r>
              <a:rPr lang="en-US" sz="1484" err="1">
                <a:solidFill>
                  <a:schemeClr val="tx1"/>
                </a:solidFill>
                <a:latin typeface="Ubuntu" panose="020B0504030602030204" pitchFamily="34" charset="0"/>
              </a:rPr>
              <a:t>Visítanos</a:t>
            </a:r>
            <a:r>
              <a:rPr lang="en-US" sz="1484">
                <a:solidFill>
                  <a:schemeClr val="tx1"/>
                </a:solidFill>
                <a:latin typeface="Ubuntu" panose="020B0504030602030204" pitchFamily="34" charset="0"/>
              </a:rPr>
              <a:t> en:</a:t>
            </a:r>
            <a:endParaRPr lang="en-US" sz="1484">
              <a:solidFill>
                <a:schemeClr val="accent3"/>
              </a:solidFill>
              <a:latin typeface="Ubuntu" panose="020B0504030602030204" pitchFamily="34" charset="0"/>
            </a:endParaRPr>
          </a:p>
          <a:p>
            <a:pPr algn="l">
              <a:lnSpc>
                <a:spcPct val="100000"/>
              </a:lnSpc>
              <a:spcAft>
                <a:spcPts val="660"/>
              </a:spcAft>
            </a:pPr>
            <a:r>
              <a:rPr lang="en-US" sz="1731" b="1">
                <a:solidFill>
                  <a:schemeClr val="accent3"/>
                </a:solidFill>
                <a:latin typeface="Ubuntu" panose="020B0504030602030204" pitchFamily="34" charset="0"/>
              </a:rPr>
              <a:t>www.sogeti.es</a:t>
            </a:r>
          </a:p>
        </p:txBody>
      </p:sp>
      <p:sp>
        <p:nvSpPr>
          <p:cNvPr id="30" name="Rectangle 29">
            <a:hlinkClick r:id="rId2"/>
          </p:cNvPr>
          <p:cNvSpPr/>
          <p:nvPr userDrawn="1"/>
        </p:nvSpPr>
        <p:spPr>
          <a:xfrm>
            <a:off x="11850157" y="10124738"/>
            <a:ext cx="1822224" cy="304189"/>
          </a:xfrm>
          <a:prstGeom prst="rect">
            <a:avLst/>
          </a:prstGeom>
          <a:solidFill>
            <a:srgbClr val="000000">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Ubuntu" panose="020B0504030602030204" pitchFamily="34" charset="0"/>
            </a:endParaRPr>
          </a:p>
        </p:txBody>
      </p:sp>
      <p:sp>
        <p:nvSpPr>
          <p:cNvPr id="23" name="Rectangle 22"/>
          <p:cNvSpPr/>
          <p:nvPr userDrawn="1"/>
        </p:nvSpPr>
        <p:spPr>
          <a:xfrm>
            <a:off x="693431" y="7592467"/>
            <a:ext cx="6594305" cy="737253"/>
          </a:xfrm>
          <a:prstGeom prst="rect">
            <a:avLst/>
          </a:prstGeom>
        </p:spPr>
        <p:txBody>
          <a:bodyPr wrap="square" lIns="0" tIns="0" rIns="0" bIns="0" anchor="b" anchorCtr="0">
            <a:spAutoFit/>
          </a:bodyPr>
          <a:lstStyle/>
          <a:p>
            <a:pPr algn="l">
              <a:spcAft>
                <a:spcPts val="989"/>
              </a:spcAft>
            </a:pPr>
            <a:r>
              <a:rPr lang="en-US" sz="1319" noProof="0" dirty="0">
                <a:solidFill>
                  <a:schemeClr val="bg1"/>
                </a:solidFill>
                <a:latin typeface="+mn-lt"/>
                <a:cs typeface="Arial"/>
              </a:rPr>
              <a:t>This message contains information that may be privileged or confidential and is the property of the Capgemini Group.</a:t>
            </a:r>
          </a:p>
          <a:p>
            <a:pPr algn="l">
              <a:spcAft>
                <a:spcPts val="989"/>
              </a:spcAft>
            </a:pPr>
            <a:r>
              <a:rPr lang="en-US" sz="1319" noProof="0" dirty="0">
                <a:solidFill>
                  <a:schemeClr val="bg1"/>
                </a:solidFill>
                <a:latin typeface="+mn-lt"/>
                <a:cs typeface="Arial"/>
              </a:rPr>
              <a:t>Copyright</a:t>
            </a:r>
            <a:r>
              <a:rPr lang="en-US" sz="1319" baseline="30000" noProof="0" dirty="0">
                <a:solidFill>
                  <a:schemeClr val="bg1"/>
                </a:solidFill>
                <a:latin typeface="+mn-lt"/>
                <a:cs typeface="Arial"/>
              </a:rPr>
              <a:t>©</a:t>
            </a:r>
            <a:r>
              <a:rPr lang="en-US" sz="1319" noProof="0" dirty="0">
                <a:solidFill>
                  <a:schemeClr val="bg1"/>
                </a:solidFill>
                <a:latin typeface="+mn-lt"/>
                <a:cs typeface="Arial"/>
              </a:rPr>
              <a:t> 2021 Sogeti. All rights reserved.</a:t>
            </a:r>
          </a:p>
        </p:txBody>
      </p:sp>
      <p:pic>
        <p:nvPicPr>
          <p:cNvPr id="11" name="Picture 1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6890336" y="679706"/>
            <a:ext cx="2600965" cy="1355257"/>
          </a:xfrm>
          <a:prstGeom prst="rect">
            <a:avLst/>
          </a:prstGeom>
        </p:spPr>
      </p:pic>
      <p:pic>
        <p:nvPicPr>
          <p:cNvPr id="9" name="Picture 2" descr="D:\My Work\Template\Icons\Social Media\LinkedIN.png">
            <a:hlinkClick r:id="rId4"/>
            <a:extLst>
              <a:ext uri="{FF2B5EF4-FFF2-40B4-BE49-F238E27FC236}">
                <a16:creationId xmlns:a16="http://schemas.microsoft.com/office/drawing/2014/main" id="{69B0AD73-FA6F-418A-94C3-EED4E25A5325}"/>
              </a:ext>
            </a:extLst>
          </p:cNvPr>
          <p:cNvPicPr>
            <a:picLocks noChangeAspect="1" noChangeArrowheads="1"/>
          </p:cNvPicPr>
          <p:nvPr userDrawn="1"/>
        </p:nvPicPr>
        <p:blipFill>
          <a:blip r:embed="rId5" cstate="print"/>
          <a:srcRect/>
          <a:stretch>
            <a:fillRect/>
          </a:stretch>
        </p:blipFill>
        <p:spPr bwMode="auto">
          <a:xfrm>
            <a:off x="693431" y="6545298"/>
            <a:ext cx="549425" cy="550389"/>
          </a:xfrm>
          <a:prstGeom prst="rect">
            <a:avLst/>
          </a:prstGeom>
          <a:noFill/>
        </p:spPr>
      </p:pic>
      <p:pic>
        <p:nvPicPr>
          <p:cNvPr id="12" name="Picture 5" descr="D:\My Work\Template\Icons\Social Media\Twitter.png">
            <a:hlinkClick r:id="rId6"/>
            <a:extLst>
              <a:ext uri="{FF2B5EF4-FFF2-40B4-BE49-F238E27FC236}">
                <a16:creationId xmlns:a16="http://schemas.microsoft.com/office/drawing/2014/main" id="{CD01C794-85B7-4ED7-A647-3BFD39BDA81E}"/>
              </a:ext>
            </a:extLst>
          </p:cNvPr>
          <p:cNvPicPr>
            <a:picLocks noChangeAspect="1" noChangeArrowheads="1"/>
          </p:cNvPicPr>
          <p:nvPr userDrawn="1"/>
        </p:nvPicPr>
        <p:blipFill>
          <a:blip r:embed="rId7" cstate="print"/>
          <a:srcRect/>
          <a:stretch>
            <a:fillRect/>
          </a:stretch>
        </p:blipFill>
        <p:spPr bwMode="auto">
          <a:xfrm>
            <a:off x="1325602" y="6545298"/>
            <a:ext cx="549425" cy="550389"/>
          </a:xfrm>
          <a:prstGeom prst="rect">
            <a:avLst/>
          </a:prstGeom>
          <a:noFill/>
        </p:spPr>
      </p:pic>
      <p:pic>
        <p:nvPicPr>
          <p:cNvPr id="13" name="Picture 6" descr="D:\My Work\Template\Icons\Social Media\YouTube.png">
            <a:hlinkClick r:id="rId8"/>
            <a:extLst>
              <a:ext uri="{FF2B5EF4-FFF2-40B4-BE49-F238E27FC236}">
                <a16:creationId xmlns:a16="http://schemas.microsoft.com/office/drawing/2014/main" id="{721FA104-A027-4E51-8E5C-6108C26E223D}"/>
              </a:ext>
            </a:extLst>
          </p:cNvPr>
          <p:cNvPicPr>
            <a:picLocks noChangeAspect="1" noChangeArrowheads="1"/>
          </p:cNvPicPr>
          <p:nvPr userDrawn="1"/>
        </p:nvPicPr>
        <p:blipFill>
          <a:blip r:embed="rId9" cstate="print"/>
          <a:srcRect/>
          <a:stretch>
            <a:fillRect/>
          </a:stretch>
        </p:blipFill>
        <p:spPr bwMode="auto">
          <a:xfrm>
            <a:off x="1957773" y="6545298"/>
            <a:ext cx="549425" cy="550389"/>
          </a:xfrm>
          <a:prstGeom prst="rect">
            <a:avLst/>
          </a:prstGeom>
          <a:noFill/>
        </p:spPr>
      </p:pic>
      <p:sp>
        <p:nvSpPr>
          <p:cNvPr id="17" name="Rectangle 16">
            <a:extLst>
              <a:ext uri="{FF2B5EF4-FFF2-40B4-BE49-F238E27FC236}">
                <a16:creationId xmlns:a16="http://schemas.microsoft.com/office/drawing/2014/main" id="{7C9E7AB6-360B-4526-A05F-E716E577D207}"/>
              </a:ext>
            </a:extLst>
          </p:cNvPr>
          <p:cNvSpPr/>
          <p:nvPr userDrawn="1"/>
        </p:nvSpPr>
        <p:spPr>
          <a:xfrm>
            <a:off x="11799108" y="5027920"/>
            <a:ext cx="7208266" cy="12725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s-ES" sz="1319" b="0" i="0" kern="1200" dirty="0">
                <a:solidFill>
                  <a:schemeClr val="tx2"/>
                </a:solidFill>
                <a:effectLst/>
                <a:latin typeface="Ubuntu" panose="020B0504030602030204" pitchFamily="34" charset="0"/>
                <a:ea typeface="+mn-ea"/>
                <a:cs typeface="+mn-cs"/>
              </a:rPr>
              <a:t>Como parte del Grupo Capgemini, Sogeti opera en más de 100 localizaciones a nivel mundial. Trabajando estrechamente con clientes y socios para aprovechar al máximo las oportunidades de la tecnología, Sogeti combina agilidad y velocidad de implementación  para  diseñar  soluciones  innovadoras  enfocadas  al  futuro  en Digital Assurance &amp; Testing,  Cloud  y Ciberseguridad,  y  todo  ello,  impulsado  por  IA  y  automatización.  Con  su  enfoque  práctico  y  su  pasión  por  la tecnología, Sogeti ayuda a las organizaciones a implementar su transformación digital a gran velocidad. </a:t>
            </a:r>
          </a:p>
          <a:p>
            <a:pPr algn="just"/>
            <a:endParaRPr lang="es-ES" sz="1319" b="0" i="0" kern="1200" dirty="0">
              <a:solidFill>
                <a:schemeClr val="tx2"/>
              </a:solidFill>
              <a:effectLst/>
              <a:latin typeface="Ubuntu" panose="020B0504030602030204" pitchFamily="34" charset="0"/>
              <a:ea typeface="+mn-ea"/>
              <a:cs typeface="+mn-cs"/>
            </a:endParaRPr>
          </a:p>
          <a:p>
            <a:pPr algn="just"/>
            <a:r>
              <a:rPr lang="es-ES" sz="1319" b="0" i="0" kern="1200" dirty="0">
                <a:solidFill>
                  <a:schemeClr val="tx2"/>
                </a:solidFill>
                <a:effectLst/>
                <a:latin typeface="Ubuntu" panose="020B0504030602030204" pitchFamily="34" charset="0"/>
                <a:ea typeface="+mn-ea"/>
                <a:cs typeface="+mn-cs"/>
              </a:rPr>
              <a:t>Capgemini   es   un   líder global en consultoría, transformación digital, servicios de tecnología e   ingeniería. El Grupo Capgemini está a la vanguardia de la innovación para abordar la diversidad de oportunidades que tienen sus clientes en el dinámico mundo de las plataformas, la nube y lo digital. Respaldada por una sólida trayectoria de más de 50 años y una dilatada experiencia multisectorial, Capgemini ayuda a las compañías a alcanzar sus objetivos de negocio mediante una amplia gama de servicios que cubre desde la estrategia, hasta las operaciones. Capgemini actúa bajo la firme convicción de que el valor de negocio de la tecnología se genera y desarrolla a través de las personas. Hoy es una compañía multicultural de 270.000 profesionales, presente en casi 50países. Con </a:t>
            </a:r>
            <a:r>
              <a:rPr lang="es-ES" sz="1319" b="0" i="0" kern="1200" dirty="0" err="1">
                <a:solidFill>
                  <a:schemeClr val="tx2"/>
                </a:solidFill>
                <a:effectLst/>
                <a:latin typeface="Ubuntu" panose="020B0504030602030204" pitchFamily="34" charset="0"/>
                <a:ea typeface="+mn-ea"/>
                <a:cs typeface="+mn-cs"/>
              </a:rPr>
              <a:t>Altran</a:t>
            </a:r>
            <a:r>
              <a:rPr lang="es-ES" sz="1319" b="0" i="0" kern="1200" dirty="0">
                <a:solidFill>
                  <a:schemeClr val="tx2"/>
                </a:solidFill>
                <a:effectLst/>
                <a:latin typeface="Ubuntu" panose="020B0504030602030204" pitchFamily="34" charset="0"/>
                <a:ea typeface="+mn-ea"/>
                <a:cs typeface="+mn-cs"/>
              </a:rPr>
              <a:t>, el Grupo registró en 2019 unos ingresos combinados de 17 mil millones de euros. </a:t>
            </a:r>
            <a:r>
              <a:rPr lang="es-ES" sz="1319" b="0" i="1" kern="1200" dirty="0">
                <a:solidFill>
                  <a:schemeClr val="tx2"/>
                </a:solidFill>
                <a:effectLst/>
                <a:latin typeface="Ubuntu" panose="020B0504030602030204" pitchFamily="34" charset="0"/>
                <a:ea typeface="+mn-ea"/>
                <a:cs typeface="+mn-cs"/>
              </a:rPr>
              <a:t>People </a:t>
            </a:r>
            <a:r>
              <a:rPr lang="es-ES" sz="1319" b="0" i="1" kern="1200" dirty="0" err="1">
                <a:solidFill>
                  <a:schemeClr val="tx2"/>
                </a:solidFill>
                <a:effectLst/>
                <a:latin typeface="Ubuntu" panose="020B0504030602030204" pitchFamily="34" charset="0"/>
                <a:ea typeface="+mn-ea"/>
                <a:cs typeface="+mn-cs"/>
              </a:rPr>
              <a:t>matter</a:t>
            </a:r>
            <a:r>
              <a:rPr lang="es-ES" sz="1319" b="0" i="1" kern="1200" dirty="0">
                <a:solidFill>
                  <a:schemeClr val="tx2"/>
                </a:solidFill>
                <a:effectLst/>
                <a:latin typeface="Ubuntu" panose="020B0504030602030204" pitchFamily="34" charset="0"/>
                <a:ea typeface="+mn-ea"/>
                <a:cs typeface="+mn-cs"/>
              </a:rPr>
              <a:t>, </a:t>
            </a:r>
            <a:r>
              <a:rPr lang="es-ES" sz="1319" b="0" i="1" kern="1200" dirty="0" err="1">
                <a:solidFill>
                  <a:schemeClr val="tx2"/>
                </a:solidFill>
                <a:effectLst/>
                <a:latin typeface="Ubuntu" panose="020B0504030602030204" pitchFamily="34" charset="0"/>
                <a:ea typeface="+mn-ea"/>
                <a:cs typeface="+mn-cs"/>
              </a:rPr>
              <a:t>results</a:t>
            </a:r>
            <a:r>
              <a:rPr lang="es-ES" sz="1319" b="0" i="1" kern="1200" dirty="0">
                <a:solidFill>
                  <a:schemeClr val="tx2"/>
                </a:solidFill>
                <a:effectLst/>
                <a:latin typeface="Ubuntu" panose="020B0504030602030204" pitchFamily="34" charset="0"/>
                <a:ea typeface="+mn-ea"/>
                <a:cs typeface="+mn-cs"/>
              </a:rPr>
              <a:t> </a:t>
            </a:r>
            <a:r>
              <a:rPr lang="es-ES" sz="1319" b="0" i="1" kern="1200" dirty="0" err="1">
                <a:solidFill>
                  <a:schemeClr val="tx2"/>
                </a:solidFill>
                <a:effectLst/>
                <a:latin typeface="Ubuntu" panose="020B0504030602030204" pitchFamily="34" charset="0"/>
                <a:ea typeface="+mn-ea"/>
                <a:cs typeface="+mn-cs"/>
              </a:rPr>
              <a:t>count</a:t>
            </a:r>
            <a:r>
              <a:rPr lang="es-ES" sz="1319" b="0" i="1" kern="1200" dirty="0">
                <a:solidFill>
                  <a:schemeClr val="tx2"/>
                </a:solidFill>
                <a:effectLst/>
                <a:latin typeface="Ubuntu" panose="020B0504030602030204" pitchFamily="34" charset="0"/>
                <a:ea typeface="+mn-ea"/>
                <a:cs typeface="+mn-cs"/>
              </a:rPr>
              <a:t>.</a:t>
            </a:r>
            <a:endParaRPr lang="fr-FR" sz="1319" i="1" kern="1200" dirty="0">
              <a:solidFill>
                <a:schemeClr val="tx2"/>
              </a:solidFill>
              <a:effectLst/>
              <a:latin typeface="Ubuntu" panose="020B0504030602030204" pitchFamily="34" charset="0"/>
              <a:ea typeface="+mn-ea"/>
              <a:cs typeface="+mn-cs"/>
            </a:endParaRPr>
          </a:p>
        </p:txBody>
      </p:sp>
    </p:spTree>
    <p:extLst>
      <p:ext uri="{BB962C8B-B14F-4D97-AF65-F5344CB8AC3E}">
        <p14:creationId xmlns:p14="http://schemas.microsoft.com/office/powerpoint/2010/main" val="296701244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2618" y="2624"/>
          <a:ext cx="2617" cy="2621"/>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18" y="2624"/>
                        <a:ext cx="2617" cy="262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s-ES"/>
              <a:t>Haga clic para modificar el estilo de título del patrón</a:t>
            </a:r>
            <a:endParaRPr lang="en-GB"/>
          </a:p>
        </p:txBody>
      </p:sp>
    </p:spTree>
    <p:extLst>
      <p:ext uri="{BB962C8B-B14F-4D97-AF65-F5344CB8AC3E}">
        <p14:creationId xmlns:p14="http://schemas.microsoft.com/office/powerpoint/2010/main" val="62982099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2618" y="2624"/>
          <a:ext cx="2617" cy="2621"/>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18" y="2624"/>
                        <a:ext cx="2617" cy="262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err="1"/>
              <a:t>Modifiez</a:t>
            </a:r>
            <a:r>
              <a:rPr lang="en-US"/>
              <a:t> le style du </a:t>
            </a:r>
            <a:r>
              <a:rPr lang="en-US" err="1"/>
              <a:t>titre</a:t>
            </a:r>
            <a:endParaRPr lang="en-US"/>
          </a:p>
        </p:txBody>
      </p:sp>
    </p:spTree>
    <p:extLst>
      <p:ext uri="{BB962C8B-B14F-4D97-AF65-F5344CB8AC3E}">
        <p14:creationId xmlns:p14="http://schemas.microsoft.com/office/powerpoint/2010/main" val="234473674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Cover6">
    <p:spTree>
      <p:nvGrpSpPr>
        <p:cNvPr id="1" name=""/>
        <p:cNvGrpSpPr/>
        <p:nvPr/>
      </p:nvGrpSpPr>
      <p:grpSpPr>
        <a:xfrm>
          <a:off x="0" y="0"/>
          <a:ext cx="0" cy="0"/>
          <a:chOff x="0" y="0"/>
          <a:chExt cx="0" cy="0"/>
        </a:xfrm>
      </p:grpSpPr>
      <p:sp>
        <p:nvSpPr>
          <p:cNvPr id="17" name="Freeform 16"/>
          <p:cNvSpPr/>
          <p:nvPr userDrawn="1"/>
        </p:nvSpPr>
        <p:spPr>
          <a:xfrm>
            <a:off x="-37904" y="0"/>
            <a:ext cx="10262960" cy="11328400"/>
          </a:xfrm>
          <a:custGeom>
            <a:avLst/>
            <a:gdLst>
              <a:gd name="connsiteX0" fmla="*/ 0 w 6223905"/>
              <a:gd name="connsiteY0" fmla="*/ 0 h 6858000"/>
              <a:gd name="connsiteX1" fmla="*/ 4186882 w 6223905"/>
              <a:gd name="connsiteY1" fmla="*/ 0 h 6858000"/>
              <a:gd name="connsiteX2" fmla="*/ 4197034 w 6223905"/>
              <a:gd name="connsiteY2" fmla="*/ 22340 h 6858000"/>
              <a:gd name="connsiteX3" fmla="*/ 5904357 w 6223905"/>
              <a:gd name="connsiteY3" fmla="*/ 3779388 h 6858000"/>
              <a:gd name="connsiteX4" fmla="*/ 5873730 w 6223905"/>
              <a:gd name="connsiteY4" fmla="*/ 6784163 h 6858000"/>
              <a:gd name="connsiteX5" fmla="*/ 5834113 w 6223905"/>
              <a:gd name="connsiteY5" fmla="*/ 6858000 h 6858000"/>
              <a:gd name="connsiteX6" fmla="*/ 0 w 6223905"/>
              <a:gd name="connsiteY6" fmla="*/ 6858000 h 6858000"/>
              <a:gd name="connsiteX7" fmla="*/ 0 w 6223905"/>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23905" h="6858000">
                <a:moveTo>
                  <a:pt x="0" y="0"/>
                </a:moveTo>
                <a:lnTo>
                  <a:pt x="4186882" y="0"/>
                </a:lnTo>
                <a:lnTo>
                  <a:pt x="4197034" y="22340"/>
                </a:lnTo>
                <a:cubicBezTo>
                  <a:pt x="5904357" y="3779388"/>
                  <a:pt x="5904357" y="3779388"/>
                  <a:pt x="5904357" y="3779388"/>
                </a:cubicBezTo>
                <a:cubicBezTo>
                  <a:pt x="6352858" y="4766336"/>
                  <a:pt x="6316954" y="5863968"/>
                  <a:pt x="5873730" y="6784163"/>
                </a:cubicBezTo>
                <a:lnTo>
                  <a:pt x="5834113" y="6858000"/>
                </a:lnTo>
                <a:lnTo>
                  <a:pt x="0" y="6858000"/>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6890336" y="679706"/>
            <a:ext cx="2600965" cy="1355257"/>
          </a:xfrm>
          <a:prstGeom prst="rect">
            <a:avLst/>
          </a:prstGeom>
        </p:spPr>
      </p:pic>
      <p:sp>
        <p:nvSpPr>
          <p:cNvPr id="20" name="Title 1"/>
          <p:cNvSpPr>
            <a:spLocks noGrp="1"/>
          </p:cNvSpPr>
          <p:nvPr>
            <p:ph type="ctrTitle" hasCustomPrompt="1"/>
          </p:nvPr>
        </p:nvSpPr>
        <p:spPr>
          <a:xfrm>
            <a:off x="672755" y="4153749"/>
            <a:ext cx="8191913" cy="11905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oAutofit/>
          </a:bodyPr>
          <a:lstStyle>
            <a:lvl1pPr algn="l">
              <a:lnSpc>
                <a:spcPts val="4947"/>
              </a:lnSpc>
              <a:defRPr lang="en-US" sz="4287" b="0" dirty="0">
                <a:solidFill>
                  <a:schemeClr val="bg1"/>
                </a:solidFill>
              </a:defRPr>
            </a:lvl1pPr>
          </a:lstStyle>
          <a:p>
            <a:pPr marL="0" lvl="0"/>
            <a:r>
              <a:rPr lang="en-US"/>
              <a:t>Title of Presentation</a:t>
            </a:r>
          </a:p>
        </p:txBody>
      </p:sp>
      <p:sp>
        <p:nvSpPr>
          <p:cNvPr id="21" name="Subtitle 2"/>
          <p:cNvSpPr>
            <a:spLocks noGrp="1"/>
          </p:cNvSpPr>
          <p:nvPr>
            <p:ph type="subTitle" idx="1" hasCustomPrompt="1"/>
          </p:nvPr>
        </p:nvSpPr>
        <p:spPr>
          <a:xfrm>
            <a:off x="672755" y="5664201"/>
            <a:ext cx="8191913" cy="20218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lvl1pPr marL="0" marR="0" indent="0" algn="l" defTabSz="1507846" rtl="0" eaLnBrk="1" fontAlgn="auto" latinLnBrk="0" hangingPunct="1">
              <a:lnSpc>
                <a:spcPts val="2968"/>
              </a:lnSpc>
              <a:spcBef>
                <a:spcPts val="0"/>
              </a:spcBef>
              <a:spcAft>
                <a:spcPts val="0"/>
              </a:spcAft>
              <a:buClrTx/>
              <a:buSzTx/>
              <a:buFont typeface="Arial" panose="020B0604020202020204" pitchFamily="34" charset="0"/>
              <a:buNone/>
              <a:tabLst/>
              <a:defRPr lang="en-US" sz="2638" dirty="0">
                <a:solidFill>
                  <a:schemeClr val="bg1"/>
                </a:solidFill>
              </a:defRPr>
            </a:lvl1pPr>
          </a:lstStyle>
          <a:p>
            <a:pPr marL="0" lvl="0"/>
            <a:r>
              <a:rPr lang="en-US"/>
              <a:t>Subtitle</a:t>
            </a:r>
          </a:p>
        </p:txBody>
      </p:sp>
    </p:spTree>
    <p:extLst>
      <p:ext uri="{BB962C8B-B14F-4D97-AF65-F5344CB8AC3E}">
        <p14:creationId xmlns:p14="http://schemas.microsoft.com/office/powerpoint/2010/main" val="214920373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2010B8AA-3007-4109-B528-DD30E7E165B4}"/>
              </a:ext>
            </a:extLst>
          </p:cNvPr>
          <p:cNvSpPr>
            <a:spLocks noGrp="1"/>
          </p:cNvSpPr>
          <p:nvPr>
            <p:ph type="title"/>
          </p:nvPr>
        </p:nvSpPr>
        <p:spPr/>
        <p:txBody>
          <a:bodyPr/>
          <a:lstStyle>
            <a:lvl1pPr>
              <a:defRPr/>
            </a:lvl1pPr>
          </a:lstStyle>
          <a:p>
            <a:r>
              <a:rPr lang="fr-FR" dirty="0"/>
              <a:t>Modifiez le style du titre</a:t>
            </a:r>
            <a:endParaRPr lang="en-US" dirty="0"/>
          </a:p>
        </p:txBody>
      </p:sp>
      <p:sp>
        <p:nvSpPr>
          <p:cNvPr id="6" name="Espace réservé du texte 5">
            <a:extLst>
              <a:ext uri="{FF2B5EF4-FFF2-40B4-BE49-F238E27FC236}">
                <a16:creationId xmlns:a16="http://schemas.microsoft.com/office/drawing/2014/main" id="{BC9DC688-D10B-4806-A762-99A72BBC8487}"/>
              </a:ext>
            </a:extLst>
          </p:cNvPr>
          <p:cNvSpPr>
            <a:spLocks noGrp="1"/>
          </p:cNvSpPr>
          <p:nvPr>
            <p:ph type="body" sz="quarter" idx="11"/>
          </p:nvPr>
        </p:nvSpPr>
        <p:spPr>
          <a:xfrm>
            <a:off x="651813" y="2378667"/>
            <a:ext cx="18996000" cy="8146933"/>
          </a:xfrm>
        </p:spPr>
        <p:txBody>
          <a:bodyPr/>
          <a:lstStyle/>
          <a:p>
            <a:pPr lvl="0"/>
            <a:r>
              <a:rPr lang="fr-FR" dirty="0"/>
              <a:t>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Tree>
    <p:extLst>
      <p:ext uri="{BB962C8B-B14F-4D97-AF65-F5344CB8AC3E}">
        <p14:creationId xmlns:p14="http://schemas.microsoft.com/office/powerpoint/2010/main" val="197641358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31.xml"/><Relationship Id="rId13" Type="http://schemas.openxmlformats.org/officeDocument/2006/relationships/slideLayout" Target="../slideLayouts/slideLayout136.xml"/><Relationship Id="rId3" Type="http://schemas.openxmlformats.org/officeDocument/2006/relationships/slideLayout" Target="../slideLayouts/slideLayout126.xml"/><Relationship Id="rId7" Type="http://schemas.openxmlformats.org/officeDocument/2006/relationships/slideLayout" Target="../slideLayouts/slideLayout130.xml"/><Relationship Id="rId12" Type="http://schemas.openxmlformats.org/officeDocument/2006/relationships/slideLayout" Target="../slideLayouts/slideLayout135.xml"/><Relationship Id="rId2" Type="http://schemas.openxmlformats.org/officeDocument/2006/relationships/slideLayout" Target="../slideLayouts/slideLayout125.xml"/><Relationship Id="rId1" Type="http://schemas.openxmlformats.org/officeDocument/2006/relationships/slideLayout" Target="../slideLayouts/slideLayout124.xml"/><Relationship Id="rId6" Type="http://schemas.openxmlformats.org/officeDocument/2006/relationships/slideLayout" Target="../slideLayouts/slideLayout129.xml"/><Relationship Id="rId11" Type="http://schemas.openxmlformats.org/officeDocument/2006/relationships/slideLayout" Target="../slideLayouts/slideLayout134.xml"/><Relationship Id="rId5" Type="http://schemas.openxmlformats.org/officeDocument/2006/relationships/slideLayout" Target="../slideLayouts/slideLayout128.xml"/><Relationship Id="rId10" Type="http://schemas.openxmlformats.org/officeDocument/2006/relationships/slideLayout" Target="../slideLayouts/slideLayout133.xml"/><Relationship Id="rId4" Type="http://schemas.openxmlformats.org/officeDocument/2006/relationships/slideLayout" Target="../slideLayouts/slideLayout127.xml"/><Relationship Id="rId9" Type="http://schemas.openxmlformats.org/officeDocument/2006/relationships/slideLayout" Target="../slideLayouts/slideLayout132.xml"/><Relationship Id="rId14"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44.xml"/><Relationship Id="rId13" Type="http://schemas.openxmlformats.org/officeDocument/2006/relationships/slideLayout" Target="../slideLayouts/slideLayout149.xml"/><Relationship Id="rId18" Type="http://schemas.openxmlformats.org/officeDocument/2006/relationships/slideLayout" Target="../slideLayouts/slideLayout154.xml"/><Relationship Id="rId26" Type="http://schemas.openxmlformats.org/officeDocument/2006/relationships/slideLayout" Target="../slideLayouts/slideLayout162.xml"/><Relationship Id="rId3" Type="http://schemas.openxmlformats.org/officeDocument/2006/relationships/slideLayout" Target="../slideLayouts/slideLayout139.xml"/><Relationship Id="rId21" Type="http://schemas.openxmlformats.org/officeDocument/2006/relationships/slideLayout" Target="../slideLayouts/slideLayout157.xml"/><Relationship Id="rId7" Type="http://schemas.openxmlformats.org/officeDocument/2006/relationships/slideLayout" Target="../slideLayouts/slideLayout143.xml"/><Relationship Id="rId12" Type="http://schemas.openxmlformats.org/officeDocument/2006/relationships/slideLayout" Target="../slideLayouts/slideLayout148.xml"/><Relationship Id="rId17" Type="http://schemas.openxmlformats.org/officeDocument/2006/relationships/slideLayout" Target="../slideLayouts/slideLayout153.xml"/><Relationship Id="rId25" Type="http://schemas.openxmlformats.org/officeDocument/2006/relationships/slideLayout" Target="../slideLayouts/slideLayout161.xml"/><Relationship Id="rId2" Type="http://schemas.openxmlformats.org/officeDocument/2006/relationships/slideLayout" Target="../slideLayouts/slideLayout138.xml"/><Relationship Id="rId16" Type="http://schemas.openxmlformats.org/officeDocument/2006/relationships/slideLayout" Target="../slideLayouts/slideLayout152.xml"/><Relationship Id="rId20" Type="http://schemas.openxmlformats.org/officeDocument/2006/relationships/slideLayout" Target="../slideLayouts/slideLayout156.xml"/><Relationship Id="rId1" Type="http://schemas.openxmlformats.org/officeDocument/2006/relationships/slideLayout" Target="../slideLayouts/slideLayout137.xml"/><Relationship Id="rId6" Type="http://schemas.openxmlformats.org/officeDocument/2006/relationships/slideLayout" Target="../slideLayouts/slideLayout142.xml"/><Relationship Id="rId11" Type="http://schemas.openxmlformats.org/officeDocument/2006/relationships/slideLayout" Target="../slideLayouts/slideLayout147.xml"/><Relationship Id="rId24" Type="http://schemas.openxmlformats.org/officeDocument/2006/relationships/slideLayout" Target="../slideLayouts/slideLayout160.xml"/><Relationship Id="rId5" Type="http://schemas.openxmlformats.org/officeDocument/2006/relationships/slideLayout" Target="../slideLayouts/slideLayout141.xml"/><Relationship Id="rId15" Type="http://schemas.openxmlformats.org/officeDocument/2006/relationships/slideLayout" Target="../slideLayouts/slideLayout151.xml"/><Relationship Id="rId23" Type="http://schemas.openxmlformats.org/officeDocument/2006/relationships/slideLayout" Target="../slideLayouts/slideLayout159.xml"/><Relationship Id="rId28" Type="http://schemas.openxmlformats.org/officeDocument/2006/relationships/theme" Target="../theme/theme11.xml"/><Relationship Id="rId10" Type="http://schemas.openxmlformats.org/officeDocument/2006/relationships/slideLayout" Target="../slideLayouts/slideLayout146.xml"/><Relationship Id="rId19" Type="http://schemas.openxmlformats.org/officeDocument/2006/relationships/slideLayout" Target="../slideLayouts/slideLayout155.xml"/><Relationship Id="rId4" Type="http://schemas.openxmlformats.org/officeDocument/2006/relationships/slideLayout" Target="../slideLayouts/slideLayout140.xml"/><Relationship Id="rId9" Type="http://schemas.openxmlformats.org/officeDocument/2006/relationships/slideLayout" Target="../slideLayouts/slideLayout145.xml"/><Relationship Id="rId14" Type="http://schemas.openxmlformats.org/officeDocument/2006/relationships/slideLayout" Target="../slideLayouts/slideLayout150.xml"/><Relationship Id="rId22" Type="http://schemas.openxmlformats.org/officeDocument/2006/relationships/slideLayout" Target="../slideLayouts/slideLayout158.xml"/><Relationship Id="rId27" Type="http://schemas.openxmlformats.org/officeDocument/2006/relationships/slideLayout" Target="../slideLayouts/slideLayout163.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theme" Target="../theme/theme2.xml"/><Relationship Id="rId1" Type="http://schemas.openxmlformats.org/officeDocument/2006/relationships/slideLayout" Target="../slideLayouts/slideLayout23.xml"/><Relationship Id="rId5" Type="http://schemas.openxmlformats.org/officeDocument/2006/relationships/image" Target="../media/image3.png"/><Relationship Id="rId4" Type="http://schemas.openxmlformats.org/officeDocument/2006/relationships/image" Target="../media/image49.png"/></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6.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theme" Target="../theme/theme3.xml"/><Relationship Id="rId5" Type="http://schemas.openxmlformats.org/officeDocument/2006/relationships/slideLayout" Target="../slideLayouts/slideLayout28.xml"/><Relationship Id="rId4" Type="http://schemas.openxmlformats.org/officeDocument/2006/relationships/slideLayout" Target="../slideLayouts/slideLayout27.xml"/></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theme" Target="../theme/theme4.xml"/><Relationship Id="rId1" Type="http://schemas.openxmlformats.org/officeDocument/2006/relationships/slideLayout" Target="../slideLayouts/slideLayout29.x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image" Target="../media/image3.png"/><Relationship Id="rId5" Type="http://schemas.openxmlformats.org/officeDocument/2006/relationships/image" Target="../media/image53.emf"/><Relationship Id="rId4" Type="http://schemas.openxmlformats.org/officeDocument/2006/relationships/image" Target="../media/image52.jpe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slideLayout" Target="../slideLayouts/slideLayout57.xml"/><Relationship Id="rId39" Type="http://schemas.openxmlformats.org/officeDocument/2006/relationships/slideLayout" Target="../slideLayouts/slideLayout70.xml"/><Relationship Id="rId3" Type="http://schemas.openxmlformats.org/officeDocument/2006/relationships/slideLayout" Target="../slideLayouts/slideLayout34.xml"/><Relationship Id="rId21" Type="http://schemas.openxmlformats.org/officeDocument/2006/relationships/slideLayout" Target="../slideLayouts/slideLayout52.xml"/><Relationship Id="rId34" Type="http://schemas.openxmlformats.org/officeDocument/2006/relationships/slideLayout" Target="../slideLayouts/slideLayout65.xml"/><Relationship Id="rId42" Type="http://schemas.openxmlformats.org/officeDocument/2006/relationships/image" Target="../media/image1.png"/><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slideLayout" Target="../slideLayouts/slideLayout56.xml"/><Relationship Id="rId33" Type="http://schemas.openxmlformats.org/officeDocument/2006/relationships/slideLayout" Target="../slideLayouts/slideLayout64.xml"/><Relationship Id="rId38" Type="http://schemas.openxmlformats.org/officeDocument/2006/relationships/slideLayout" Target="../slideLayouts/slideLayout69.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29" Type="http://schemas.openxmlformats.org/officeDocument/2006/relationships/slideLayout" Target="../slideLayouts/slideLayout60.xml"/><Relationship Id="rId41" Type="http://schemas.openxmlformats.org/officeDocument/2006/relationships/theme" Target="../theme/theme6.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slideLayout" Target="../slideLayouts/slideLayout55.xml"/><Relationship Id="rId32" Type="http://schemas.openxmlformats.org/officeDocument/2006/relationships/slideLayout" Target="../slideLayouts/slideLayout63.xml"/><Relationship Id="rId37" Type="http://schemas.openxmlformats.org/officeDocument/2006/relationships/slideLayout" Target="../slideLayouts/slideLayout68.xml"/><Relationship Id="rId40" Type="http://schemas.openxmlformats.org/officeDocument/2006/relationships/slideLayout" Target="../slideLayouts/slideLayout71.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slideLayout" Target="../slideLayouts/slideLayout54.xml"/><Relationship Id="rId28" Type="http://schemas.openxmlformats.org/officeDocument/2006/relationships/slideLayout" Target="../slideLayouts/slideLayout59.xml"/><Relationship Id="rId36" Type="http://schemas.openxmlformats.org/officeDocument/2006/relationships/slideLayout" Target="../slideLayouts/slideLayout67.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31" Type="http://schemas.openxmlformats.org/officeDocument/2006/relationships/slideLayout" Target="../slideLayouts/slideLayout62.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slideLayout" Target="../slideLayouts/slideLayout53.xml"/><Relationship Id="rId27" Type="http://schemas.openxmlformats.org/officeDocument/2006/relationships/slideLayout" Target="../slideLayouts/slideLayout58.xml"/><Relationship Id="rId30" Type="http://schemas.openxmlformats.org/officeDocument/2006/relationships/slideLayout" Target="../slideLayouts/slideLayout61.xml"/><Relationship Id="rId35" Type="http://schemas.openxmlformats.org/officeDocument/2006/relationships/slideLayout" Target="../slideLayouts/slideLayout66.xml"/><Relationship Id="rId43" Type="http://schemas.openxmlformats.org/officeDocument/2006/relationships/image" Target="../media/image2.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18" Type="http://schemas.openxmlformats.org/officeDocument/2006/relationships/slideLayout" Target="../slideLayouts/slideLayout89.xml"/><Relationship Id="rId3" Type="http://schemas.openxmlformats.org/officeDocument/2006/relationships/slideLayout" Target="../slideLayouts/slideLayout74.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20" Type="http://schemas.openxmlformats.org/officeDocument/2006/relationships/theme" Target="../theme/theme7.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5" Type="http://schemas.openxmlformats.org/officeDocument/2006/relationships/slideLayout" Target="../slideLayouts/slideLayout76.xml"/><Relationship Id="rId15" Type="http://schemas.openxmlformats.org/officeDocument/2006/relationships/slideLayout" Target="../slideLayouts/slideLayout86.xml"/><Relationship Id="rId10" Type="http://schemas.openxmlformats.org/officeDocument/2006/relationships/slideLayout" Target="../slideLayouts/slideLayout81.xml"/><Relationship Id="rId19" Type="http://schemas.openxmlformats.org/officeDocument/2006/relationships/slideLayout" Target="../slideLayouts/slideLayout90.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8.xml"/><Relationship Id="rId3" Type="http://schemas.openxmlformats.org/officeDocument/2006/relationships/slideLayout" Target="../slideLayouts/slideLayout93.xml"/><Relationship Id="rId7" Type="http://schemas.openxmlformats.org/officeDocument/2006/relationships/slideLayout" Target="../slideLayouts/slideLayout97.xml"/><Relationship Id="rId2" Type="http://schemas.openxmlformats.org/officeDocument/2006/relationships/slideLayout" Target="../slideLayouts/slideLayout92.xml"/><Relationship Id="rId1" Type="http://schemas.openxmlformats.org/officeDocument/2006/relationships/slideLayout" Target="../slideLayouts/slideLayout91.xml"/><Relationship Id="rId6" Type="http://schemas.openxmlformats.org/officeDocument/2006/relationships/slideLayout" Target="../slideLayouts/slideLayout96.xml"/><Relationship Id="rId5" Type="http://schemas.openxmlformats.org/officeDocument/2006/relationships/slideLayout" Target="../slideLayouts/slideLayout95.xml"/><Relationship Id="rId4" Type="http://schemas.openxmlformats.org/officeDocument/2006/relationships/slideLayout" Target="../slideLayouts/slideLayout94.xml"/><Relationship Id="rId9"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6.xml"/><Relationship Id="rId13" Type="http://schemas.openxmlformats.org/officeDocument/2006/relationships/slideLayout" Target="../slideLayouts/slideLayout111.xml"/><Relationship Id="rId18" Type="http://schemas.openxmlformats.org/officeDocument/2006/relationships/slideLayout" Target="../slideLayouts/slideLayout116.xml"/><Relationship Id="rId26" Type="http://schemas.openxmlformats.org/officeDocument/2006/relationships/theme" Target="../theme/theme9.xml"/><Relationship Id="rId3" Type="http://schemas.openxmlformats.org/officeDocument/2006/relationships/slideLayout" Target="../slideLayouts/slideLayout101.xml"/><Relationship Id="rId21" Type="http://schemas.openxmlformats.org/officeDocument/2006/relationships/slideLayout" Target="../slideLayouts/slideLayout119.xml"/><Relationship Id="rId7" Type="http://schemas.openxmlformats.org/officeDocument/2006/relationships/slideLayout" Target="../slideLayouts/slideLayout105.xml"/><Relationship Id="rId12" Type="http://schemas.openxmlformats.org/officeDocument/2006/relationships/slideLayout" Target="../slideLayouts/slideLayout110.xml"/><Relationship Id="rId17" Type="http://schemas.openxmlformats.org/officeDocument/2006/relationships/slideLayout" Target="../slideLayouts/slideLayout115.xml"/><Relationship Id="rId25" Type="http://schemas.openxmlformats.org/officeDocument/2006/relationships/slideLayout" Target="../slideLayouts/slideLayout123.xml"/><Relationship Id="rId2" Type="http://schemas.openxmlformats.org/officeDocument/2006/relationships/slideLayout" Target="../slideLayouts/slideLayout100.xml"/><Relationship Id="rId16" Type="http://schemas.openxmlformats.org/officeDocument/2006/relationships/slideLayout" Target="../slideLayouts/slideLayout114.xml"/><Relationship Id="rId20" Type="http://schemas.openxmlformats.org/officeDocument/2006/relationships/slideLayout" Target="../slideLayouts/slideLayout118.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slideLayout" Target="../slideLayouts/slideLayout109.xml"/><Relationship Id="rId24" Type="http://schemas.openxmlformats.org/officeDocument/2006/relationships/slideLayout" Target="../slideLayouts/slideLayout122.xml"/><Relationship Id="rId5" Type="http://schemas.openxmlformats.org/officeDocument/2006/relationships/slideLayout" Target="../slideLayouts/slideLayout103.xml"/><Relationship Id="rId15" Type="http://schemas.openxmlformats.org/officeDocument/2006/relationships/slideLayout" Target="../slideLayouts/slideLayout113.xml"/><Relationship Id="rId23" Type="http://schemas.openxmlformats.org/officeDocument/2006/relationships/slideLayout" Target="../slideLayouts/slideLayout121.xml"/><Relationship Id="rId10" Type="http://schemas.openxmlformats.org/officeDocument/2006/relationships/slideLayout" Target="../slideLayouts/slideLayout108.xml"/><Relationship Id="rId19" Type="http://schemas.openxmlformats.org/officeDocument/2006/relationships/slideLayout" Target="../slideLayouts/slideLayout117.xml"/><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slideLayout" Target="../slideLayouts/slideLayout112.xml"/><Relationship Id="rId22" Type="http://schemas.openxmlformats.org/officeDocument/2006/relationships/slideLayout" Target="../slideLayouts/slideLayout1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20104100" cy="11328400"/>
          </a:xfrm>
          <a:custGeom>
            <a:avLst/>
            <a:gdLst/>
            <a:ahLst/>
            <a:cxnLst/>
            <a:rect l="l" t="t" r="r" b="b"/>
            <a:pathLst>
              <a:path w="20104100" h="11308715">
                <a:moveTo>
                  <a:pt x="20104099" y="0"/>
                </a:moveTo>
                <a:lnTo>
                  <a:pt x="0" y="0"/>
                </a:lnTo>
                <a:lnTo>
                  <a:pt x="0" y="11308556"/>
                </a:lnTo>
                <a:lnTo>
                  <a:pt x="20104099" y="11308556"/>
                </a:lnTo>
                <a:lnTo>
                  <a:pt x="20104099" y="0"/>
                </a:lnTo>
                <a:close/>
              </a:path>
            </a:pathLst>
          </a:custGeom>
          <a:solidFill>
            <a:srgbClr val="F5F5F7"/>
          </a:solidFill>
        </p:spPr>
        <p:txBody>
          <a:bodyPr wrap="square" lIns="0" tIns="0" rIns="0" bIns="0" rtlCol="0"/>
          <a:lstStyle/>
          <a:p>
            <a:endParaRPr/>
          </a:p>
        </p:txBody>
      </p:sp>
      <p:sp>
        <p:nvSpPr>
          <p:cNvPr id="2" name="Holder 2"/>
          <p:cNvSpPr>
            <a:spLocks noGrp="1"/>
          </p:cNvSpPr>
          <p:nvPr>
            <p:ph type="title"/>
          </p:nvPr>
        </p:nvSpPr>
        <p:spPr>
          <a:xfrm>
            <a:off x="1003191" y="618303"/>
            <a:ext cx="12405643" cy="1384300"/>
          </a:xfrm>
          <a:prstGeom prst="rect">
            <a:avLst/>
          </a:prstGeom>
        </p:spPr>
        <p:txBody>
          <a:bodyPr wrap="square" lIns="0" tIns="0" rIns="0" bIns="0">
            <a:spAutoFit/>
          </a:bodyPr>
          <a:lstStyle>
            <a:lvl1pPr>
              <a:defRPr sz="4900" b="0" i="0">
                <a:solidFill>
                  <a:srgbClr val="2B0A3D"/>
                </a:solidFill>
                <a:latin typeface="Ubuntu Light"/>
                <a:cs typeface="Ubuntu Light"/>
              </a:defRPr>
            </a:lvl1pPr>
          </a:lstStyle>
          <a:p>
            <a:endParaRPr/>
          </a:p>
        </p:txBody>
      </p:sp>
      <p:grpSp>
        <p:nvGrpSpPr>
          <p:cNvPr id="7" name="object 7">
            <a:extLst>
              <a:ext uri="{FF2B5EF4-FFF2-40B4-BE49-F238E27FC236}">
                <a16:creationId xmlns:a16="http://schemas.microsoft.com/office/drawing/2014/main" id="{68F19203-1F13-7D1B-8581-17EF6380E551}"/>
              </a:ext>
            </a:extLst>
          </p:cNvPr>
          <p:cNvGrpSpPr/>
          <p:nvPr userDrawn="1"/>
        </p:nvGrpSpPr>
        <p:grpSpPr>
          <a:xfrm>
            <a:off x="17844564" y="397066"/>
            <a:ext cx="1765854" cy="914400"/>
            <a:chOff x="17299452" y="471187"/>
            <a:chExt cx="2333625" cy="1208405"/>
          </a:xfrm>
        </p:grpSpPr>
        <p:sp>
          <p:nvSpPr>
            <p:cNvPr id="8" name="object 8">
              <a:extLst>
                <a:ext uri="{FF2B5EF4-FFF2-40B4-BE49-F238E27FC236}">
                  <a16:creationId xmlns:a16="http://schemas.microsoft.com/office/drawing/2014/main" id="{CB0F65E4-CF5E-385C-2837-1B3432208A1D}"/>
                </a:ext>
              </a:extLst>
            </p:cNvPr>
            <p:cNvSpPr/>
            <p:nvPr/>
          </p:nvSpPr>
          <p:spPr>
            <a:xfrm>
              <a:off x="19161791" y="538038"/>
              <a:ext cx="307340" cy="662940"/>
            </a:xfrm>
            <a:custGeom>
              <a:avLst/>
              <a:gdLst/>
              <a:ahLst/>
              <a:cxnLst/>
              <a:rect l="l" t="t" r="r" b="b"/>
              <a:pathLst>
                <a:path w="307340" h="662940">
                  <a:moveTo>
                    <a:pt x="115828" y="0"/>
                  </a:moveTo>
                  <a:lnTo>
                    <a:pt x="50176" y="10837"/>
                  </a:lnTo>
                  <a:lnTo>
                    <a:pt x="14320" y="31145"/>
                  </a:lnTo>
                  <a:lnTo>
                    <a:pt x="115" y="69830"/>
                  </a:lnTo>
                  <a:lnTo>
                    <a:pt x="0" y="452310"/>
                  </a:lnTo>
                  <a:lnTo>
                    <a:pt x="529" y="476495"/>
                  </a:lnTo>
                  <a:lnTo>
                    <a:pt x="4813" y="520718"/>
                  </a:lnTo>
                  <a:lnTo>
                    <a:pt x="13639" y="559424"/>
                  </a:lnTo>
                  <a:lnTo>
                    <a:pt x="38187" y="606787"/>
                  </a:lnTo>
                  <a:lnTo>
                    <a:pt x="78063" y="640414"/>
                  </a:lnTo>
                  <a:lnTo>
                    <a:pt x="114107" y="654685"/>
                  </a:lnTo>
                  <a:lnTo>
                    <a:pt x="158827" y="661867"/>
                  </a:lnTo>
                  <a:lnTo>
                    <a:pt x="184507" y="662765"/>
                  </a:lnTo>
                  <a:lnTo>
                    <a:pt x="215943" y="661352"/>
                  </a:lnTo>
                  <a:lnTo>
                    <a:pt x="261794" y="653537"/>
                  </a:lnTo>
                  <a:lnTo>
                    <a:pt x="302359" y="629907"/>
                  </a:lnTo>
                  <a:lnTo>
                    <a:pt x="307065" y="616390"/>
                  </a:lnTo>
                  <a:lnTo>
                    <a:pt x="306357" y="601154"/>
                  </a:lnTo>
                  <a:lnTo>
                    <a:pt x="294504" y="544224"/>
                  </a:lnTo>
                  <a:lnTo>
                    <a:pt x="286709" y="547143"/>
                  </a:lnTo>
                  <a:lnTo>
                    <a:pt x="277653" y="550186"/>
                  </a:lnTo>
                  <a:lnTo>
                    <a:pt x="229593" y="561650"/>
                  </a:lnTo>
                  <a:lnTo>
                    <a:pt x="199805" y="563312"/>
                  </a:lnTo>
                  <a:lnTo>
                    <a:pt x="178540" y="561689"/>
                  </a:lnTo>
                  <a:lnTo>
                    <a:pt x="134812" y="537470"/>
                  </a:lnTo>
                  <a:lnTo>
                    <a:pt x="116882" y="479368"/>
                  </a:lnTo>
                  <a:lnTo>
                    <a:pt x="115692" y="451389"/>
                  </a:lnTo>
                  <a:lnTo>
                    <a:pt x="115755" y="247709"/>
                  </a:lnTo>
                  <a:lnTo>
                    <a:pt x="242254" y="247741"/>
                  </a:lnTo>
                  <a:lnTo>
                    <a:pt x="262255" y="243709"/>
                  </a:lnTo>
                  <a:lnTo>
                    <a:pt x="278592" y="232701"/>
                  </a:lnTo>
                  <a:lnTo>
                    <a:pt x="289610" y="216370"/>
                  </a:lnTo>
                  <a:lnTo>
                    <a:pt x="293655" y="196370"/>
                  </a:lnTo>
                  <a:lnTo>
                    <a:pt x="293666" y="151157"/>
                  </a:lnTo>
                  <a:lnTo>
                    <a:pt x="115787" y="151105"/>
                  </a:lnTo>
                  <a:lnTo>
                    <a:pt x="115828" y="0"/>
                  </a:lnTo>
                  <a:close/>
                </a:path>
              </a:pathLst>
            </a:custGeom>
            <a:solidFill>
              <a:srgbClr val="0070AD"/>
            </a:solidFill>
          </p:spPr>
          <p:txBody>
            <a:bodyPr wrap="square" lIns="0" tIns="0" rIns="0" bIns="0" rtlCol="0"/>
            <a:lstStyle/>
            <a:p>
              <a:endParaRPr/>
            </a:p>
          </p:txBody>
        </p:sp>
        <p:pic>
          <p:nvPicPr>
            <p:cNvPr id="9" name="object 9">
              <a:extLst>
                <a:ext uri="{FF2B5EF4-FFF2-40B4-BE49-F238E27FC236}">
                  <a16:creationId xmlns:a16="http://schemas.microsoft.com/office/drawing/2014/main" id="{F0EBADB5-B704-3C0B-11BD-C85A340ABAC7}"/>
                </a:ext>
              </a:extLst>
            </p:cNvPr>
            <p:cNvPicPr/>
            <p:nvPr/>
          </p:nvPicPr>
          <p:blipFill>
            <a:blip r:embed="rId24" cstate="print"/>
            <a:stretch>
              <a:fillRect/>
            </a:stretch>
          </p:blipFill>
          <p:spPr>
            <a:xfrm>
              <a:off x="19490401" y="471187"/>
              <a:ext cx="142508" cy="142498"/>
            </a:xfrm>
            <a:prstGeom prst="rect">
              <a:avLst/>
            </a:prstGeom>
          </p:spPr>
        </p:pic>
        <p:sp>
          <p:nvSpPr>
            <p:cNvPr id="10" name="object 10">
              <a:extLst>
                <a:ext uri="{FF2B5EF4-FFF2-40B4-BE49-F238E27FC236}">
                  <a16:creationId xmlns:a16="http://schemas.microsoft.com/office/drawing/2014/main" id="{D9AFC246-88D2-7276-4DEA-0110F438FCC9}"/>
                </a:ext>
              </a:extLst>
            </p:cNvPr>
            <p:cNvSpPr/>
            <p:nvPr/>
          </p:nvSpPr>
          <p:spPr>
            <a:xfrm>
              <a:off x="17299445" y="676141"/>
              <a:ext cx="2321560" cy="526415"/>
            </a:xfrm>
            <a:custGeom>
              <a:avLst/>
              <a:gdLst/>
              <a:ahLst/>
              <a:cxnLst/>
              <a:rect l="l" t="t" r="r" b="b"/>
              <a:pathLst>
                <a:path w="2321559" h="526415">
                  <a:moveTo>
                    <a:pt x="380225" y="379730"/>
                  </a:moveTo>
                  <a:lnTo>
                    <a:pt x="375386" y="334886"/>
                  </a:lnTo>
                  <a:lnTo>
                    <a:pt x="360502" y="299745"/>
                  </a:lnTo>
                  <a:lnTo>
                    <a:pt x="334416" y="270687"/>
                  </a:lnTo>
                  <a:lnTo>
                    <a:pt x="297027" y="246291"/>
                  </a:lnTo>
                  <a:lnTo>
                    <a:pt x="247015" y="223774"/>
                  </a:lnTo>
                  <a:lnTo>
                    <a:pt x="215303" y="211861"/>
                  </a:lnTo>
                  <a:lnTo>
                    <a:pt x="204304" y="207657"/>
                  </a:lnTo>
                  <a:lnTo>
                    <a:pt x="169621" y="191262"/>
                  </a:lnTo>
                  <a:lnTo>
                    <a:pt x="139738" y="159067"/>
                  </a:lnTo>
                  <a:lnTo>
                    <a:pt x="138315" y="151726"/>
                  </a:lnTo>
                  <a:lnTo>
                    <a:pt x="138315" y="143433"/>
                  </a:lnTo>
                  <a:lnTo>
                    <a:pt x="160324" y="106616"/>
                  </a:lnTo>
                  <a:lnTo>
                    <a:pt x="200850" y="95415"/>
                  </a:lnTo>
                  <a:lnTo>
                    <a:pt x="217703" y="94678"/>
                  </a:lnTo>
                  <a:lnTo>
                    <a:pt x="231635" y="94932"/>
                  </a:lnTo>
                  <a:lnTo>
                    <a:pt x="244932" y="95656"/>
                  </a:lnTo>
                  <a:lnTo>
                    <a:pt x="257619" y="96862"/>
                  </a:lnTo>
                  <a:lnTo>
                    <a:pt x="269684" y="98526"/>
                  </a:lnTo>
                  <a:lnTo>
                    <a:pt x="279171" y="100076"/>
                  </a:lnTo>
                  <a:lnTo>
                    <a:pt x="303682" y="98450"/>
                  </a:lnTo>
                  <a:lnTo>
                    <a:pt x="341858" y="71729"/>
                  </a:lnTo>
                  <a:lnTo>
                    <a:pt x="356400" y="23799"/>
                  </a:lnTo>
                  <a:lnTo>
                    <a:pt x="339471" y="18542"/>
                  </a:lnTo>
                  <a:lnTo>
                    <a:pt x="296138" y="8166"/>
                  </a:lnTo>
                  <a:lnTo>
                    <a:pt x="236588" y="698"/>
                  </a:lnTo>
                  <a:lnTo>
                    <a:pt x="212001" y="0"/>
                  </a:lnTo>
                  <a:lnTo>
                    <a:pt x="170751" y="2476"/>
                  </a:lnTo>
                  <a:lnTo>
                    <a:pt x="101892" y="22301"/>
                  </a:lnTo>
                  <a:lnTo>
                    <a:pt x="52095" y="61315"/>
                  </a:lnTo>
                  <a:lnTo>
                    <a:pt x="26746" y="115582"/>
                  </a:lnTo>
                  <a:lnTo>
                    <a:pt x="23571" y="148196"/>
                  </a:lnTo>
                  <a:lnTo>
                    <a:pt x="24244" y="165188"/>
                  </a:lnTo>
                  <a:lnTo>
                    <a:pt x="34531" y="207949"/>
                  </a:lnTo>
                  <a:lnTo>
                    <a:pt x="55587" y="240512"/>
                  </a:lnTo>
                  <a:lnTo>
                    <a:pt x="85559" y="265709"/>
                  </a:lnTo>
                  <a:lnTo>
                    <a:pt x="123545" y="286080"/>
                  </a:lnTo>
                  <a:lnTo>
                    <a:pt x="167906" y="304114"/>
                  </a:lnTo>
                  <a:lnTo>
                    <a:pt x="191909" y="313512"/>
                  </a:lnTo>
                  <a:lnTo>
                    <a:pt x="228968" y="331216"/>
                  </a:lnTo>
                  <a:lnTo>
                    <a:pt x="258864" y="357936"/>
                  </a:lnTo>
                  <a:lnTo>
                    <a:pt x="264490" y="380644"/>
                  </a:lnTo>
                  <a:lnTo>
                    <a:pt x="263156" y="393052"/>
                  </a:lnTo>
                  <a:lnTo>
                    <a:pt x="231355" y="423227"/>
                  </a:lnTo>
                  <a:lnTo>
                    <a:pt x="176504" y="429399"/>
                  </a:lnTo>
                  <a:lnTo>
                    <a:pt x="154012" y="428790"/>
                  </a:lnTo>
                  <a:lnTo>
                    <a:pt x="134416" y="427164"/>
                  </a:lnTo>
                  <a:lnTo>
                    <a:pt x="117881" y="424878"/>
                  </a:lnTo>
                  <a:lnTo>
                    <a:pt x="104609" y="422236"/>
                  </a:lnTo>
                  <a:lnTo>
                    <a:pt x="88214" y="418236"/>
                  </a:lnTo>
                  <a:lnTo>
                    <a:pt x="80873" y="416953"/>
                  </a:lnTo>
                  <a:lnTo>
                    <a:pt x="32194" y="429514"/>
                  </a:lnTo>
                  <a:lnTo>
                    <a:pt x="7327" y="465048"/>
                  </a:lnTo>
                  <a:lnTo>
                    <a:pt x="0" y="490778"/>
                  </a:lnTo>
                  <a:lnTo>
                    <a:pt x="13309" y="496189"/>
                  </a:lnTo>
                  <a:lnTo>
                    <a:pt x="50419" y="508635"/>
                  </a:lnTo>
                  <a:lnTo>
                    <a:pt x="87985" y="518083"/>
                  </a:lnTo>
                  <a:lnTo>
                    <a:pt x="139738" y="524129"/>
                  </a:lnTo>
                  <a:lnTo>
                    <a:pt x="175526" y="525030"/>
                  </a:lnTo>
                  <a:lnTo>
                    <a:pt x="221932" y="522732"/>
                  </a:lnTo>
                  <a:lnTo>
                    <a:pt x="262661" y="515835"/>
                  </a:lnTo>
                  <a:lnTo>
                    <a:pt x="327113" y="488251"/>
                  </a:lnTo>
                  <a:lnTo>
                    <a:pt x="366928" y="442722"/>
                  </a:lnTo>
                  <a:lnTo>
                    <a:pt x="371449" y="429399"/>
                  </a:lnTo>
                  <a:lnTo>
                    <a:pt x="376897" y="413397"/>
                  </a:lnTo>
                  <a:lnTo>
                    <a:pt x="380225" y="379730"/>
                  </a:lnTo>
                  <a:close/>
                </a:path>
                <a:path w="2321559" h="526415">
                  <a:moveTo>
                    <a:pt x="869505" y="262102"/>
                  </a:moveTo>
                  <a:lnTo>
                    <a:pt x="865200" y="205562"/>
                  </a:lnTo>
                  <a:lnTo>
                    <a:pt x="852436" y="154660"/>
                  </a:lnTo>
                  <a:lnTo>
                    <a:pt x="831989" y="109829"/>
                  </a:lnTo>
                  <a:lnTo>
                    <a:pt x="804837" y="71920"/>
                  </a:lnTo>
                  <a:lnTo>
                    <a:pt x="771220" y="41414"/>
                  </a:lnTo>
                  <a:lnTo>
                    <a:pt x="754875" y="30924"/>
                  </a:lnTo>
                  <a:lnTo>
                    <a:pt x="754875" y="262229"/>
                  </a:lnTo>
                  <a:lnTo>
                    <a:pt x="752932" y="298018"/>
                  </a:lnTo>
                  <a:lnTo>
                    <a:pt x="737438" y="357797"/>
                  </a:lnTo>
                  <a:lnTo>
                    <a:pt x="706856" y="400989"/>
                  </a:lnTo>
                  <a:lnTo>
                    <a:pt x="663638" y="422960"/>
                  </a:lnTo>
                  <a:lnTo>
                    <a:pt x="637425" y="425704"/>
                  </a:lnTo>
                  <a:lnTo>
                    <a:pt x="611238" y="422948"/>
                  </a:lnTo>
                  <a:lnTo>
                    <a:pt x="568032" y="400951"/>
                  </a:lnTo>
                  <a:lnTo>
                    <a:pt x="537464" y="357733"/>
                  </a:lnTo>
                  <a:lnTo>
                    <a:pt x="521995" y="297942"/>
                  </a:lnTo>
                  <a:lnTo>
                    <a:pt x="520065" y="262102"/>
                  </a:lnTo>
                  <a:lnTo>
                    <a:pt x="522020" y="226783"/>
                  </a:lnTo>
                  <a:lnTo>
                    <a:pt x="537527" y="167741"/>
                  </a:lnTo>
                  <a:lnTo>
                    <a:pt x="568109" y="125018"/>
                  </a:lnTo>
                  <a:lnTo>
                    <a:pt x="611327" y="103276"/>
                  </a:lnTo>
                  <a:lnTo>
                    <a:pt x="637514" y="100558"/>
                  </a:lnTo>
                  <a:lnTo>
                    <a:pt x="663727" y="103289"/>
                  </a:lnTo>
                  <a:lnTo>
                    <a:pt x="706932" y="125056"/>
                  </a:lnTo>
                  <a:lnTo>
                    <a:pt x="737489" y="167805"/>
                  </a:lnTo>
                  <a:lnTo>
                    <a:pt x="752944" y="226860"/>
                  </a:lnTo>
                  <a:lnTo>
                    <a:pt x="754875" y="262229"/>
                  </a:lnTo>
                  <a:lnTo>
                    <a:pt x="754875" y="30924"/>
                  </a:lnTo>
                  <a:lnTo>
                    <a:pt x="709396" y="10655"/>
                  </a:lnTo>
                  <a:lnTo>
                    <a:pt x="662470" y="1308"/>
                  </a:lnTo>
                  <a:lnTo>
                    <a:pt x="637552" y="139"/>
                  </a:lnTo>
                  <a:lnTo>
                    <a:pt x="612546" y="1308"/>
                  </a:lnTo>
                  <a:lnTo>
                    <a:pt x="565962" y="10604"/>
                  </a:lnTo>
                  <a:lnTo>
                    <a:pt x="523621" y="29057"/>
                  </a:lnTo>
                  <a:lnTo>
                    <a:pt x="486867" y="55587"/>
                  </a:lnTo>
                  <a:lnTo>
                    <a:pt x="456044" y="89890"/>
                  </a:lnTo>
                  <a:lnTo>
                    <a:pt x="431952" y="131381"/>
                  </a:lnTo>
                  <a:lnTo>
                    <a:pt x="415086" y="179349"/>
                  </a:lnTo>
                  <a:lnTo>
                    <a:pt x="406539" y="233286"/>
                  </a:lnTo>
                  <a:lnTo>
                    <a:pt x="405472" y="262229"/>
                  </a:lnTo>
                  <a:lnTo>
                    <a:pt x="406539" y="291236"/>
                  </a:lnTo>
                  <a:lnTo>
                    <a:pt x="415048" y="345135"/>
                  </a:lnTo>
                  <a:lnTo>
                    <a:pt x="431914" y="393674"/>
                  </a:lnTo>
                  <a:lnTo>
                    <a:pt x="455701" y="435279"/>
                  </a:lnTo>
                  <a:lnTo>
                    <a:pt x="486092" y="469658"/>
                  </a:lnTo>
                  <a:lnTo>
                    <a:pt x="522605" y="496455"/>
                  </a:lnTo>
                  <a:lnTo>
                    <a:pt x="564946" y="515353"/>
                  </a:lnTo>
                  <a:lnTo>
                    <a:pt x="612089" y="524929"/>
                  </a:lnTo>
                  <a:lnTo>
                    <a:pt x="637400" y="526135"/>
                  </a:lnTo>
                  <a:lnTo>
                    <a:pt x="662851" y="524929"/>
                  </a:lnTo>
                  <a:lnTo>
                    <a:pt x="710120" y="515391"/>
                  </a:lnTo>
                  <a:lnTo>
                    <a:pt x="752868" y="496519"/>
                  </a:lnTo>
                  <a:lnTo>
                    <a:pt x="789622" y="469747"/>
                  </a:lnTo>
                  <a:lnTo>
                    <a:pt x="820051" y="435394"/>
                  </a:lnTo>
                  <a:lnTo>
                    <a:pt x="843673" y="393674"/>
                  </a:lnTo>
                  <a:lnTo>
                    <a:pt x="860132" y="345135"/>
                  </a:lnTo>
                  <a:lnTo>
                    <a:pt x="868464" y="291096"/>
                  </a:lnTo>
                  <a:lnTo>
                    <a:pt x="869505" y="262102"/>
                  </a:lnTo>
                  <a:close/>
                </a:path>
                <a:path w="2321559" h="526415">
                  <a:moveTo>
                    <a:pt x="1814423" y="256628"/>
                  </a:moveTo>
                  <a:lnTo>
                    <a:pt x="1811896" y="214668"/>
                  </a:lnTo>
                  <a:lnTo>
                    <a:pt x="1800034" y="145605"/>
                  </a:lnTo>
                  <a:lnTo>
                    <a:pt x="1782025" y="101879"/>
                  </a:lnTo>
                  <a:lnTo>
                    <a:pt x="1779549" y="98361"/>
                  </a:lnTo>
                  <a:lnTo>
                    <a:pt x="1756803" y="66014"/>
                  </a:lnTo>
                  <a:lnTo>
                    <a:pt x="1725155" y="38074"/>
                  </a:lnTo>
                  <a:lnTo>
                    <a:pt x="1699107" y="24142"/>
                  </a:lnTo>
                  <a:lnTo>
                    <a:pt x="1699107" y="214668"/>
                  </a:lnTo>
                  <a:lnTo>
                    <a:pt x="1484680" y="214604"/>
                  </a:lnTo>
                  <a:lnTo>
                    <a:pt x="1495171" y="171729"/>
                  </a:lnTo>
                  <a:lnTo>
                    <a:pt x="1516621" y="134569"/>
                  </a:lnTo>
                  <a:lnTo>
                    <a:pt x="1550454" y="108369"/>
                  </a:lnTo>
                  <a:lnTo>
                    <a:pt x="1597164" y="98361"/>
                  </a:lnTo>
                  <a:lnTo>
                    <a:pt x="1609585" y="98933"/>
                  </a:lnTo>
                  <a:lnTo>
                    <a:pt x="1650415" y="112395"/>
                  </a:lnTo>
                  <a:lnTo>
                    <a:pt x="1678978" y="140436"/>
                  </a:lnTo>
                  <a:lnTo>
                    <a:pt x="1695348" y="180263"/>
                  </a:lnTo>
                  <a:lnTo>
                    <a:pt x="1699107" y="214668"/>
                  </a:lnTo>
                  <a:lnTo>
                    <a:pt x="1699107" y="24142"/>
                  </a:lnTo>
                  <a:lnTo>
                    <a:pt x="1687842" y="18110"/>
                  </a:lnTo>
                  <a:lnTo>
                    <a:pt x="1644878" y="6121"/>
                  </a:lnTo>
                  <a:lnTo>
                    <a:pt x="1596250" y="2108"/>
                  </a:lnTo>
                  <a:lnTo>
                    <a:pt x="1574444" y="3149"/>
                  </a:lnTo>
                  <a:lnTo>
                    <a:pt x="1531556" y="11480"/>
                  </a:lnTo>
                  <a:lnTo>
                    <a:pt x="1490091" y="28105"/>
                  </a:lnTo>
                  <a:lnTo>
                    <a:pt x="1452892" y="52870"/>
                  </a:lnTo>
                  <a:lnTo>
                    <a:pt x="1420710" y="85775"/>
                  </a:lnTo>
                  <a:lnTo>
                    <a:pt x="1394714" y="126987"/>
                  </a:lnTo>
                  <a:lnTo>
                    <a:pt x="1375587" y="176517"/>
                  </a:lnTo>
                  <a:lnTo>
                    <a:pt x="1365808" y="234162"/>
                  </a:lnTo>
                  <a:lnTo>
                    <a:pt x="1364576" y="266026"/>
                  </a:lnTo>
                  <a:lnTo>
                    <a:pt x="1365516" y="293585"/>
                  </a:lnTo>
                  <a:lnTo>
                    <a:pt x="1373136" y="345287"/>
                  </a:lnTo>
                  <a:lnTo>
                    <a:pt x="1388478" y="392353"/>
                  </a:lnTo>
                  <a:lnTo>
                    <a:pt x="1411757" y="433247"/>
                  </a:lnTo>
                  <a:lnTo>
                    <a:pt x="1443253" y="467855"/>
                  </a:lnTo>
                  <a:lnTo>
                    <a:pt x="1483283" y="495033"/>
                  </a:lnTo>
                  <a:lnTo>
                    <a:pt x="1531886" y="514311"/>
                  </a:lnTo>
                  <a:lnTo>
                    <a:pt x="1589074" y="524090"/>
                  </a:lnTo>
                  <a:lnTo>
                    <a:pt x="1620862" y="525310"/>
                  </a:lnTo>
                  <a:lnTo>
                    <a:pt x="1633664" y="525145"/>
                  </a:lnTo>
                  <a:lnTo>
                    <a:pt x="1683562" y="520966"/>
                  </a:lnTo>
                  <a:lnTo>
                    <a:pt x="1728025" y="513156"/>
                  </a:lnTo>
                  <a:lnTo>
                    <a:pt x="1770621" y="500722"/>
                  </a:lnTo>
                  <a:lnTo>
                    <a:pt x="1781937" y="495846"/>
                  </a:lnTo>
                  <a:lnTo>
                    <a:pt x="1773580" y="444068"/>
                  </a:lnTo>
                  <a:lnTo>
                    <a:pt x="1743773" y="413296"/>
                  </a:lnTo>
                  <a:lnTo>
                    <a:pt x="1723199" y="415099"/>
                  </a:lnTo>
                  <a:lnTo>
                    <a:pt x="1717700" y="416394"/>
                  </a:lnTo>
                  <a:lnTo>
                    <a:pt x="1675333" y="423367"/>
                  </a:lnTo>
                  <a:lnTo>
                    <a:pt x="1635188" y="425259"/>
                  </a:lnTo>
                  <a:lnTo>
                    <a:pt x="1601571" y="423189"/>
                  </a:lnTo>
                  <a:lnTo>
                    <a:pt x="1546999" y="406742"/>
                  </a:lnTo>
                  <a:lnTo>
                    <a:pt x="1509318" y="374205"/>
                  </a:lnTo>
                  <a:lnTo>
                    <a:pt x="1488122" y="327736"/>
                  </a:lnTo>
                  <a:lnTo>
                    <a:pt x="1483690" y="299415"/>
                  </a:lnTo>
                  <a:lnTo>
                    <a:pt x="1812493" y="299516"/>
                  </a:lnTo>
                  <a:lnTo>
                    <a:pt x="1813115" y="293179"/>
                  </a:lnTo>
                  <a:lnTo>
                    <a:pt x="1813585" y="286029"/>
                  </a:lnTo>
                  <a:lnTo>
                    <a:pt x="1814245" y="270141"/>
                  </a:lnTo>
                  <a:lnTo>
                    <a:pt x="1814347" y="266026"/>
                  </a:lnTo>
                  <a:lnTo>
                    <a:pt x="1814423" y="256628"/>
                  </a:lnTo>
                  <a:close/>
                </a:path>
                <a:path w="2321559" h="526415">
                  <a:moveTo>
                    <a:pt x="2320937" y="89522"/>
                  </a:moveTo>
                  <a:lnTo>
                    <a:pt x="2298573" y="35483"/>
                  </a:lnTo>
                  <a:lnTo>
                    <a:pt x="2244560" y="13106"/>
                  </a:lnTo>
                  <a:lnTo>
                    <a:pt x="2205266" y="13081"/>
                  </a:lnTo>
                  <a:lnTo>
                    <a:pt x="2205151" y="429856"/>
                  </a:lnTo>
                  <a:lnTo>
                    <a:pt x="2229548" y="488835"/>
                  </a:lnTo>
                  <a:lnTo>
                    <a:pt x="2288502" y="513270"/>
                  </a:lnTo>
                  <a:lnTo>
                    <a:pt x="2320823" y="513283"/>
                  </a:lnTo>
                  <a:lnTo>
                    <a:pt x="2320937" y="89522"/>
                  </a:lnTo>
                  <a:close/>
                </a:path>
              </a:pathLst>
            </a:custGeom>
            <a:solidFill>
              <a:srgbClr val="0070AD"/>
            </a:solidFill>
          </p:spPr>
          <p:txBody>
            <a:bodyPr wrap="square" lIns="0" tIns="0" rIns="0" bIns="0" rtlCol="0"/>
            <a:lstStyle/>
            <a:p>
              <a:endParaRPr/>
            </a:p>
          </p:txBody>
        </p:sp>
        <p:pic>
          <p:nvPicPr>
            <p:cNvPr id="11" name="object 11">
              <a:extLst>
                <a:ext uri="{FF2B5EF4-FFF2-40B4-BE49-F238E27FC236}">
                  <a16:creationId xmlns:a16="http://schemas.microsoft.com/office/drawing/2014/main" id="{8ACE2265-76FA-8F7B-B617-963599750AEE}"/>
                </a:ext>
              </a:extLst>
            </p:cNvPr>
            <p:cNvPicPr/>
            <p:nvPr/>
          </p:nvPicPr>
          <p:blipFill>
            <a:blip r:embed="rId25" cstate="print"/>
            <a:stretch>
              <a:fillRect/>
            </a:stretch>
          </p:blipFill>
          <p:spPr>
            <a:xfrm>
              <a:off x="17547521" y="678143"/>
              <a:ext cx="2083331" cy="1000902"/>
            </a:xfrm>
            <a:prstGeom prst="rect">
              <a:avLst/>
            </a:prstGeom>
          </p:spPr>
        </p:pic>
      </p:grpSp>
      <p:sp>
        <p:nvSpPr>
          <p:cNvPr id="13" name="Holder 4">
            <a:extLst>
              <a:ext uri="{FF2B5EF4-FFF2-40B4-BE49-F238E27FC236}">
                <a16:creationId xmlns:a16="http://schemas.microsoft.com/office/drawing/2014/main" id="{770E2DAA-1FE2-5F40-60E9-6E5F6DFFC021}"/>
              </a:ext>
            </a:extLst>
          </p:cNvPr>
          <p:cNvSpPr>
            <a:spLocks noGrp="1"/>
          </p:cNvSpPr>
          <p:nvPr>
            <p:ph type="ftr" sz="quarter" idx="3"/>
          </p:nvPr>
        </p:nvSpPr>
        <p:spPr>
          <a:xfrm>
            <a:off x="16452851" y="10759212"/>
            <a:ext cx="3157568" cy="200055"/>
          </a:xfrm>
          <a:prstGeom prst="rect">
            <a:avLst/>
          </a:prstGeom>
        </p:spPr>
        <p:txBody>
          <a:bodyPr lIns="0" tIns="0" rIns="0" bIns="0"/>
          <a:lstStyle>
            <a:lvl1pPr>
              <a:defRPr sz="1300" b="0" i="0">
                <a:solidFill>
                  <a:srgbClr val="808080"/>
                </a:solidFill>
                <a:latin typeface="Ubuntu Light"/>
                <a:cs typeface="Ubuntu Light"/>
              </a:defRPr>
            </a:lvl1pPr>
          </a:lstStyle>
          <a:p>
            <a:pPr marL="26034">
              <a:lnSpc>
                <a:spcPct val="100000"/>
              </a:lnSpc>
              <a:spcBef>
                <a:spcPts val="30"/>
              </a:spcBef>
            </a:pPr>
            <a:r>
              <a:rPr>
                <a:solidFill>
                  <a:srgbClr val="666666"/>
                </a:solidFill>
              </a:rPr>
              <a:t>Public</a:t>
            </a:r>
            <a:r>
              <a:rPr spc="-40">
                <a:solidFill>
                  <a:srgbClr val="666666"/>
                </a:solidFill>
              </a:rPr>
              <a:t> </a:t>
            </a:r>
            <a:r>
              <a:rPr>
                <a:solidFill>
                  <a:srgbClr val="666666"/>
                </a:solidFill>
              </a:rPr>
              <a:t>©</a:t>
            </a:r>
            <a:r>
              <a:rPr spc="-40">
                <a:solidFill>
                  <a:srgbClr val="666666"/>
                </a:solidFill>
              </a:rPr>
              <a:t> </a:t>
            </a:r>
            <a:r>
              <a:rPr>
                <a:solidFill>
                  <a:srgbClr val="666666"/>
                </a:solidFill>
              </a:rPr>
              <a:t>202</a:t>
            </a:r>
            <a:r>
              <a:rPr lang="es-ES">
                <a:solidFill>
                  <a:srgbClr val="666666"/>
                </a:solidFill>
              </a:rPr>
              <a:t>3</a:t>
            </a:r>
            <a:r>
              <a:rPr spc="-40">
                <a:solidFill>
                  <a:srgbClr val="666666"/>
                </a:solidFill>
              </a:rPr>
              <a:t> </a:t>
            </a:r>
            <a:r>
              <a:rPr spc="-10">
                <a:solidFill>
                  <a:srgbClr val="666666"/>
                </a:solidFill>
              </a:rPr>
              <a:t>Sogeti.</a:t>
            </a:r>
            <a:r>
              <a:rPr spc="-35">
                <a:solidFill>
                  <a:srgbClr val="666666"/>
                </a:solidFill>
              </a:rPr>
              <a:t> </a:t>
            </a:r>
            <a:r>
              <a:rPr>
                <a:solidFill>
                  <a:srgbClr val="666666"/>
                </a:solidFill>
              </a:rPr>
              <a:t>All</a:t>
            </a:r>
            <a:r>
              <a:rPr spc="-40">
                <a:solidFill>
                  <a:srgbClr val="666666"/>
                </a:solidFill>
              </a:rPr>
              <a:t> </a:t>
            </a:r>
            <a:r>
              <a:rPr>
                <a:solidFill>
                  <a:srgbClr val="666666"/>
                </a:solidFill>
              </a:rPr>
              <a:t>rights</a:t>
            </a:r>
            <a:r>
              <a:rPr spc="-40">
                <a:solidFill>
                  <a:srgbClr val="666666"/>
                </a:solidFill>
              </a:rPr>
              <a:t> </a:t>
            </a:r>
            <a:r>
              <a:rPr spc="-10">
                <a:solidFill>
                  <a:srgbClr val="666666"/>
                </a:solidFill>
              </a:rPr>
              <a:t>reserved</a:t>
            </a:r>
          </a:p>
        </p:txBody>
      </p:sp>
      <p:sp>
        <p:nvSpPr>
          <p:cNvPr id="3" name="CuadroTexto 2">
            <a:extLst>
              <a:ext uri="{FF2B5EF4-FFF2-40B4-BE49-F238E27FC236}">
                <a16:creationId xmlns:a16="http://schemas.microsoft.com/office/drawing/2014/main" id="{88C789CA-B5C0-0552-A6E8-183BA33814A5}"/>
              </a:ext>
            </a:extLst>
          </p:cNvPr>
          <p:cNvSpPr txBox="1"/>
          <p:nvPr userDrawn="1"/>
        </p:nvSpPr>
        <p:spPr>
          <a:xfrm>
            <a:off x="755650" y="10845800"/>
            <a:ext cx="7772400" cy="292388"/>
          </a:xfrm>
          <a:prstGeom prst="rect">
            <a:avLst/>
          </a:prstGeom>
          <a:noFill/>
        </p:spPr>
        <p:txBody>
          <a:bodyPr wrap="square" rtlCol="0">
            <a:spAutoFit/>
          </a:bodyPr>
          <a:lstStyle/>
          <a:p>
            <a:r>
              <a:rPr lang="es-ES" sz="1300" b="0" i="0">
                <a:solidFill>
                  <a:schemeClr val="tx2"/>
                </a:solidFill>
                <a:latin typeface="Ubuntu Medium" panose="020B0504030602030204" pitchFamily="34" charset="0"/>
              </a:rPr>
              <a:t>#FlourishingDigitalBusinessWithQuality </a:t>
            </a:r>
            <a:r>
              <a:rPr lang="es-ES" sz="1300" b="1" i="0">
                <a:solidFill>
                  <a:srgbClr val="290E3B"/>
                </a:solidFill>
                <a:latin typeface="Ubuntu" panose="020B0504030602030204" pitchFamily="34" charset="0"/>
              </a:rPr>
              <a:t> ·</a:t>
            </a:r>
            <a:r>
              <a:rPr lang="es-ES" sz="1300" b="0" i="0">
                <a:solidFill>
                  <a:schemeClr val="tx2"/>
                </a:solidFill>
                <a:latin typeface="Ubuntu Medium" panose="020B0504030602030204" pitchFamily="34" charset="0"/>
              </a:rPr>
              <a:t>   </a:t>
            </a:r>
            <a:r>
              <a:rPr lang="es-ES" sz="1300" b="1" i="0">
                <a:solidFill>
                  <a:srgbClr val="12A9D8"/>
                </a:solidFill>
                <a:latin typeface="Ubuntu" panose="020B0504030602030204" pitchFamily="34" charset="0"/>
              </a:rPr>
              <a:t>Sogeti España</a:t>
            </a:r>
          </a:p>
        </p:txBody>
      </p:sp>
      <p:sp>
        <p:nvSpPr>
          <p:cNvPr id="4" name="Marcador de número de diapositiva 3">
            <a:extLst>
              <a:ext uri="{FF2B5EF4-FFF2-40B4-BE49-F238E27FC236}">
                <a16:creationId xmlns:a16="http://schemas.microsoft.com/office/drawing/2014/main" id="{B14184FF-0EC3-E199-52BE-34A11DC8C917}"/>
              </a:ext>
            </a:extLst>
          </p:cNvPr>
          <p:cNvSpPr>
            <a:spLocks noGrp="1"/>
          </p:cNvSpPr>
          <p:nvPr>
            <p:ph type="sldNum" sz="quarter" idx="4"/>
          </p:nvPr>
        </p:nvSpPr>
        <p:spPr>
          <a:xfrm>
            <a:off x="7790656" y="10557614"/>
            <a:ext cx="4522788" cy="603250"/>
          </a:xfrm>
          <a:prstGeom prst="rect">
            <a:avLst/>
          </a:prstGeom>
        </p:spPr>
        <p:txBody>
          <a:bodyPr vert="horz" lIns="91440" tIns="45720" rIns="91440" bIns="45720" rtlCol="0" anchor="ctr"/>
          <a:lstStyle>
            <a:lvl1pPr algn="ctr">
              <a:defRPr sz="1200">
                <a:solidFill>
                  <a:schemeClr val="tx1">
                    <a:tint val="75000"/>
                  </a:schemeClr>
                </a:solidFill>
                <a:latin typeface="Ubuntu" panose="020B0504030602030204" pitchFamily="34" charset="0"/>
              </a:defRPr>
            </a:lvl1pPr>
          </a:lstStyle>
          <a:p>
            <a:fld id="{C4C6A2FB-A551-6142-82A1-745352427918}" type="slidenum">
              <a:rPr lang="es-ES" smtClean="0"/>
              <a:pPr/>
              <a:t>‹#›</a:t>
            </a:fld>
            <a:endParaRPr lang="es-ES"/>
          </a:p>
        </p:txBody>
      </p:sp>
      <p:sp>
        <p:nvSpPr>
          <p:cNvPr id="5" name="Forma libre 4">
            <a:extLst>
              <a:ext uri="{FF2B5EF4-FFF2-40B4-BE49-F238E27FC236}">
                <a16:creationId xmlns:a16="http://schemas.microsoft.com/office/drawing/2014/main" id="{09095F8E-E78F-6E55-F27D-B7FA55B0B072}"/>
              </a:ext>
            </a:extLst>
          </p:cNvPr>
          <p:cNvSpPr/>
          <p:nvPr userDrawn="1"/>
        </p:nvSpPr>
        <p:spPr>
          <a:xfrm flipV="1">
            <a:off x="755650" y="10384024"/>
            <a:ext cx="2362200" cy="385576"/>
          </a:xfrm>
          <a:custGeom>
            <a:avLst/>
            <a:gdLst/>
            <a:ahLst/>
            <a:cxnLst/>
            <a:rect l="l" t="t" r="r" b="b"/>
            <a:pathLst>
              <a:path w="4876802" h="796029">
                <a:moveTo>
                  <a:pt x="2572782" y="405299"/>
                </a:moveTo>
                <a:cubicBezTo>
                  <a:pt x="2589609" y="405299"/>
                  <a:pt x="2601809" y="398820"/>
                  <a:pt x="2609382" y="385863"/>
                </a:cubicBezTo>
                <a:cubicBezTo>
                  <a:pt x="2616954" y="372906"/>
                  <a:pt x="2620740" y="355826"/>
                  <a:pt x="2620740" y="334623"/>
                </a:cubicBezTo>
                <a:cubicBezTo>
                  <a:pt x="2620740" y="313420"/>
                  <a:pt x="2616618" y="296256"/>
                  <a:pt x="2608372" y="283131"/>
                </a:cubicBezTo>
                <a:cubicBezTo>
                  <a:pt x="2600126" y="270006"/>
                  <a:pt x="2587927" y="263443"/>
                  <a:pt x="2571772" y="263443"/>
                </a:cubicBezTo>
                <a:cubicBezTo>
                  <a:pt x="2554945" y="263443"/>
                  <a:pt x="2542744" y="270006"/>
                  <a:pt x="2535172" y="283131"/>
                </a:cubicBezTo>
                <a:cubicBezTo>
                  <a:pt x="2527600" y="296256"/>
                  <a:pt x="2523814" y="313420"/>
                  <a:pt x="2523814" y="334623"/>
                </a:cubicBezTo>
                <a:cubicBezTo>
                  <a:pt x="2523814" y="355826"/>
                  <a:pt x="2527937" y="372906"/>
                  <a:pt x="2536182" y="385863"/>
                </a:cubicBezTo>
                <a:cubicBezTo>
                  <a:pt x="2544428" y="398820"/>
                  <a:pt x="2556628" y="405299"/>
                  <a:pt x="2572782" y="405299"/>
                </a:cubicBezTo>
                <a:close/>
                <a:moveTo>
                  <a:pt x="1810782" y="405299"/>
                </a:moveTo>
                <a:cubicBezTo>
                  <a:pt x="1827610" y="405299"/>
                  <a:pt x="1839810" y="398820"/>
                  <a:pt x="1847382" y="385863"/>
                </a:cubicBezTo>
                <a:cubicBezTo>
                  <a:pt x="1854954" y="372906"/>
                  <a:pt x="1858740" y="355826"/>
                  <a:pt x="1858740" y="334623"/>
                </a:cubicBezTo>
                <a:cubicBezTo>
                  <a:pt x="1858740" y="313420"/>
                  <a:pt x="1854618" y="296256"/>
                  <a:pt x="1846372" y="283131"/>
                </a:cubicBezTo>
                <a:cubicBezTo>
                  <a:pt x="1838127" y="270006"/>
                  <a:pt x="1825927" y="263443"/>
                  <a:pt x="1809772" y="263443"/>
                </a:cubicBezTo>
                <a:cubicBezTo>
                  <a:pt x="1792945" y="263443"/>
                  <a:pt x="1780745" y="270006"/>
                  <a:pt x="1773173" y="283131"/>
                </a:cubicBezTo>
                <a:cubicBezTo>
                  <a:pt x="1765600" y="296256"/>
                  <a:pt x="1761814" y="313420"/>
                  <a:pt x="1761814" y="334623"/>
                </a:cubicBezTo>
                <a:cubicBezTo>
                  <a:pt x="1761814" y="355826"/>
                  <a:pt x="1765937" y="372906"/>
                  <a:pt x="1774182" y="385863"/>
                </a:cubicBezTo>
                <a:cubicBezTo>
                  <a:pt x="1782428" y="398820"/>
                  <a:pt x="1794628" y="405299"/>
                  <a:pt x="1810782" y="405299"/>
                </a:cubicBezTo>
                <a:close/>
                <a:moveTo>
                  <a:pt x="810657" y="405299"/>
                </a:moveTo>
                <a:cubicBezTo>
                  <a:pt x="827485" y="405299"/>
                  <a:pt x="839684" y="398820"/>
                  <a:pt x="847257" y="385863"/>
                </a:cubicBezTo>
                <a:cubicBezTo>
                  <a:pt x="854829" y="372906"/>
                  <a:pt x="858615" y="355826"/>
                  <a:pt x="858616" y="334623"/>
                </a:cubicBezTo>
                <a:cubicBezTo>
                  <a:pt x="858615" y="313420"/>
                  <a:pt x="854493" y="296256"/>
                  <a:pt x="846247" y="283131"/>
                </a:cubicBezTo>
                <a:cubicBezTo>
                  <a:pt x="838002" y="270006"/>
                  <a:pt x="825802" y="263443"/>
                  <a:pt x="809647" y="263443"/>
                </a:cubicBezTo>
                <a:cubicBezTo>
                  <a:pt x="792820" y="263443"/>
                  <a:pt x="780620" y="270006"/>
                  <a:pt x="773048" y="283131"/>
                </a:cubicBezTo>
                <a:cubicBezTo>
                  <a:pt x="765475" y="296256"/>
                  <a:pt x="761689" y="313420"/>
                  <a:pt x="761689" y="334623"/>
                </a:cubicBezTo>
                <a:cubicBezTo>
                  <a:pt x="761689" y="355826"/>
                  <a:pt x="765812" y="372906"/>
                  <a:pt x="774057" y="385863"/>
                </a:cubicBezTo>
                <a:cubicBezTo>
                  <a:pt x="782303" y="398820"/>
                  <a:pt x="794503" y="405299"/>
                  <a:pt x="810657" y="405299"/>
                </a:cubicBezTo>
                <a:close/>
                <a:moveTo>
                  <a:pt x="3325256" y="411861"/>
                </a:moveTo>
                <a:cubicBezTo>
                  <a:pt x="3316506" y="411861"/>
                  <a:pt x="3309608" y="408496"/>
                  <a:pt x="3304560" y="401765"/>
                </a:cubicBezTo>
                <a:cubicBezTo>
                  <a:pt x="3299512" y="395034"/>
                  <a:pt x="3296988" y="387125"/>
                  <a:pt x="3296988" y="378038"/>
                </a:cubicBezTo>
                <a:cubicBezTo>
                  <a:pt x="3296988" y="368951"/>
                  <a:pt x="3299512" y="361126"/>
                  <a:pt x="3304560" y="354564"/>
                </a:cubicBezTo>
                <a:cubicBezTo>
                  <a:pt x="3309608" y="348001"/>
                  <a:pt x="3316506" y="344720"/>
                  <a:pt x="3325256" y="344720"/>
                </a:cubicBezTo>
                <a:cubicBezTo>
                  <a:pt x="3333334" y="344720"/>
                  <a:pt x="3339980" y="348001"/>
                  <a:pt x="3345198" y="354564"/>
                </a:cubicBezTo>
                <a:cubicBezTo>
                  <a:pt x="3350414" y="361126"/>
                  <a:pt x="3353022" y="368951"/>
                  <a:pt x="3353022" y="378038"/>
                </a:cubicBezTo>
                <a:cubicBezTo>
                  <a:pt x="3353022" y="387125"/>
                  <a:pt x="3350414" y="395034"/>
                  <a:pt x="3345198" y="401765"/>
                </a:cubicBezTo>
                <a:cubicBezTo>
                  <a:pt x="3339980" y="408496"/>
                  <a:pt x="3333334" y="411861"/>
                  <a:pt x="3325256" y="411861"/>
                </a:cubicBezTo>
                <a:close/>
                <a:moveTo>
                  <a:pt x="2207070" y="453257"/>
                </a:moveTo>
                <a:lnTo>
                  <a:pt x="2207070" y="401765"/>
                </a:lnTo>
                <a:lnTo>
                  <a:pt x="2272697" y="401765"/>
                </a:lnTo>
                <a:lnTo>
                  <a:pt x="2272697" y="314430"/>
                </a:lnTo>
                <a:cubicBezTo>
                  <a:pt x="2272697" y="297939"/>
                  <a:pt x="2274043" y="283299"/>
                  <a:pt x="2276735" y="270510"/>
                </a:cubicBezTo>
                <a:cubicBezTo>
                  <a:pt x="2279428" y="257721"/>
                  <a:pt x="2284055" y="246868"/>
                  <a:pt x="2290618" y="237949"/>
                </a:cubicBezTo>
                <a:cubicBezTo>
                  <a:pt x="2297181" y="229031"/>
                  <a:pt x="2305931" y="222215"/>
                  <a:pt x="2316869" y="217504"/>
                </a:cubicBezTo>
                <a:cubicBezTo>
                  <a:pt x="2327807" y="212792"/>
                  <a:pt x="2341353" y="210436"/>
                  <a:pt x="2357508" y="210436"/>
                </a:cubicBezTo>
                <a:cubicBezTo>
                  <a:pt x="2366931" y="210436"/>
                  <a:pt x="2377280" y="211530"/>
                  <a:pt x="2388554" y="213718"/>
                </a:cubicBezTo>
                <a:cubicBezTo>
                  <a:pt x="2399829" y="215905"/>
                  <a:pt x="2411860" y="220028"/>
                  <a:pt x="2424649" y="226086"/>
                </a:cubicBezTo>
                <a:lnTo>
                  <a:pt x="2416572" y="276063"/>
                </a:lnTo>
                <a:cubicBezTo>
                  <a:pt x="2406475" y="271352"/>
                  <a:pt x="2397388" y="268239"/>
                  <a:pt x="2389312" y="266724"/>
                </a:cubicBezTo>
                <a:cubicBezTo>
                  <a:pt x="2381234" y="265210"/>
                  <a:pt x="2374335" y="264452"/>
                  <a:pt x="2368614" y="264452"/>
                </a:cubicBezTo>
                <a:cubicBezTo>
                  <a:pt x="2356498" y="264452"/>
                  <a:pt x="2347832" y="267902"/>
                  <a:pt x="2342615" y="274801"/>
                </a:cubicBezTo>
                <a:cubicBezTo>
                  <a:pt x="2337398" y="281701"/>
                  <a:pt x="2334790" y="292218"/>
                  <a:pt x="2334790" y="306353"/>
                </a:cubicBezTo>
                <a:lnTo>
                  <a:pt x="2334790" y="453257"/>
                </a:lnTo>
                <a:close/>
                <a:moveTo>
                  <a:pt x="1088092" y="457800"/>
                </a:moveTo>
                <a:cubicBezTo>
                  <a:pt x="1064870" y="457800"/>
                  <a:pt x="1044593" y="455949"/>
                  <a:pt x="1027260" y="452247"/>
                </a:cubicBezTo>
                <a:cubicBezTo>
                  <a:pt x="1009928" y="448545"/>
                  <a:pt x="993016" y="443665"/>
                  <a:pt x="976526" y="437607"/>
                </a:cubicBezTo>
                <a:lnTo>
                  <a:pt x="976526" y="215989"/>
                </a:lnTo>
                <a:lnTo>
                  <a:pt x="1039124" y="215989"/>
                </a:lnTo>
                <a:lnTo>
                  <a:pt x="1039124" y="392173"/>
                </a:lnTo>
                <a:cubicBezTo>
                  <a:pt x="1047874" y="394529"/>
                  <a:pt x="1056456" y="396128"/>
                  <a:pt x="1064870" y="396969"/>
                </a:cubicBezTo>
                <a:cubicBezTo>
                  <a:pt x="1073284" y="397810"/>
                  <a:pt x="1081866" y="398231"/>
                  <a:pt x="1090616" y="398231"/>
                </a:cubicBezTo>
                <a:cubicBezTo>
                  <a:pt x="1094318" y="398231"/>
                  <a:pt x="1098861" y="398063"/>
                  <a:pt x="1104246" y="397726"/>
                </a:cubicBezTo>
                <a:cubicBezTo>
                  <a:pt x="1109631" y="397390"/>
                  <a:pt x="1115184" y="396801"/>
                  <a:pt x="1120905" y="395959"/>
                </a:cubicBezTo>
                <a:cubicBezTo>
                  <a:pt x="1126627" y="395118"/>
                  <a:pt x="1132264" y="394192"/>
                  <a:pt x="1137817" y="393183"/>
                </a:cubicBezTo>
                <a:cubicBezTo>
                  <a:pt x="1143370" y="392173"/>
                  <a:pt x="1148166" y="391164"/>
                  <a:pt x="1152205" y="390154"/>
                </a:cubicBezTo>
                <a:lnTo>
                  <a:pt x="1163311" y="447704"/>
                </a:lnTo>
                <a:cubicBezTo>
                  <a:pt x="1157589" y="449723"/>
                  <a:pt x="1151111" y="451322"/>
                  <a:pt x="1143875" y="452500"/>
                </a:cubicBezTo>
                <a:cubicBezTo>
                  <a:pt x="1136639" y="453678"/>
                  <a:pt x="1129487" y="454687"/>
                  <a:pt x="1122420" y="455529"/>
                </a:cubicBezTo>
                <a:cubicBezTo>
                  <a:pt x="1115352" y="456370"/>
                  <a:pt x="1108706" y="456959"/>
                  <a:pt x="1102479" y="457296"/>
                </a:cubicBezTo>
                <a:cubicBezTo>
                  <a:pt x="1096253" y="457632"/>
                  <a:pt x="1091457" y="457800"/>
                  <a:pt x="1088092" y="457800"/>
                </a:cubicBezTo>
                <a:close/>
                <a:moveTo>
                  <a:pt x="2572782" y="459315"/>
                </a:moveTo>
                <a:cubicBezTo>
                  <a:pt x="2556628" y="459315"/>
                  <a:pt x="2541651" y="456370"/>
                  <a:pt x="2527852" y="450480"/>
                </a:cubicBezTo>
                <a:cubicBezTo>
                  <a:pt x="2514054" y="444591"/>
                  <a:pt x="2502190" y="436177"/>
                  <a:pt x="2492262" y="425239"/>
                </a:cubicBezTo>
                <a:cubicBezTo>
                  <a:pt x="2482334" y="414301"/>
                  <a:pt x="2474594" y="401176"/>
                  <a:pt x="2469040" y="385863"/>
                </a:cubicBezTo>
                <a:cubicBezTo>
                  <a:pt x="2463487" y="370550"/>
                  <a:pt x="2460711" y="353638"/>
                  <a:pt x="2460711" y="335128"/>
                </a:cubicBezTo>
                <a:cubicBezTo>
                  <a:pt x="2460711" y="316281"/>
                  <a:pt x="2463403" y="299201"/>
                  <a:pt x="2468788" y="283888"/>
                </a:cubicBezTo>
                <a:cubicBezTo>
                  <a:pt x="2474173" y="268575"/>
                  <a:pt x="2481829" y="255366"/>
                  <a:pt x="2491758" y="244259"/>
                </a:cubicBezTo>
                <a:cubicBezTo>
                  <a:pt x="2501686" y="233153"/>
                  <a:pt x="2513465" y="224571"/>
                  <a:pt x="2527095" y="218513"/>
                </a:cubicBezTo>
                <a:cubicBezTo>
                  <a:pt x="2540726" y="212455"/>
                  <a:pt x="2555954" y="209427"/>
                  <a:pt x="2572782" y="209427"/>
                </a:cubicBezTo>
                <a:cubicBezTo>
                  <a:pt x="2589609" y="209427"/>
                  <a:pt x="2604838" y="212455"/>
                  <a:pt x="2618468" y="218513"/>
                </a:cubicBezTo>
                <a:cubicBezTo>
                  <a:pt x="2632098" y="224571"/>
                  <a:pt x="2643794" y="233153"/>
                  <a:pt x="2653554" y="244259"/>
                </a:cubicBezTo>
                <a:cubicBezTo>
                  <a:pt x="2663314" y="255366"/>
                  <a:pt x="2670886" y="268575"/>
                  <a:pt x="2676271" y="283888"/>
                </a:cubicBezTo>
                <a:cubicBezTo>
                  <a:pt x="2681656" y="299201"/>
                  <a:pt x="2684348" y="316281"/>
                  <a:pt x="2684348" y="335128"/>
                </a:cubicBezTo>
                <a:cubicBezTo>
                  <a:pt x="2684348" y="353638"/>
                  <a:pt x="2681656" y="370550"/>
                  <a:pt x="2676271" y="385863"/>
                </a:cubicBezTo>
                <a:cubicBezTo>
                  <a:pt x="2670886" y="401176"/>
                  <a:pt x="2663230" y="414301"/>
                  <a:pt x="2653302" y="425239"/>
                </a:cubicBezTo>
                <a:cubicBezTo>
                  <a:pt x="2643373" y="436177"/>
                  <a:pt x="2631594" y="444591"/>
                  <a:pt x="2617964" y="450480"/>
                </a:cubicBezTo>
                <a:cubicBezTo>
                  <a:pt x="2604334" y="456370"/>
                  <a:pt x="2589273" y="459315"/>
                  <a:pt x="2572782" y="459315"/>
                </a:cubicBezTo>
                <a:close/>
                <a:moveTo>
                  <a:pt x="1810782" y="459315"/>
                </a:moveTo>
                <a:cubicBezTo>
                  <a:pt x="1794628" y="459315"/>
                  <a:pt x="1779651" y="456370"/>
                  <a:pt x="1765853" y="450480"/>
                </a:cubicBezTo>
                <a:cubicBezTo>
                  <a:pt x="1752054" y="444591"/>
                  <a:pt x="1740191" y="436177"/>
                  <a:pt x="1730262" y="425239"/>
                </a:cubicBezTo>
                <a:cubicBezTo>
                  <a:pt x="1720334" y="414301"/>
                  <a:pt x="1712594" y="401176"/>
                  <a:pt x="1707040" y="385863"/>
                </a:cubicBezTo>
                <a:cubicBezTo>
                  <a:pt x="1701488" y="370550"/>
                  <a:pt x="1698711" y="353638"/>
                  <a:pt x="1698711" y="335128"/>
                </a:cubicBezTo>
                <a:cubicBezTo>
                  <a:pt x="1698711" y="316281"/>
                  <a:pt x="1701403" y="299201"/>
                  <a:pt x="1706788" y="283888"/>
                </a:cubicBezTo>
                <a:cubicBezTo>
                  <a:pt x="1712173" y="268575"/>
                  <a:pt x="1719829" y="255366"/>
                  <a:pt x="1729758" y="244259"/>
                </a:cubicBezTo>
                <a:cubicBezTo>
                  <a:pt x="1739686" y="233153"/>
                  <a:pt x="1751465" y="224571"/>
                  <a:pt x="1765095" y="218513"/>
                </a:cubicBezTo>
                <a:cubicBezTo>
                  <a:pt x="1778726" y="212455"/>
                  <a:pt x="1793954" y="209427"/>
                  <a:pt x="1810782" y="209427"/>
                </a:cubicBezTo>
                <a:cubicBezTo>
                  <a:pt x="1827610" y="209427"/>
                  <a:pt x="1842838" y="212455"/>
                  <a:pt x="1856469" y="218513"/>
                </a:cubicBezTo>
                <a:cubicBezTo>
                  <a:pt x="1870099" y="224571"/>
                  <a:pt x="1881794" y="233153"/>
                  <a:pt x="1891554" y="244259"/>
                </a:cubicBezTo>
                <a:cubicBezTo>
                  <a:pt x="1901314" y="255366"/>
                  <a:pt x="1908886" y="268575"/>
                  <a:pt x="1914271" y="283888"/>
                </a:cubicBezTo>
                <a:cubicBezTo>
                  <a:pt x="1919656" y="299201"/>
                  <a:pt x="1922348" y="316281"/>
                  <a:pt x="1922348" y="335128"/>
                </a:cubicBezTo>
                <a:cubicBezTo>
                  <a:pt x="1922348" y="353638"/>
                  <a:pt x="1919656" y="370550"/>
                  <a:pt x="1914271" y="385863"/>
                </a:cubicBezTo>
                <a:cubicBezTo>
                  <a:pt x="1908886" y="401176"/>
                  <a:pt x="1901230" y="414301"/>
                  <a:pt x="1891302" y="425239"/>
                </a:cubicBezTo>
                <a:cubicBezTo>
                  <a:pt x="1881374" y="436177"/>
                  <a:pt x="1869594" y="444591"/>
                  <a:pt x="1855964" y="450480"/>
                </a:cubicBezTo>
                <a:cubicBezTo>
                  <a:pt x="1842334" y="456370"/>
                  <a:pt x="1827273" y="459315"/>
                  <a:pt x="1810782" y="459315"/>
                </a:cubicBezTo>
                <a:close/>
                <a:moveTo>
                  <a:pt x="810657" y="459315"/>
                </a:moveTo>
                <a:cubicBezTo>
                  <a:pt x="794503" y="459315"/>
                  <a:pt x="779526" y="456370"/>
                  <a:pt x="765728" y="450480"/>
                </a:cubicBezTo>
                <a:cubicBezTo>
                  <a:pt x="751929" y="444591"/>
                  <a:pt x="740066" y="436177"/>
                  <a:pt x="730138" y="425239"/>
                </a:cubicBezTo>
                <a:cubicBezTo>
                  <a:pt x="720209" y="414301"/>
                  <a:pt x="712469" y="401176"/>
                  <a:pt x="706916" y="385863"/>
                </a:cubicBezTo>
                <a:cubicBezTo>
                  <a:pt x="701362" y="370550"/>
                  <a:pt x="698586" y="353638"/>
                  <a:pt x="698586" y="335128"/>
                </a:cubicBezTo>
                <a:cubicBezTo>
                  <a:pt x="698586" y="316281"/>
                  <a:pt x="701278" y="299201"/>
                  <a:pt x="706663" y="283888"/>
                </a:cubicBezTo>
                <a:cubicBezTo>
                  <a:pt x="712048" y="268575"/>
                  <a:pt x="719704" y="255366"/>
                  <a:pt x="729633" y="244259"/>
                </a:cubicBezTo>
                <a:cubicBezTo>
                  <a:pt x="739561" y="233153"/>
                  <a:pt x="751340" y="224571"/>
                  <a:pt x="764970" y="218513"/>
                </a:cubicBezTo>
                <a:cubicBezTo>
                  <a:pt x="778601" y="212455"/>
                  <a:pt x="793830" y="209427"/>
                  <a:pt x="810657" y="209427"/>
                </a:cubicBezTo>
                <a:cubicBezTo>
                  <a:pt x="827485" y="209427"/>
                  <a:pt x="842713" y="212455"/>
                  <a:pt x="856344" y="218513"/>
                </a:cubicBezTo>
                <a:cubicBezTo>
                  <a:pt x="869974" y="224571"/>
                  <a:pt x="881669" y="233153"/>
                  <a:pt x="891429" y="244259"/>
                </a:cubicBezTo>
                <a:cubicBezTo>
                  <a:pt x="901189" y="255366"/>
                  <a:pt x="908761" y="268575"/>
                  <a:pt x="914146" y="283888"/>
                </a:cubicBezTo>
                <a:cubicBezTo>
                  <a:pt x="919531" y="299201"/>
                  <a:pt x="922223" y="316281"/>
                  <a:pt x="922223" y="335128"/>
                </a:cubicBezTo>
                <a:cubicBezTo>
                  <a:pt x="922223" y="353638"/>
                  <a:pt x="919531" y="370550"/>
                  <a:pt x="914146" y="385863"/>
                </a:cubicBezTo>
                <a:cubicBezTo>
                  <a:pt x="908761" y="401176"/>
                  <a:pt x="901105" y="414301"/>
                  <a:pt x="891177" y="425239"/>
                </a:cubicBezTo>
                <a:cubicBezTo>
                  <a:pt x="881248" y="436177"/>
                  <a:pt x="869469" y="444591"/>
                  <a:pt x="855839" y="450480"/>
                </a:cubicBezTo>
                <a:cubicBezTo>
                  <a:pt x="842209" y="456370"/>
                  <a:pt x="827148" y="459315"/>
                  <a:pt x="810657" y="459315"/>
                </a:cubicBezTo>
                <a:close/>
                <a:moveTo>
                  <a:pt x="546919" y="477993"/>
                </a:moveTo>
                <a:cubicBezTo>
                  <a:pt x="563410" y="477993"/>
                  <a:pt x="576620" y="474207"/>
                  <a:pt x="586548" y="466635"/>
                </a:cubicBezTo>
                <a:cubicBezTo>
                  <a:pt x="596476" y="459062"/>
                  <a:pt x="601441" y="446189"/>
                  <a:pt x="601441" y="428016"/>
                </a:cubicBezTo>
                <a:cubicBezTo>
                  <a:pt x="601441" y="408832"/>
                  <a:pt x="596392" y="395286"/>
                  <a:pt x="586296" y="387377"/>
                </a:cubicBezTo>
                <a:cubicBezTo>
                  <a:pt x="576199" y="379468"/>
                  <a:pt x="561223" y="375514"/>
                  <a:pt x="541366" y="375514"/>
                </a:cubicBezTo>
                <a:lnTo>
                  <a:pt x="516125" y="375514"/>
                </a:lnTo>
                <a:lnTo>
                  <a:pt x="516125" y="476479"/>
                </a:lnTo>
                <a:cubicBezTo>
                  <a:pt x="519827" y="477152"/>
                  <a:pt x="524960" y="477573"/>
                  <a:pt x="531522" y="477741"/>
                </a:cubicBezTo>
                <a:cubicBezTo>
                  <a:pt x="538085" y="477909"/>
                  <a:pt x="543217" y="477993"/>
                  <a:pt x="546919" y="477993"/>
                </a:cubicBezTo>
                <a:close/>
                <a:moveTo>
                  <a:pt x="3324752" y="482537"/>
                </a:moveTo>
                <a:cubicBezTo>
                  <a:pt x="3341916" y="482537"/>
                  <a:pt x="3354958" y="473198"/>
                  <a:pt x="3363876" y="454519"/>
                </a:cubicBezTo>
                <a:cubicBezTo>
                  <a:pt x="3372794" y="435841"/>
                  <a:pt x="3377254" y="408664"/>
                  <a:pt x="3377254" y="372990"/>
                </a:cubicBezTo>
                <a:cubicBezTo>
                  <a:pt x="3377254" y="336979"/>
                  <a:pt x="3372794" y="309634"/>
                  <a:pt x="3363876" y="290956"/>
                </a:cubicBezTo>
                <a:cubicBezTo>
                  <a:pt x="3354958" y="272277"/>
                  <a:pt x="3341916" y="262938"/>
                  <a:pt x="3324752" y="262938"/>
                </a:cubicBezTo>
                <a:cubicBezTo>
                  <a:pt x="3307924" y="262938"/>
                  <a:pt x="3294968" y="272277"/>
                  <a:pt x="3285880" y="290956"/>
                </a:cubicBezTo>
                <a:cubicBezTo>
                  <a:pt x="3276794" y="309634"/>
                  <a:pt x="3272250" y="336979"/>
                  <a:pt x="3272250" y="372990"/>
                </a:cubicBezTo>
                <a:cubicBezTo>
                  <a:pt x="3272250" y="408664"/>
                  <a:pt x="3276794" y="435841"/>
                  <a:pt x="3285880" y="454519"/>
                </a:cubicBezTo>
                <a:cubicBezTo>
                  <a:pt x="3294968" y="473198"/>
                  <a:pt x="3307924" y="482537"/>
                  <a:pt x="3324752" y="482537"/>
                </a:cubicBezTo>
                <a:close/>
                <a:moveTo>
                  <a:pt x="1323054" y="522923"/>
                </a:moveTo>
                <a:lnTo>
                  <a:pt x="1260961" y="512826"/>
                </a:lnTo>
                <a:lnTo>
                  <a:pt x="1260961" y="453257"/>
                </a:lnTo>
                <a:lnTo>
                  <a:pt x="1206945" y="453257"/>
                </a:lnTo>
                <a:lnTo>
                  <a:pt x="1206945" y="401765"/>
                </a:lnTo>
                <a:lnTo>
                  <a:pt x="1260961" y="401765"/>
                </a:lnTo>
                <a:lnTo>
                  <a:pt x="1260961" y="304334"/>
                </a:lnTo>
                <a:cubicBezTo>
                  <a:pt x="1260961" y="284477"/>
                  <a:pt x="1262980" y="268407"/>
                  <a:pt x="1267019" y="256123"/>
                </a:cubicBezTo>
                <a:cubicBezTo>
                  <a:pt x="1271057" y="243839"/>
                  <a:pt x="1276947" y="234331"/>
                  <a:pt x="1284688" y="227600"/>
                </a:cubicBezTo>
                <a:cubicBezTo>
                  <a:pt x="1292428" y="220869"/>
                  <a:pt x="1301852" y="216326"/>
                  <a:pt x="1312958" y="213970"/>
                </a:cubicBezTo>
                <a:cubicBezTo>
                  <a:pt x="1324064" y="211614"/>
                  <a:pt x="1336853" y="210436"/>
                  <a:pt x="1351325" y="210436"/>
                </a:cubicBezTo>
                <a:cubicBezTo>
                  <a:pt x="1363777" y="210436"/>
                  <a:pt x="1376650" y="211446"/>
                  <a:pt x="1389944" y="213465"/>
                </a:cubicBezTo>
                <a:cubicBezTo>
                  <a:pt x="1403238" y="215484"/>
                  <a:pt x="1415606" y="218850"/>
                  <a:pt x="1427048" y="223562"/>
                </a:cubicBezTo>
                <a:lnTo>
                  <a:pt x="1418466" y="277073"/>
                </a:lnTo>
                <a:cubicBezTo>
                  <a:pt x="1412745" y="274381"/>
                  <a:pt x="1407444" y="272193"/>
                  <a:pt x="1402564" y="270510"/>
                </a:cubicBezTo>
                <a:cubicBezTo>
                  <a:pt x="1397684" y="268828"/>
                  <a:pt x="1392973" y="267566"/>
                  <a:pt x="1388429" y="266724"/>
                </a:cubicBezTo>
                <a:cubicBezTo>
                  <a:pt x="1383886" y="265883"/>
                  <a:pt x="1379174" y="265294"/>
                  <a:pt x="1374294" y="264957"/>
                </a:cubicBezTo>
                <a:cubicBezTo>
                  <a:pt x="1369414" y="264621"/>
                  <a:pt x="1364114" y="264452"/>
                  <a:pt x="1358392" y="264452"/>
                </a:cubicBezTo>
                <a:cubicBezTo>
                  <a:pt x="1353007" y="264452"/>
                  <a:pt x="1348127" y="264957"/>
                  <a:pt x="1343752" y="265967"/>
                </a:cubicBezTo>
                <a:cubicBezTo>
                  <a:pt x="1339377" y="266977"/>
                  <a:pt x="1335675" y="268996"/>
                  <a:pt x="1332646" y="272025"/>
                </a:cubicBezTo>
                <a:cubicBezTo>
                  <a:pt x="1329617" y="275054"/>
                  <a:pt x="1327261" y="279261"/>
                  <a:pt x="1325579" y="284645"/>
                </a:cubicBezTo>
                <a:cubicBezTo>
                  <a:pt x="1323896" y="290030"/>
                  <a:pt x="1323054" y="297098"/>
                  <a:pt x="1323054" y="305848"/>
                </a:cubicBezTo>
                <a:lnTo>
                  <a:pt x="1323054" y="401765"/>
                </a:lnTo>
                <a:lnTo>
                  <a:pt x="1422505" y="401765"/>
                </a:lnTo>
                <a:lnTo>
                  <a:pt x="1422505" y="453257"/>
                </a:lnTo>
                <a:lnTo>
                  <a:pt x="1323054" y="453257"/>
                </a:lnTo>
                <a:close/>
                <a:moveTo>
                  <a:pt x="539852" y="532010"/>
                </a:moveTo>
                <a:cubicBezTo>
                  <a:pt x="534131" y="532010"/>
                  <a:pt x="527568" y="531841"/>
                  <a:pt x="520164" y="531505"/>
                </a:cubicBezTo>
                <a:cubicBezTo>
                  <a:pt x="512760" y="531168"/>
                  <a:pt x="505187" y="530748"/>
                  <a:pt x="497447" y="530243"/>
                </a:cubicBezTo>
                <a:cubicBezTo>
                  <a:pt x="489706" y="529738"/>
                  <a:pt x="482049" y="528981"/>
                  <a:pt x="474477" y="527971"/>
                </a:cubicBezTo>
                <a:cubicBezTo>
                  <a:pt x="466905" y="526961"/>
                  <a:pt x="460090" y="525784"/>
                  <a:pt x="454032" y="524437"/>
                </a:cubicBezTo>
                <a:lnTo>
                  <a:pt x="454032" y="215989"/>
                </a:lnTo>
                <a:lnTo>
                  <a:pt x="516125" y="215989"/>
                </a:lnTo>
                <a:lnTo>
                  <a:pt x="516125" y="321498"/>
                </a:lnTo>
                <a:lnTo>
                  <a:pt x="538337" y="321498"/>
                </a:lnTo>
                <a:cubicBezTo>
                  <a:pt x="578723" y="321498"/>
                  <a:pt x="609938" y="329827"/>
                  <a:pt x="631982" y="346486"/>
                </a:cubicBezTo>
                <a:cubicBezTo>
                  <a:pt x="654026" y="363146"/>
                  <a:pt x="665048" y="390154"/>
                  <a:pt x="665048" y="427511"/>
                </a:cubicBezTo>
                <a:cubicBezTo>
                  <a:pt x="665048" y="464531"/>
                  <a:pt x="654111" y="491203"/>
                  <a:pt x="632235" y="507526"/>
                </a:cubicBezTo>
                <a:cubicBezTo>
                  <a:pt x="610359" y="523848"/>
                  <a:pt x="579565" y="532010"/>
                  <a:pt x="539852" y="532010"/>
                </a:cubicBezTo>
                <a:close/>
                <a:moveTo>
                  <a:pt x="3816452" y="535544"/>
                </a:moveTo>
                <a:cubicBezTo>
                  <a:pt x="3797604" y="535544"/>
                  <a:pt x="3780694" y="532430"/>
                  <a:pt x="3765716" y="526204"/>
                </a:cubicBezTo>
                <a:cubicBezTo>
                  <a:pt x="3750740" y="519978"/>
                  <a:pt x="3738708" y="513836"/>
                  <a:pt x="3729622" y="507778"/>
                </a:cubicBezTo>
                <a:lnTo>
                  <a:pt x="3751834" y="462344"/>
                </a:lnTo>
                <a:cubicBezTo>
                  <a:pt x="3760248" y="468065"/>
                  <a:pt x="3770260" y="472861"/>
                  <a:pt x="3781872" y="476731"/>
                </a:cubicBezTo>
                <a:cubicBezTo>
                  <a:pt x="3793482" y="480602"/>
                  <a:pt x="3805178" y="482537"/>
                  <a:pt x="3816956" y="482537"/>
                </a:cubicBezTo>
                <a:cubicBezTo>
                  <a:pt x="3829072" y="482537"/>
                  <a:pt x="3838580" y="479255"/>
                  <a:pt x="3845480" y="472693"/>
                </a:cubicBezTo>
                <a:cubicBezTo>
                  <a:pt x="3852378" y="466130"/>
                  <a:pt x="3855828" y="457127"/>
                  <a:pt x="3855828" y="445685"/>
                </a:cubicBezTo>
                <a:cubicBezTo>
                  <a:pt x="3855828" y="437944"/>
                  <a:pt x="3854230" y="431550"/>
                  <a:pt x="3851032" y="426501"/>
                </a:cubicBezTo>
                <a:cubicBezTo>
                  <a:pt x="3847836" y="421453"/>
                  <a:pt x="3843712" y="417414"/>
                  <a:pt x="3838664" y="414385"/>
                </a:cubicBezTo>
                <a:cubicBezTo>
                  <a:pt x="3833616" y="411357"/>
                  <a:pt x="3827894" y="409169"/>
                  <a:pt x="3821500" y="407823"/>
                </a:cubicBezTo>
                <a:cubicBezTo>
                  <a:pt x="3815106" y="406477"/>
                  <a:pt x="3808712" y="405803"/>
                  <a:pt x="3802316" y="405803"/>
                </a:cubicBezTo>
                <a:lnTo>
                  <a:pt x="3779094" y="405803"/>
                </a:lnTo>
                <a:lnTo>
                  <a:pt x="3779094" y="354311"/>
                </a:lnTo>
                <a:lnTo>
                  <a:pt x="3798278" y="354311"/>
                </a:lnTo>
                <a:cubicBezTo>
                  <a:pt x="3818470" y="354311"/>
                  <a:pt x="3835130" y="351030"/>
                  <a:pt x="3848256" y="344467"/>
                </a:cubicBezTo>
                <a:cubicBezTo>
                  <a:pt x="3861380" y="337904"/>
                  <a:pt x="3867944" y="326378"/>
                  <a:pt x="3867944" y="309887"/>
                </a:cubicBezTo>
                <a:cubicBezTo>
                  <a:pt x="3867944" y="296425"/>
                  <a:pt x="3863652" y="285150"/>
                  <a:pt x="3855072" y="276063"/>
                </a:cubicBezTo>
                <a:cubicBezTo>
                  <a:pt x="3846488" y="266977"/>
                  <a:pt x="3831596" y="262433"/>
                  <a:pt x="3810394" y="262433"/>
                </a:cubicBezTo>
                <a:cubicBezTo>
                  <a:pt x="3793230" y="262433"/>
                  <a:pt x="3778506" y="264284"/>
                  <a:pt x="3766222" y="267986"/>
                </a:cubicBezTo>
                <a:cubicBezTo>
                  <a:pt x="3753938" y="271688"/>
                  <a:pt x="3743924" y="275222"/>
                  <a:pt x="3736184" y="278588"/>
                </a:cubicBezTo>
                <a:lnTo>
                  <a:pt x="3724068" y="226591"/>
                </a:lnTo>
                <a:cubicBezTo>
                  <a:pt x="3727770" y="224908"/>
                  <a:pt x="3732988" y="223057"/>
                  <a:pt x="3739718" y="221037"/>
                </a:cubicBezTo>
                <a:cubicBezTo>
                  <a:pt x="3746450" y="219018"/>
                  <a:pt x="3753770" y="217167"/>
                  <a:pt x="3761678" y="215484"/>
                </a:cubicBezTo>
                <a:cubicBezTo>
                  <a:pt x="3769588" y="213802"/>
                  <a:pt x="3777832" y="212371"/>
                  <a:pt x="3786414" y="211193"/>
                </a:cubicBezTo>
                <a:cubicBezTo>
                  <a:pt x="3794996" y="210015"/>
                  <a:pt x="3803158" y="209427"/>
                  <a:pt x="3810898" y="209427"/>
                </a:cubicBezTo>
                <a:cubicBezTo>
                  <a:pt x="3831764" y="209427"/>
                  <a:pt x="3849770" y="211867"/>
                  <a:pt x="3864916" y="216746"/>
                </a:cubicBezTo>
                <a:cubicBezTo>
                  <a:pt x="3880060" y="221626"/>
                  <a:pt x="3892512" y="228526"/>
                  <a:pt x="3902272" y="237444"/>
                </a:cubicBezTo>
                <a:cubicBezTo>
                  <a:pt x="3912032" y="246363"/>
                  <a:pt x="3919268" y="256880"/>
                  <a:pt x="3923980" y="268996"/>
                </a:cubicBezTo>
                <a:cubicBezTo>
                  <a:pt x="3928692" y="281112"/>
                  <a:pt x="3931048" y="294405"/>
                  <a:pt x="3931048" y="308877"/>
                </a:cubicBezTo>
                <a:cubicBezTo>
                  <a:pt x="3931048" y="327051"/>
                  <a:pt x="3926588" y="342700"/>
                  <a:pt x="3917668" y="355826"/>
                </a:cubicBezTo>
                <a:cubicBezTo>
                  <a:pt x="3908750" y="368951"/>
                  <a:pt x="3896214" y="378879"/>
                  <a:pt x="3880060" y="385610"/>
                </a:cubicBezTo>
                <a:cubicBezTo>
                  <a:pt x="3891840" y="391668"/>
                  <a:pt x="3901262" y="400419"/>
                  <a:pt x="3908330" y="411861"/>
                </a:cubicBezTo>
                <a:cubicBezTo>
                  <a:pt x="3915398" y="423304"/>
                  <a:pt x="3918932" y="435252"/>
                  <a:pt x="3918932" y="447704"/>
                </a:cubicBezTo>
                <a:cubicBezTo>
                  <a:pt x="3918932" y="460156"/>
                  <a:pt x="3916912" y="471767"/>
                  <a:pt x="3912874" y="482537"/>
                </a:cubicBezTo>
                <a:cubicBezTo>
                  <a:pt x="3908834" y="493306"/>
                  <a:pt x="3902608" y="502646"/>
                  <a:pt x="3894196" y="510555"/>
                </a:cubicBezTo>
                <a:cubicBezTo>
                  <a:pt x="3885780" y="518464"/>
                  <a:pt x="3875096" y="524606"/>
                  <a:pt x="3862138" y="528981"/>
                </a:cubicBezTo>
                <a:cubicBezTo>
                  <a:pt x="3849180" y="533356"/>
                  <a:pt x="3833952" y="535544"/>
                  <a:pt x="3816452" y="535544"/>
                </a:cubicBezTo>
                <a:close/>
                <a:moveTo>
                  <a:pt x="3567354" y="535544"/>
                </a:moveTo>
                <a:cubicBezTo>
                  <a:pt x="3549854" y="535544"/>
                  <a:pt x="3532268" y="532178"/>
                  <a:pt x="3514600" y="525447"/>
                </a:cubicBezTo>
                <a:cubicBezTo>
                  <a:pt x="3496930" y="518716"/>
                  <a:pt x="3481366" y="508283"/>
                  <a:pt x="3467904" y="494148"/>
                </a:cubicBezTo>
                <a:lnTo>
                  <a:pt x="3498698" y="450733"/>
                </a:lnTo>
                <a:cubicBezTo>
                  <a:pt x="3509130" y="461839"/>
                  <a:pt x="3519732" y="469748"/>
                  <a:pt x="3530502" y="474460"/>
                </a:cubicBezTo>
                <a:cubicBezTo>
                  <a:pt x="3541272" y="479171"/>
                  <a:pt x="3551536" y="481527"/>
                  <a:pt x="3561296" y="481527"/>
                </a:cubicBezTo>
                <a:cubicBezTo>
                  <a:pt x="3573076" y="481527"/>
                  <a:pt x="3582836" y="478078"/>
                  <a:pt x="3590576" y="471178"/>
                </a:cubicBezTo>
                <a:cubicBezTo>
                  <a:pt x="3598316" y="464279"/>
                  <a:pt x="3602186" y="454435"/>
                  <a:pt x="3602188" y="441646"/>
                </a:cubicBezTo>
                <a:cubicBezTo>
                  <a:pt x="3602186" y="432559"/>
                  <a:pt x="3599074" y="423641"/>
                  <a:pt x="3592848" y="414890"/>
                </a:cubicBezTo>
                <a:cubicBezTo>
                  <a:pt x="3586622" y="406140"/>
                  <a:pt x="3578712" y="397053"/>
                  <a:pt x="3569120" y="387630"/>
                </a:cubicBezTo>
                <a:cubicBezTo>
                  <a:pt x="3559528" y="378206"/>
                  <a:pt x="3549264" y="368362"/>
                  <a:pt x="3538326" y="358097"/>
                </a:cubicBezTo>
                <a:cubicBezTo>
                  <a:pt x="3527388" y="347833"/>
                  <a:pt x="3517124" y="336727"/>
                  <a:pt x="3507532" y="324779"/>
                </a:cubicBezTo>
                <a:cubicBezTo>
                  <a:pt x="3497940" y="312831"/>
                  <a:pt x="3490032" y="299790"/>
                  <a:pt x="3483806" y="285655"/>
                </a:cubicBezTo>
                <a:cubicBezTo>
                  <a:pt x="3477580" y="271520"/>
                  <a:pt x="3474466" y="256039"/>
                  <a:pt x="3474466" y="239211"/>
                </a:cubicBezTo>
                <a:cubicBezTo>
                  <a:pt x="3474466" y="237192"/>
                  <a:pt x="3474382" y="233658"/>
                  <a:pt x="3474214" y="228610"/>
                </a:cubicBezTo>
                <a:cubicBezTo>
                  <a:pt x="3474046" y="223562"/>
                  <a:pt x="3474466" y="219355"/>
                  <a:pt x="3475476" y="215989"/>
                </a:cubicBezTo>
                <a:lnTo>
                  <a:pt x="3679426" y="215989"/>
                </a:lnTo>
                <a:lnTo>
                  <a:pt x="3679426" y="267481"/>
                </a:lnTo>
                <a:lnTo>
                  <a:pt x="3545142" y="267481"/>
                </a:lnTo>
                <a:cubicBezTo>
                  <a:pt x="3545142" y="272530"/>
                  <a:pt x="3546908" y="278083"/>
                  <a:pt x="3550442" y="284141"/>
                </a:cubicBezTo>
                <a:cubicBezTo>
                  <a:pt x="3553976" y="290198"/>
                  <a:pt x="3558268" y="296172"/>
                  <a:pt x="3563316" y="302062"/>
                </a:cubicBezTo>
                <a:cubicBezTo>
                  <a:pt x="3568364" y="307952"/>
                  <a:pt x="3573748" y="313673"/>
                  <a:pt x="3579470" y="319226"/>
                </a:cubicBezTo>
                <a:cubicBezTo>
                  <a:pt x="3585190" y="324779"/>
                  <a:pt x="3590240" y="329575"/>
                  <a:pt x="3594614" y="333613"/>
                </a:cubicBezTo>
                <a:cubicBezTo>
                  <a:pt x="3603364" y="341691"/>
                  <a:pt x="3611946" y="350104"/>
                  <a:pt x="3620360" y="358855"/>
                </a:cubicBezTo>
                <a:cubicBezTo>
                  <a:pt x="3628774" y="367605"/>
                  <a:pt x="3636346" y="376692"/>
                  <a:pt x="3643078" y="386115"/>
                </a:cubicBezTo>
                <a:cubicBezTo>
                  <a:pt x="3649808" y="395539"/>
                  <a:pt x="3655194" y="405214"/>
                  <a:pt x="3659232" y="415143"/>
                </a:cubicBezTo>
                <a:cubicBezTo>
                  <a:pt x="3663270" y="425071"/>
                  <a:pt x="3665290" y="435420"/>
                  <a:pt x="3665290" y="446189"/>
                </a:cubicBezTo>
                <a:cubicBezTo>
                  <a:pt x="3665290" y="460998"/>
                  <a:pt x="3662598" y="474039"/>
                  <a:pt x="3657212" y="485313"/>
                </a:cubicBezTo>
                <a:cubicBezTo>
                  <a:pt x="3651828" y="496588"/>
                  <a:pt x="3644592" y="505927"/>
                  <a:pt x="3635506" y="513331"/>
                </a:cubicBezTo>
                <a:cubicBezTo>
                  <a:pt x="3626418" y="520735"/>
                  <a:pt x="3615986" y="526288"/>
                  <a:pt x="3604206" y="529990"/>
                </a:cubicBezTo>
                <a:cubicBezTo>
                  <a:pt x="3592426" y="533692"/>
                  <a:pt x="3580142" y="535544"/>
                  <a:pt x="3567354" y="535544"/>
                </a:cubicBezTo>
                <a:close/>
                <a:moveTo>
                  <a:pt x="3324752" y="535544"/>
                </a:moveTo>
                <a:cubicBezTo>
                  <a:pt x="3290088" y="535544"/>
                  <a:pt x="3263332" y="522081"/>
                  <a:pt x="3244486" y="495157"/>
                </a:cubicBezTo>
                <a:cubicBezTo>
                  <a:pt x="3225638" y="468233"/>
                  <a:pt x="3216214" y="427511"/>
                  <a:pt x="3216214" y="372990"/>
                </a:cubicBezTo>
                <a:cubicBezTo>
                  <a:pt x="3216214" y="317796"/>
                  <a:pt x="3225470" y="276737"/>
                  <a:pt x="3243980" y="249813"/>
                </a:cubicBezTo>
                <a:cubicBezTo>
                  <a:pt x="3262490" y="222889"/>
                  <a:pt x="3289414" y="209427"/>
                  <a:pt x="3324752" y="209427"/>
                </a:cubicBezTo>
                <a:cubicBezTo>
                  <a:pt x="3360090" y="209427"/>
                  <a:pt x="3387014" y="222889"/>
                  <a:pt x="3405524" y="249813"/>
                </a:cubicBezTo>
                <a:cubicBezTo>
                  <a:pt x="3424034" y="276737"/>
                  <a:pt x="3433290" y="317796"/>
                  <a:pt x="3433290" y="372990"/>
                </a:cubicBezTo>
                <a:cubicBezTo>
                  <a:pt x="3433290" y="427847"/>
                  <a:pt x="3424034" y="468654"/>
                  <a:pt x="3405524" y="495410"/>
                </a:cubicBezTo>
                <a:cubicBezTo>
                  <a:pt x="3387014" y="522166"/>
                  <a:pt x="3360090" y="535544"/>
                  <a:pt x="3324752" y="535544"/>
                </a:cubicBezTo>
                <a:close/>
                <a:moveTo>
                  <a:pt x="3062528" y="535544"/>
                </a:moveTo>
                <a:cubicBezTo>
                  <a:pt x="3045028" y="535544"/>
                  <a:pt x="3027444" y="532178"/>
                  <a:pt x="3009774" y="525447"/>
                </a:cubicBezTo>
                <a:cubicBezTo>
                  <a:pt x="2992106" y="518716"/>
                  <a:pt x="2976540" y="508283"/>
                  <a:pt x="2963078" y="494148"/>
                </a:cubicBezTo>
                <a:lnTo>
                  <a:pt x="2993872" y="450733"/>
                </a:lnTo>
                <a:cubicBezTo>
                  <a:pt x="3004306" y="461839"/>
                  <a:pt x="3014908" y="469748"/>
                  <a:pt x="3025676" y="474460"/>
                </a:cubicBezTo>
                <a:cubicBezTo>
                  <a:pt x="3036446" y="479171"/>
                  <a:pt x="3046712" y="481527"/>
                  <a:pt x="3056472" y="481527"/>
                </a:cubicBezTo>
                <a:cubicBezTo>
                  <a:pt x="3068250" y="481527"/>
                  <a:pt x="3078010" y="478078"/>
                  <a:pt x="3085752" y="471178"/>
                </a:cubicBezTo>
                <a:cubicBezTo>
                  <a:pt x="3093492" y="464279"/>
                  <a:pt x="3097362" y="454435"/>
                  <a:pt x="3097362" y="441646"/>
                </a:cubicBezTo>
                <a:cubicBezTo>
                  <a:pt x="3097362" y="432559"/>
                  <a:pt x="3094248" y="423641"/>
                  <a:pt x="3088022" y="414890"/>
                </a:cubicBezTo>
                <a:cubicBezTo>
                  <a:pt x="3081796" y="406140"/>
                  <a:pt x="3073888" y="397053"/>
                  <a:pt x="3064296" y="387630"/>
                </a:cubicBezTo>
                <a:cubicBezTo>
                  <a:pt x="3054704" y="378206"/>
                  <a:pt x="3044440" y="368362"/>
                  <a:pt x="3033502" y="358097"/>
                </a:cubicBezTo>
                <a:cubicBezTo>
                  <a:pt x="3022564" y="347833"/>
                  <a:pt x="3012298" y="336727"/>
                  <a:pt x="3002708" y="324779"/>
                </a:cubicBezTo>
                <a:cubicBezTo>
                  <a:pt x="2993116" y="312831"/>
                  <a:pt x="2985206" y="299790"/>
                  <a:pt x="2978980" y="285655"/>
                </a:cubicBezTo>
                <a:cubicBezTo>
                  <a:pt x="2972754" y="271520"/>
                  <a:pt x="2969642" y="256039"/>
                  <a:pt x="2969642" y="239211"/>
                </a:cubicBezTo>
                <a:cubicBezTo>
                  <a:pt x="2969642" y="237192"/>
                  <a:pt x="2969558" y="233658"/>
                  <a:pt x="2969388" y="228610"/>
                </a:cubicBezTo>
                <a:cubicBezTo>
                  <a:pt x="2969220" y="223562"/>
                  <a:pt x="2969640" y="219355"/>
                  <a:pt x="2970650" y="215989"/>
                </a:cubicBezTo>
                <a:lnTo>
                  <a:pt x="3174600" y="215989"/>
                </a:lnTo>
                <a:lnTo>
                  <a:pt x="3174600" y="267481"/>
                </a:lnTo>
                <a:lnTo>
                  <a:pt x="3040316" y="267481"/>
                </a:lnTo>
                <a:cubicBezTo>
                  <a:pt x="3040316" y="272530"/>
                  <a:pt x="3042084" y="278083"/>
                  <a:pt x="3045618" y="284141"/>
                </a:cubicBezTo>
                <a:cubicBezTo>
                  <a:pt x="3049152" y="290198"/>
                  <a:pt x="3053442" y="296172"/>
                  <a:pt x="3058490" y="302062"/>
                </a:cubicBezTo>
                <a:cubicBezTo>
                  <a:pt x="3063538" y="307952"/>
                  <a:pt x="3068924" y="313673"/>
                  <a:pt x="3074644" y="319226"/>
                </a:cubicBezTo>
                <a:cubicBezTo>
                  <a:pt x="3080366" y="324779"/>
                  <a:pt x="3085414" y="329575"/>
                  <a:pt x="3089790" y="333613"/>
                </a:cubicBezTo>
                <a:cubicBezTo>
                  <a:pt x="3098540" y="341691"/>
                  <a:pt x="3107122" y="350104"/>
                  <a:pt x="3115536" y="358855"/>
                </a:cubicBezTo>
                <a:cubicBezTo>
                  <a:pt x="3123950" y="367605"/>
                  <a:pt x="3131522" y="376692"/>
                  <a:pt x="3138252" y="386115"/>
                </a:cubicBezTo>
                <a:cubicBezTo>
                  <a:pt x="3144984" y="395539"/>
                  <a:pt x="3150368" y="405214"/>
                  <a:pt x="3154408" y="415143"/>
                </a:cubicBezTo>
                <a:cubicBezTo>
                  <a:pt x="3158446" y="425071"/>
                  <a:pt x="3160464" y="435420"/>
                  <a:pt x="3160464" y="446189"/>
                </a:cubicBezTo>
                <a:cubicBezTo>
                  <a:pt x="3160464" y="460998"/>
                  <a:pt x="3157772" y="474039"/>
                  <a:pt x="3152388" y="485313"/>
                </a:cubicBezTo>
                <a:cubicBezTo>
                  <a:pt x="3147002" y="496588"/>
                  <a:pt x="3139766" y="505927"/>
                  <a:pt x="3130680" y="513331"/>
                </a:cubicBezTo>
                <a:cubicBezTo>
                  <a:pt x="3121594" y="520735"/>
                  <a:pt x="3111160" y="526288"/>
                  <a:pt x="3099382" y="529990"/>
                </a:cubicBezTo>
                <a:cubicBezTo>
                  <a:pt x="3087602" y="533692"/>
                  <a:pt x="3075318" y="535544"/>
                  <a:pt x="3062528" y="535544"/>
                </a:cubicBezTo>
                <a:close/>
                <a:moveTo>
                  <a:pt x="2292890" y="561290"/>
                </a:moveTo>
                <a:cubicBezTo>
                  <a:pt x="2282120" y="561290"/>
                  <a:pt x="2272949" y="557756"/>
                  <a:pt x="2265377" y="550688"/>
                </a:cubicBezTo>
                <a:cubicBezTo>
                  <a:pt x="2257805" y="543621"/>
                  <a:pt x="2254018" y="533861"/>
                  <a:pt x="2254018" y="521408"/>
                </a:cubicBezTo>
                <a:cubicBezTo>
                  <a:pt x="2254018" y="509293"/>
                  <a:pt x="2257805" y="499701"/>
                  <a:pt x="2265377" y="492633"/>
                </a:cubicBezTo>
                <a:cubicBezTo>
                  <a:pt x="2272949" y="485566"/>
                  <a:pt x="2282120" y="482032"/>
                  <a:pt x="2292890" y="482032"/>
                </a:cubicBezTo>
                <a:cubicBezTo>
                  <a:pt x="2303660" y="482032"/>
                  <a:pt x="2312914" y="485566"/>
                  <a:pt x="2320655" y="492633"/>
                </a:cubicBezTo>
                <a:cubicBezTo>
                  <a:pt x="2328396" y="499701"/>
                  <a:pt x="2332266" y="509293"/>
                  <a:pt x="2332266" y="521408"/>
                </a:cubicBezTo>
                <a:cubicBezTo>
                  <a:pt x="2332266" y="533861"/>
                  <a:pt x="2328396" y="543621"/>
                  <a:pt x="2320655" y="550688"/>
                </a:cubicBezTo>
                <a:cubicBezTo>
                  <a:pt x="2312914" y="557756"/>
                  <a:pt x="2303660" y="561290"/>
                  <a:pt x="2292890" y="561290"/>
                </a:cubicBezTo>
                <a:close/>
                <a:moveTo>
                  <a:pt x="1959420" y="563309"/>
                </a:moveTo>
                <a:lnTo>
                  <a:pt x="1959420" y="511817"/>
                </a:lnTo>
                <a:lnTo>
                  <a:pt x="2025047" y="511817"/>
                </a:lnTo>
                <a:lnTo>
                  <a:pt x="2025047" y="310392"/>
                </a:lnTo>
                <a:cubicBezTo>
                  <a:pt x="2025047" y="277746"/>
                  <a:pt x="2031610" y="252926"/>
                  <a:pt x="2044735" y="235930"/>
                </a:cubicBezTo>
                <a:cubicBezTo>
                  <a:pt x="2057860" y="218934"/>
                  <a:pt x="2078727" y="210436"/>
                  <a:pt x="2107333" y="210436"/>
                </a:cubicBezTo>
                <a:cubicBezTo>
                  <a:pt x="2117767" y="210436"/>
                  <a:pt x="2127106" y="211109"/>
                  <a:pt x="2135351" y="212455"/>
                </a:cubicBezTo>
                <a:cubicBezTo>
                  <a:pt x="2143597" y="213802"/>
                  <a:pt x="2150580" y="215400"/>
                  <a:pt x="2156302" y="217251"/>
                </a:cubicBezTo>
                <a:cubicBezTo>
                  <a:pt x="2162023" y="219102"/>
                  <a:pt x="2166650" y="220869"/>
                  <a:pt x="2170184" y="222552"/>
                </a:cubicBezTo>
                <a:cubicBezTo>
                  <a:pt x="2173718" y="224235"/>
                  <a:pt x="2175990" y="225413"/>
                  <a:pt x="2176999" y="226086"/>
                </a:cubicBezTo>
                <a:lnTo>
                  <a:pt x="2168922" y="276063"/>
                </a:lnTo>
                <a:cubicBezTo>
                  <a:pt x="2166230" y="275054"/>
                  <a:pt x="2160677" y="272866"/>
                  <a:pt x="2152263" y="269501"/>
                </a:cubicBezTo>
                <a:cubicBezTo>
                  <a:pt x="2143849" y="266135"/>
                  <a:pt x="2133416" y="264452"/>
                  <a:pt x="2120964" y="264452"/>
                </a:cubicBezTo>
                <a:cubicBezTo>
                  <a:pt x="2111204" y="264452"/>
                  <a:pt x="2103126" y="267313"/>
                  <a:pt x="2096732" y="273034"/>
                </a:cubicBezTo>
                <a:cubicBezTo>
                  <a:pt x="2090338" y="278756"/>
                  <a:pt x="2087140" y="289694"/>
                  <a:pt x="2087140" y="305848"/>
                </a:cubicBezTo>
                <a:lnTo>
                  <a:pt x="2087140" y="563309"/>
                </a:lnTo>
                <a:close/>
                <a:moveTo>
                  <a:pt x="1607052" y="565833"/>
                </a:moveTo>
                <a:cubicBezTo>
                  <a:pt x="1594263" y="565833"/>
                  <a:pt x="1581811" y="564234"/>
                  <a:pt x="1569695" y="561037"/>
                </a:cubicBezTo>
                <a:cubicBezTo>
                  <a:pt x="1557579" y="557840"/>
                  <a:pt x="1546810" y="552455"/>
                  <a:pt x="1537386" y="544883"/>
                </a:cubicBezTo>
                <a:cubicBezTo>
                  <a:pt x="1527963" y="537310"/>
                  <a:pt x="1520474" y="527214"/>
                  <a:pt x="1514921" y="514593"/>
                </a:cubicBezTo>
                <a:cubicBezTo>
                  <a:pt x="1509368" y="501973"/>
                  <a:pt x="1506592" y="486071"/>
                  <a:pt x="1506592" y="466887"/>
                </a:cubicBezTo>
                <a:lnTo>
                  <a:pt x="1506592" y="453257"/>
                </a:lnTo>
                <a:lnTo>
                  <a:pt x="1454595" y="453257"/>
                </a:lnTo>
                <a:lnTo>
                  <a:pt x="1454595" y="401765"/>
                </a:lnTo>
                <a:lnTo>
                  <a:pt x="1506592" y="401765"/>
                </a:lnTo>
                <a:lnTo>
                  <a:pt x="1506592" y="215989"/>
                </a:lnTo>
                <a:lnTo>
                  <a:pt x="1569190" y="215989"/>
                </a:lnTo>
                <a:lnTo>
                  <a:pt x="1569190" y="401765"/>
                </a:lnTo>
                <a:lnTo>
                  <a:pt x="1666621" y="401765"/>
                </a:lnTo>
                <a:lnTo>
                  <a:pt x="1666621" y="453257"/>
                </a:lnTo>
                <a:lnTo>
                  <a:pt x="1569190" y="453257"/>
                </a:lnTo>
                <a:lnTo>
                  <a:pt x="1569190" y="465878"/>
                </a:lnTo>
                <a:cubicBezTo>
                  <a:pt x="1569190" y="475974"/>
                  <a:pt x="1570368" y="484135"/>
                  <a:pt x="1572724" y="490362"/>
                </a:cubicBezTo>
                <a:cubicBezTo>
                  <a:pt x="1575080" y="496588"/>
                  <a:pt x="1578193" y="501384"/>
                  <a:pt x="1582063" y="504749"/>
                </a:cubicBezTo>
                <a:cubicBezTo>
                  <a:pt x="1585933" y="508115"/>
                  <a:pt x="1590477" y="510302"/>
                  <a:pt x="1595693" y="511312"/>
                </a:cubicBezTo>
                <a:cubicBezTo>
                  <a:pt x="1600910" y="512322"/>
                  <a:pt x="1606379" y="512826"/>
                  <a:pt x="1612100" y="512826"/>
                </a:cubicBezTo>
                <a:cubicBezTo>
                  <a:pt x="1622533" y="512826"/>
                  <a:pt x="1633555" y="511396"/>
                  <a:pt x="1645166" y="508535"/>
                </a:cubicBezTo>
                <a:cubicBezTo>
                  <a:pt x="1656777" y="505675"/>
                  <a:pt x="1666453" y="502898"/>
                  <a:pt x="1674194" y="500206"/>
                </a:cubicBezTo>
                <a:lnTo>
                  <a:pt x="1684795" y="550688"/>
                </a:lnTo>
                <a:cubicBezTo>
                  <a:pt x="1673689" y="556073"/>
                  <a:pt x="1661236" y="559943"/>
                  <a:pt x="1647438" y="562299"/>
                </a:cubicBezTo>
                <a:cubicBezTo>
                  <a:pt x="1633639" y="564655"/>
                  <a:pt x="1620178" y="565833"/>
                  <a:pt x="1607052" y="565833"/>
                </a:cubicBezTo>
                <a:close/>
                <a:moveTo>
                  <a:pt x="0" y="796029"/>
                </a:moveTo>
                <a:lnTo>
                  <a:pt x="4876802" y="796029"/>
                </a:lnTo>
                <a:lnTo>
                  <a:pt x="4824822" y="344498"/>
                </a:lnTo>
                <a:cubicBezTo>
                  <a:pt x="4801968" y="145891"/>
                  <a:pt x="4682292" y="207"/>
                  <a:pt x="4541980" y="155"/>
                </a:cubicBezTo>
                <a:lnTo>
                  <a:pt x="0" y="0"/>
                </a:lnTo>
                <a:close/>
              </a:path>
            </a:pathLst>
          </a:custGeom>
          <a:solidFill>
            <a:schemeClr val="tx2"/>
          </a:solidFill>
          <a:ln w="2834" cap="flat">
            <a:noFill/>
            <a:prstDash val="solid"/>
            <a:miter/>
          </a:ln>
        </p:spPr>
        <p:txBody>
          <a:bodyPr wrap="square" rtlCol="0" anchor="ctr">
            <a:noAutofit/>
          </a:bodyPr>
          <a:lstStyle/>
          <a:p>
            <a:endParaRPr lang="en-US"/>
          </a:p>
        </p:txBody>
      </p:sp>
    </p:spTree>
  </p:cSld>
  <p:clrMap bg1="lt1" tx1="dk1" bg2="lt2" tx2="dk2" accent1="accent1" accent2="accent2" accent3="accent3" accent4="accent4" accent5="accent5" accent6="accent6" hlink="hlink" folHlink="folHlink"/>
  <p:sldLayoutIdLst>
    <p:sldLayoutId id="2147483662" r:id="rId1"/>
    <p:sldLayoutId id="2147484014" r:id="rId2"/>
    <p:sldLayoutId id="2147483967" r:id="rId3"/>
    <p:sldLayoutId id="2147483968" r:id="rId4"/>
    <p:sldLayoutId id="2147483930" r:id="rId5"/>
    <p:sldLayoutId id="2147483971" r:id="rId6"/>
    <p:sldLayoutId id="2147483931" r:id="rId7"/>
    <p:sldLayoutId id="2147483932" r:id="rId8"/>
    <p:sldLayoutId id="2147483933" r:id="rId9"/>
    <p:sldLayoutId id="2147483935" r:id="rId10"/>
    <p:sldLayoutId id="2147483937" r:id="rId11"/>
    <p:sldLayoutId id="2147483972" r:id="rId12"/>
    <p:sldLayoutId id="2147483974" r:id="rId13"/>
    <p:sldLayoutId id="2147483938" r:id="rId14"/>
    <p:sldLayoutId id="2147483934" r:id="rId15"/>
    <p:sldLayoutId id="2147483893" r:id="rId16"/>
    <p:sldLayoutId id="2147483920" r:id="rId17"/>
    <p:sldLayoutId id="2147483992" r:id="rId18"/>
    <p:sldLayoutId id="2147484012" r:id="rId19"/>
    <p:sldLayoutId id="2147484011" r:id="rId20"/>
    <p:sldLayoutId id="2147484015" r:id="rId21"/>
    <p:sldLayoutId id="2147484168" r:id="rId22"/>
  </p:sldLayoutIdLst>
  <p:hf hdr="0" dt="0"/>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592857"/>
      </p:ext>
    </p:extLst>
  </p:cSld>
  <p:clrMap bg1="lt1" tx1="dk1" bg2="lt2" tx2="dk2" accent1="accent1" accent2="accent2" accent3="accent3" accent4="accent4" accent5="accent5" accent6="accent6" hlink="hlink" folHlink="folHlink"/>
  <p:sldLayoutIdLst>
    <p:sldLayoutId id="2147484127" r:id="rId1"/>
    <p:sldLayoutId id="2147484128" r:id="rId2"/>
    <p:sldLayoutId id="2147484129" r:id="rId3"/>
    <p:sldLayoutId id="2147484130" r:id="rId4"/>
    <p:sldLayoutId id="2147484131" r:id="rId5"/>
    <p:sldLayoutId id="2147484132" r:id="rId6"/>
    <p:sldLayoutId id="2147484133" r:id="rId7"/>
    <p:sldLayoutId id="2147484134" r:id="rId8"/>
    <p:sldLayoutId id="2147484135" r:id="rId9"/>
    <p:sldLayoutId id="2147484136" r:id="rId10"/>
    <p:sldLayoutId id="2147484137" r:id="rId11"/>
    <p:sldLayoutId id="2147484138" r:id="rId12"/>
    <p:sldLayoutId id="2147484139" r:id="rId13"/>
  </p:sldLayoutIdLst>
  <p:hf sldNum="0" hdr="0" ftr="0"/>
  <p:txStyles>
    <p:titleStyle>
      <a:lvl1pPr algn="l" defTabSz="1507846" rtl="0" eaLnBrk="1" latinLnBrk="0" hangingPunct="1">
        <a:lnSpc>
          <a:spcPts val="4947"/>
        </a:lnSpc>
        <a:spcBef>
          <a:spcPct val="0"/>
        </a:spcBef>
        <a:buNone/>
        <a:defRPr sz="4287"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1507846" rtl="0" eaLnBrk="1" latinLnBrk="0" hangingPunct="1">
        <a:lnSpc>
          <a:spcPct val="90000"/>
        </a:lnSpc>
        <a:spcBef>
          <a:spcPts val="1649"/>
        </a:spcBef>
        <a:buFont typeface="Arial" panose="020B0604020202020204" pitchFamily="34" charset="0"/>
        <a:buNone/>
        <a:defRPr sz="2968"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130884" indent="-376961" algn="l" defTabSz="1507846" rtl="0" eaLnBrk="1" latinLnBrk="0" hangingPunct="1">
        <a:lnSpc>
          <a:spcPct val="90000"/>
        </a:lnSpc>
        <a:spcBef>
          <a:spcPts val="824"/>
        </a:spcBef>
        <a:buFont typeface="Arial" panose="020B0604020202020204" pitchFamily="34" charset="0"/>
        <a:buChar char="•"/>
        <a:defRPr sz="2638"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884807" indent="-376961" algn="l" defTabSz="1507846" rtl="0" eaLnBrk="1" latinLnBrk="0" hangingPunct="1">
        <a:lnSpc>
          <a:spcPct val="90000"/>
        </a:lnSpc>
        <a:spcBef>
          <a:spcPts val="824"/>
        </a:spcBef>
        <a:buFont typeface="Arial" panose="020B0604020202020204" pitchFamily="34" charset="0"/>
        <a:buChar char="•"/>
        <a:defRPr sz="2309"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2638730" indent="-376961" algn="l" defTabSz="1507846" rtl="0" eaLnBrk="1" latinLnBrk="0" hangingPunct="1">
        <a:lnSpc>
          <a:spcPct val="90000"/>
        </a:lnSpc>
        <a:spcBef>
          <a:spcPts val="824"/>
        </a:spcBef>
        <a:buFont typeface="Arial" panose="020B0604020202020204" pitchFamily="34" charset="0"/>
        <a:buChar char="•"/>
        <a:defRPr sz="1979"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3392653" indent="-376961" algn="l" defTabSz="1507846" rtl="0" eaLnBrk="1" latinLnBrk="0" hangingPunct="1">
        <a:lnSpc>
          <a:spcPct val="90000"/>
        </a:lnSpc>
        <a:spcBef>
          <a:spcPts val="824"/>
        </a:spcBef>
        <a:buFont typeface="Arial" panose="020B0604020202020204" pitchFamily="34" charset="0"/>
        <a:buChar char="•"/>
        <a:defRPr sz="1979"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4146575" indent="-376961" algn="l" defTabSz="1507846"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6pPr>
      <a:lvl7pPr marL="4900498" indent="-376961" algn="l" defTabSz="1507846"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7pPr>
      <a:lvl8pPr marL="5654421" indent="-376961" algn="l" defTabSz="1507846"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8pPr>
      <a:lvl9pPr marL="6408344" indent="-376961" algn="l" defTabSz="1507846"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9pPr>
    </p:bodyStyle>
    <p:otherStyle>
      <a:defPPr>
        <a:defRPr lang="pt-PT"/>
      </a:defPPr>
      <a:lvl1pPr marL="0" algn="l" defTabSz="1507846" rtl="0" eaLnBrk="1" latinLnBrk="0" hangingPunct="1">
        <a:defRPr sz="2968" kern="1200">
          <a:solidFill>
            <a:schemeClr val="tx1"/>
          </a:solidFill>
          <a:latin typeface="+mn-lt"/>
          <a:ea typeface="+mn-ea"/>
          <a:cs typeface="+mn-cs"/>
        </a:defRPr>
      </a:lvl1pPr>
      <a:lvl2pPr marL="753923" algn="l" defTabSz="1507846" rtl="0" eaLnBrk="1" latinLnBrk="0" hangingPunct="1">
        <a:defRPr sz="2968" kern="1200">
          <a:solidFill>
            <a:schemeClr val="tx1"/>
          </a:solidFill>
          <a:latin typeface="+mn-lt"/>
          <a:ea typeface="+mn-ea"/>
          <a:cs typeface="+mn-cs"/>
        </a:defRPr>
      </a:lvl2pPr>
      <a:lvl3pPr marL="1507846" algn="l" defTabSz="1507846" rtl="0" eaLnBrk="1" latinLnBrk="0" hangingPunct="1">
        <a:defRPr sz="2968" kern="1200">
          <a:solidFill>
            <a:schemeClr val="tx1"/>
          </a:solidFill>
          <a:latin typeface="+mn-lt"/>
          <a:ea typeface="+mn-ea"/>
          <a:cs typeface="+mn-cs"/>
        </a:defRPr>
      </a:lvl3pPr>
      <a:lvl4pPr marL="2261768" algn="l" defTabSz="1507846" rtl="0" eaLnBrk="1" latinLnBrk="0" hangingPunct="1">
        <a:defRPr sz="2968" kern="1200">
          <a:solidFill>
            <a:schemeClr val="tx1"/>
          </a:solidFill>
          <a:latin typeface="+mn-lt"/>
          <a:ea typeface="+mn-ea"/>
          <a:cs typeface="+mn-cs"/>
        </a:defRPr>
      </a:lvl4pPr>
      <a:lvl5pPr marL="3015691" algn="l" defTabSz="1507846" rtl="0" eaLnBrk="1" latinLnBrk="0" hangingPunct="1">
        <a:defRPr sz="2968" kern="1200">
          <a:solidFill>
            <a:schemeClr val="tx1"/>
          </a:solidFill>
          <a:latin typeface="+mn-lt"/>
          <a:ea typeface="+mn-ea"/>
          <a:cs typeface="+mn-cs"/>
        </a:defRPr>
      </a:lvl5pPr>
      <a:lvl6pPr marL="3769614" algn="l" defTabSz="1507846" rtl="0" eaLnBrk="1" latinLnBrk="0" hangingPunct="1">
        <a:defRPr sz="2968" kern="1200">
          <a:solidFill>
            <a:schemeClr val="tx1"/>
          </a:solidFill>
          <a:latin typeface="+mn-lt"/>
          <a:ea typeface="+mn-ea"/>
          <a:cs typeface="+mn-cs"/>
        </a:defRPr>
      </a:lvl6pPr>
      <a:lvl7pPr marL="4523537" algn="l" defTabSz="1507846" rtl="0" eaLnBrk="1" latinLnBrk="0" hangingPunct="1">
        <a:defRPr sz="2968" kern="1200">
          <a:solidFill>
            <a:schemeClr val="tx1"/>
          </a:solidFill>
          <a:latin typeface="+mn-lt"/>
          <a:ea typeface="+mn-ea"/>
          <a:cs typeface="+mn-cs"/>
        </a:defRPr>
      </a:lvl7pPr>
      <a:lvl8pPr marL="5277460" algn="l" defTabSz="1507846" rtl="0" eaLnBrk="1" latinLnBrk="0" hangingPunct="1">
        <a:defRPr sz="2968" kern="1200">
          <a:solidFill>
            <a:schemeClr val="tx1"/>
          </a:solidFill>
          <a:latin typeface="+mn-lt"/>
          <a:ea typeface="+mn-ea"/>
          <a:cs typeface="+mn-cs"/>
        </a:defRPr>
      </a:lvl8pPr>
      <a:lvl9pPr marL="6031382" algn="l" defTabSz="1507846" rtl="0" eaLnBrk="1" latinLnBrk="0" hangingPunct="1">
        <a:defRPr sz="296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65">
          <p15:clr>
            <a:srgbClr val="F26B43"/>
          </p15:clr>
        </p15:guide>
        <p15:guide id="2" pos="257">
          <p15:clr>
            <a:srgbClr val="F26B43"/>
          </p15:clr>
        </p15:guide>
        <p15:guide id="3" pos="7423">
          <p15:clr>
            <a:srgbClr val="F26B43"/>
          </p15:clr>
        </p15:guide>
        <p15:guide id="4" orient="horz" pos="25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672755" y="668692"/>
            <a:ext cx="18165921" cy="1426541"/>
          </a:xfrm>
          <a:prstGeom prst="rect">
            <a:avLst/>
          </a:prstGeom>
        </p:spPr>
        <p:txBody>
          <a:bodyPr vert="horz" lIns="0" tIns="0" rIns="0" bIns="0" rtlCol="0" anchor="t">
            <a:normAutofit/>
          </a:bodyPr>
          <a:lstStyle/>
          <a:p>
            <a:pPr lvl="0">
              <a:lnSpc>
                <a:spcPts val="4947"/>
              </a:lnSpc>
            </a:pPr>
            <a:r>
              <a:rPr lang="en-US"/>
              <a:t>Click to edit Master title style</a:t>
            </a:r>
            <a:endParaRPr lang="pt-PT"/>
          </a:p>
        </p:txBody>
      </p:sp>
      <p:grpSp>
        <p:nvGrpSpPr>
          <p:cNvPr id="3" name="Group 2"/>
          <p:cNvGrpSpPr/>
          <p:nvPr userDrawn="1"/>
        </p:nvGrpSpPr>
        <p:grpSpPr>
          <a:xfrm rot="5400000">
            <a:off x="19596582" y="1462569"/>
            <a:ext cx="2847325" cy="567789"/>
            <a:chOff x="12496801" y="706628"/>
            <a:chExt cx="2975350" cy="594360"/>
          </a:xfrm>
        </p:grpSpPr>
        <p:sp>
          <p:nvSpPr>
            <p:cNvPr id="5" name="Rectangle 4"/>
            <p:cNvSpPr/>
            <p:nvPr userDrawn="1"/>
          </p:nvSpPr>
          <p:spPr>
            <a:xfrm>
              <a:off x="12496801" y="706628"/>
              <a:ext cx="595070" cy="5943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660"/>
                </a:spcAft>
              </a:pPr>
              <a:endParaRPr lang="en-US" sz="989"/>
            </a:p>
          </p:txBody>
        </p:sp>
        <p:sp>
          <p:nvSpPr>
            <p:cNvPr id="6" name="Rectangle 5"/>
            <p:cNvSpPr/>
            <p:nvPr userDrawn="1"/>
          </p:nvSpPr>
          <p:spPr>
            <a:xfrm>
              <a:off x="13091871" y="706628"/>
              <a:ext cx="595070" cy="5943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660"/>
                </a:spcAft>
              </a:pPr>
              <a:endParaRPr lang="en-US" sz="989"/>
            </a:p>
          </p:txBody>
        </p:sp>
        <p:sp>
          <p:nvSpPr>
            <p:cNvPr id="7" name="Rectangle 6"/>
            <p:cNvSpPr/>
            <p:nvPr userDrawn="1"/>
          </p:nvSpPr>
          <p:spPr>
            <a:xfrm>
              <a:off x="13686941" y="706628"/>
              <a:ext cx="595070" cy="5943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660"/>
                </a:spcAft>
              </a:pPr>
              <a:endParaRPr lang="en-US" sz="989"/>
            </a:p>
          </p:txBody>
        </p:sp>
        <p:sp>
          <p:nvSpPr>
            <p:cNvPr id="8" name="Rectangle 7"/>
            <p:cNvSpPr/>
            <p:nvPr userDrawn="1"/>
          </p:nvSpPr>
          <p:spPr>
            <a:xfrm>
              <a:off x="14282011" y="706628"/>
              <a:ext cx="595070" cy="5943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660"/>
                </a:spcAft>
              </a:pPr>
              <a:endParaRPr lang="en-US" sz="989"/>
            </a:p>
          </p:txBody>
        </p:sp>
        <p:sp>
          <p:nvSpPr>
            <p:cNvPr id="10" name="Rectangle 9"/>
            <p:cNvSpPr/>
            <p:nvPr userDrawn="1"/>
          </p:nvSpPr>
          <p:spPr>
            <a:xfrm>
              <a:off x="14877081" y="706628"/>
              <a:ext cx="595070" cy="5943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660"/>
                </a:spcAft>
              </a:pPr>
              <a:endParaRPr lang="en-US" sz="989"/>
            </a:p>
          </p:txBody>
        </p:sp>
      </p:grpSp>
      <p:sp>
        <p:nvSpPr>
          <p:cNvPr id="26" name="Rectangle 25"/>
          <p:cNvSpPr/>
          <p:nvPr userDrawn="1"/>
        </p:nvSpPr>
        <p:spPr>
          <a:xfrm rot="16200000">
            <a:off x="19326465" y="7184615"/>
            <a:ext cx="2306722" cy="2537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marL="0" marR="0" lvl="0" indent="0" algn="l" defTabSz="1507846" rtl="0" eaLnBrk="1" fontAlgn="auto" latinLnBrk="0" hangingPunct="1">
              <a:lnSpc>
                <a:spcPct val="100000"/>
              </a:lnSpc>
              <a:spcBef>
                <a:spcPts val="0"/>
              </a:spcBef>
              <a:spcAft>
                <a:spcPts val="0"/>
              </a:spcAft>
              <a:buClrTx/>
              <a:buSzTx/>
              <a:buFontTx/>
              <a:buNone/>
              <a:tabLst/>
              <a:defRPr/>
            </a:pPr>
            <a:r>
              <a:rPr lang="en-US" sz="1649" b="1">
                <a:solidFill>
                  <a:schemeClr val="tx2"/>
                </a:solidFill>
              </a:rPr>
              <a:t>Infographic Palette</a:t>
            </a:r>
          </a:p>
        </p:txBody>
      </p:sp>
      <p:grpSp>
        <p:nvGrpSpPr>
          <p:cNvPr id="64" name="Group 63"/>
          <p:cNvGrpSpPr/>
          <p:nvPr userDrawn="1"/>
        </p:nvGrpSpPr>
        <p:grpSpPr>
          <a:xfrm>
            <a:off x="20736348" y="3329516"/>
            <a:ext cx="572967" cy="7963984"/>
            <a:chOff x="12575423" y="2604463"/>
            <a:chExt cx="347472" cy="4821246"/>
          </a:xfrm>
        </p:grpSpPr>
        <p:sp>
          <p:nvSpPr>
            <p:cNvPr id="11" name="Rectangle 10"/>
            <p:cNvSpPr/>
            <p:nvPr userDrawn="1"/>
          </p:nvSpPr>
          <p:spPr>
            <a:xfrm>
              <a:off x="12575423" y="2604463"/>
              <a:ext cx="347472" cy="347472"/>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96859">
                <a:spcAft>
                  <a:spcPts val="660"/>
                </a:spcAft>
              </a:pPr>
              <a:endParaRPr lang="en-US" sz="989"/>
            </a:p>
          </p:txBody>
        </p:sp>
        <p:sp>
          <p:nvSpPr>
            <p:cNvPr id="12" name="Rectangle 11"/>
            <p:cNvSpPr/>
            <p:nvPr userDrawn="1"/>
          </p:nvSpPr>
          <p:spPr>
            <a:xfrm>
              <a:off x="12575423" y="2951375"/>
              <a:ext cx="347472" cy="347472"/>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96859">
                <a:spcAft>
                  <a:spcPts val="660"/>
                </a:spcAft>
              </a:pPr>
              <a:endParaRPr lang="en-US" sz="989"/>
            </a:p>
          </p:txBody>
        </p:sp>
        <p:sp>
          <p:nvSpPr>
            <p:cNvPr id="15" name="Rectangle 14"/>
            <p:cNvSpPr/>
            <p:nvPr userDrawn="1"/>
          </p:nvSpPr>
          <p:spPr>
            <a:xfrm>
              <a:off x="12575423" y="4334164"/>
              <a:ext cx="347472" cy="347472"/>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660"/>
                </a:spcAft>
              </a:pPr>
              <a:endParaRPr lang="en-US" sz="989"/>
            </a:p>
          </p:txBody>
        </p:sp>
        <p:sp>
          <p:nvSpPr>
            <p:cNvPr id="16" name="Rectangle 15"/>
            <p:cNvSpPr/>
            <p:nvPr userDrawn="1"/>
          </p:nvSpPr>
          <p:spPr>
            <a:xfrm>
              <a:off x="12575423" y="5710816"/>
              <a:ext cx="347472" cy="347472"/>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660"/>
                </a:spcAft>
              </a:pPr>
              <a:endParaRPr lang="en-US" sz="989"/>
            </a:p>
          </p:txBody>
        </p:sp>
        <p:sp>
          <p:nvSpPr>
            <p:cNvPr id="18" name="Rectangle 17"/>
            <p:cNvSpPr/>
            <p:nvPr userDrawn="1"/>
          </p:nvSpPr>
          <p:spPr>
            <a:xfrm>
              <a:off x="12575423" y="6048324"/>
              <a:ext cx="347472" cy="347472"/>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660"/>
                </a:spcAft>
              </a:pPr>
              <a:endParaRPr lang="en-US" sz="989"/>
            </a:p>
          </p:txBody>
        </p:sp>
        <p:sp>
          <p:nvSpPr>
            <p:cNvPr id="19" name="Rectangle 18"/>
            <p:cNvSpPr/>
            <p:nvPr userDrawn="1"/>
          </p:nvSpPr>
          <p:spPr>
            <a:xfrm>
              <a:off x="12575423" y="7078237"/>
              <a:ext cx="347472" cy="347472"/>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660"/>
                </a:spcAft>
              </a:pPr>
              <a:endParaRPr lang="en-US" sz="989"/>
            </a:p>
          </p:txBody>
        </p:sp>
        <p:sp>
          <p:nvSpPr>
            <p:cNvPr id="20" name="Rectangle 19"/>
            <p:cNvSpPr/>
            <p:nvPr userDrawn="1"/>
          </p:nvSpPr>
          <p:spPr>
            <a:xfrm>
              <a:off x="12575423" y="6735214"/>
              <a:ext cx="347472" cy="347472"/>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660"/>
                </a:spcAft>
              </a:pPr>
              <a:endParaRPr lang="en-US" sz="989"/>
            </a:p>
          </p:txBody>
        </p:sp>
        <p:sp>
          <p:nvSpPr>
            <p:cNvPr id="21" name="Rectangle 20"/>
            <p:cNvSpPr/>
            <p:nvPr userDrawn="1"/>
          </p:nvSpPr>
          <p:spPr>
            <a:xfrm>
              <a:off x="12575423" y="6391347"/>
              <a:ext cx="347472" cy="347472"/>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660"/>
                </a:spcAft>
              </a:pPr>
              <a:endParaRPr lang="en-US" sz="989"/>
            </a:p>
          </p:txBody>
        </p:sp>
        <p:sp>
          <p:nvSpPr>
            <p:cNvPr id="22" name="Rectangle 21"/>
            <p:cNvSpPr/>
            <p:nvPr userDrawn="1"/>
          </p:nvSpPr>
          <p:spPr>
            <a:xfrm>
              <a:off x="12575423" y="4679467"/>
              <a:ext cx="347472" cy="347472"/>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660"/>
                </a:spcAft>
              </a:pPr>
              <a:endParaRPr lang="en-US" sz="989"/>
            </a:p>
          </p:txBody>
        </p:sp>
        <p:sp>
          <p:nvSpPr>
            <p:cNvPr id="23" name="Rectangle 22"/>
            <p:cNvSpPr/>
            <p:nvPr userDrawn="1"/>
          </p:nvSpPr>
          <p:spPr>
            <a:xfrm>
              <a:off x="12575423" y="5022490"/>
              <a:ext cx="347472" cy="347472"/>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660"/>
                </a:spcAft>
              </a:pPr>
              <a:endParaRPr lang="en-US" sz="989"/>
            </a:p>
          </p:txBody>
        </p:sp>
        <p:sp>
          <p:nvSpPr>
            <p:cNvPr id="24" name="Rectangle 23"/>
            <p:cNvSpPr/>
            <p:nvPr userDrawn="1"/>
          </p:nvSpPr>
          <p:spPr>
            <a:xfrm>
              <a:off x="12575423" y="5367793"/>
              <a:ext cx="347472" cy="34747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660"/>
                </a:spcAft>
              </a:pPr>
              <a:endParaRPr lang="en-US" sz="989"/>
            </a:p>
          </p:txBody>
        </p:sp>
        <p:sp>
          <p:nvSpPr>
            <p:cNvPr id="14" name="Rectangle 13"/>
            <p:cNvSpPr/>
            <p:nvPr userDrawn="1"/>
          </p:nvSpPr>
          <p:spPr>
            <a:xfrm>
              <a:off x="12575423" y="3298847"/>
              <a:ext cx="347472" cy="347472"/>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660"/>
                </a:spcAft>
              </a:pPr>
              <a:endParaRPr lang="en-US" sz="989"/>
            </a:p>
          </p:txBody>
        </p:sp>
        <p:sp>
          <p:nvSpPr>
            <p:cNvPr id="17" name="Rectangle 16"/>
            <p:cNvSpPr/>
            <p:nvPr userDrawn="1"/>
          </p:nvSpPr>
          <p:spPr>
            <a:xfrm>
              <a:off x="12575423" y="3644150"/>
              <a:ext cx="347472" cy="347472"/>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660"/>
                </a:spcAft>
              </a:pPr>
              <a:endParaRPr lang="en-US" sz="989"/>
            </a:p>
          </p:txBody>
        </p:sp>
        <p:sp>
          <p:nvSpPr>
            <p:cNvPr id="28" name="Rectangle 27"/>
            <p:cNvSpPr/>
            <p:nvPr userDrawn="1"/>
          </p:nvSpPr>
          <p:spPr>
            <a:xfrm>
              <a:off x="12575423" y="3987173"/>
              <a:ext cx="347472" cy="347472"/>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660"/>
                </a:spcAft>
              </a:pPr>
              <a:endParaRPr lang="en-US" sz="989"/>
            </a:p>
          </p:txBody>
        </p:sp>
      </p:grpSp>
      <p:sp>
        <p:nvSpPr>
          <p:cNvPr id="60" name="Rectangle 59"/>
          <p:cNvSpPr/>
          <p:nvPr userDrawn="1"/>
        </p:nvSpPr>
        <p:spPr>
          <a:xfrm rot="16200000">
            <a:off x="20008543" y="1538226"/>
            <a:ext cx="942566" cy="2537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649" b="1">
                <a:solidFill>
                  <a:schemeClr val="tx2"/>
                </a:solidFill>
              </a:rPr>
              <a:t>Primary</a:t>
            </a:r>
          </a:p>
        </p:txBody>
      </p:sp>
    </p:spTree>
    <p:extLst>
      <p:ext uri="{BB962C8B-B14F-4D97-AF65-F5344CB8AC3E}">
        <p14:creationId xmlns:p14="http://schemas.microsoft.com/office/powerpoint/2010/main" val="2400992421"/>
      </p:ext>
    </p:extLst>
  </p:cSld>
  <p:clrMap bg1="lt1" tx1="dk1" bg2="lt2" tx2="dk2" accent1="accent1" accent2="accent2" accent3="accent3" accent4="accent4" accent5="accent5" accent6="accent6" hlink="hlink" folHlink="folHlink"/>
  <p:sldLayoutIdLst>
    <p:sldLayoutId id="2147484141" r:id="rId1"/>
    <p:sldLayoutId id="2147484142" r:id="rId2"/>
    <p:sldLayoutId id="2147484143" r:id="rId3"/>
    <p:sldLayoutId id="2147484144" r:id="rId4"/>
    <p:sldLayoutId id="2147484145" r:id="rId5"/>
    <p:sldLayoutId id="2147484146" r:id="rId6"/>
    <p:sldLayoutId id="2147484147" r:id="rId7"/>
    <p:sldLayoutId id="2147484148" r:id="rId8"/>
    <p:sldLayoutId id="2147484149" r:id="rId9"/>
    <p:sldLayoutId id="2147484150" r:id="rId10"/>
    <p:sldLayoutId id="2147484151" r:id="rId11"/>
    <p:sldLayoutId id="2147484152" r:id="rId12"/>
    <p:sldLayoutId id="2147484153" r:id="rId13"/>
    <p:sldLayoutId id="2147484154" r:id="rId14"/>
    <p:sldLayoutId id="2147484155" r:id="rId15"/>
    <p:sldLayoutId id="2147484156" r:id="rId16"/>
    <p:sldLayoutId id="2147484157" r:id="rId17"/>
    <p:sldLayoutId id="2147484158" r:id="rId18"/>
    <p:sldLayoutId id="2147484159" r:id="rId19"/>
    <p:sldLayoutId id="2147484160" r:id="rId20"/>
    <p:sldLayoutId id="2147484161" r:id="rId21"/>
    <p:sldLayoutId id="2147484162" r:id="rId22"/>
    <p:sldLayoutId id="2147484163" r:id="rId23"/>
    <p:sldLayoutId id="2147484164" r:id="rId24"/>
    <p:sldLayoutId id="2147484165" r:id="rId25"/>
    <p:sldLayoutId id="2147484166" r:id="rId26"/>
    <p:sldLayoutId id="2147484167" r:id="rId27"/>
  </p:sldLayoutIdLst>
  <p:txStyles>
    <p:titleStyle>
      <a:lvl1pPr algn="l" defTabSz="1507846" rtl="0" eaLnBrk="1" latinLnBrk="0" hangingPunct="1">
        <a:lnSpc>
          <a:spcPct val="90000"/>
        </a:lnSpc>
        <a:spcBef>
          <a:spcPct val="0"/>
        </a:spcBef>
        <a:buNone/>
        <a:defRPr lang="pt-PT" sz="4287" b="1" i="0" kern="1200">
          <a:solidFill>
            <a:schemeClr val="tx2"/>
          </a:solidFill>
          <a:latin typeface="Ubuntu" panose="020B0504030602030204" pitchFamily="34" charset="0"/>
          <a:ea typeface="Verdana" panose="020B0604030504040204" pitchFamily="34" charset="0"/>
          <a:cs typeface="Verdana" panose="020B0604030504040204" pitchFamily="34" charset="0"/>
        </a:defRPr>
      </a:lvl1pPr>
    </p:titleStyle>
    <p:bodyStyle>
      <a:lvl1pPr marL="0" indent="0" algn="l" defTabSz="1507846" rtl="0" eaLnBrk="1" latinLnBrk="0" hangingPunct="1">
        <a:lnSpc>
          <a:spcPts val="3628"/>
        </a:lnSpc>
        <a:spcBef>
          <a:spcPts val="0"/>
        </a:spcBef>
        <a:spcAft>
          <a:spcPts val="989"/>
        </a:spcAft>
        <a:buFont typeface="Arial" panose="020B0604020202020204" pitchFamily="34" charset="0"/>
        <a:buNone/>
        <a:defRPr sz="2968" kern="1200">
          <a:solidFill>
            <a:schemeClr val="tx1"/>
          </a:solidFill>
          <a:latin typeface="+mn-lt"/>
          <a:ea typeface="+mn-ea"/>
          <a:cs typeface="+mn-cs"/>
        </a:defRPr>
      </a:lvl1pPr>
      <a:lvl2pPr marL="384816" indent="-376961" algn="l" defTabSz="1507846" rtl="0" eaLnBrk="1" latinLnBrk="0" hangingPunct="1">
        <a:lnSpc>
          <a:spcPts val="3298"/>
        </a:lnSpc>
        <a:spcBef>
          <a:spcPts val="0"/>
        </a:spcBef>
        <a:spcAft>
          <a:spcPts val="989"/>
        </a:spcAft>
        <a:buClr>
          <a:schemeClr val="accent1"/>
        </a:buClr>
        <a:buFont typeface="Wingdings" panose="05000000000000000000" pitchFamily="2" charset="2"/>
        <a:buChar char="§"/>
        <a:defRPr sz="2638" kern="1200">
          <a:solidFill>
            <a:schemeClr val="tx1"/>
          </a:solidFill>
          <a:latin typeface="+mn-lt"/>
          <a:ea typeface="+mn-ea"/>
          <a:cs typeface="+mn-cs"/>
        </a:defRPr>
      </a:lvl2pPr>
      <a:lvl3pPr marL="753923" indent="-369109" algn="l" defTabSz="1507846" rtl="0" eaLnBrk="1" latinLnBrk="0" hangingPunct="1">
        <a:lnSpc>
          <a:spcPts val="2638"/>
        </a:lnSpc>
        <a:spcBef>
          <a:spcPts val="0"/>
        </a:spcBef>
        <a:spcAft>
          <a:spcPts val="989"/>
        </a:spcAft>
        <a:buClr>
          <a:schemeClr val="accent1"/>
        </a:buClr>
        <a:buFont typeface="Arial" panose="020B0604020202020204" pitchFamily="34" charset="0"/>
        <a:buChar char="•"/>
        <a:defRPr sz="2309" kern="1200">
          <a:solidFill>
            <a:schemeClr val="tx1"/>
          </a:solidFill>
          <a:latin typeface="+mn-lt"/>
          <a:ea typeface="+mn-ea"/>
          <a:cs typeface="+mn-cs"/>
        </a:defRPr>
      </a:lvl3pPr>
      <a:lvl4pPr marL="1138738" indent="-384816" algn="l" defTabSz="1507846" rtl="0" eaLnBrk="1" latinLnBrk="0" hangingPunct="1">
        <a:lnSpc>
          <a:spcPct val="90000"/>
        </a:lnSpc>
        <a:spcBef>
          <a:spcPts val="0"/>
        </a:spcBef>
        <a:spcAft>
          <a:spcPts val="989"/>
        </a:spcAft>
        <a:buClr>
          <a:schemeClr val="accent1"/>
        </a:buClr>
        <a:buFont typeface="Arial" panose="020B0604020202020204" pitchFamily="34" charset="0"/>
        <a:buChar char="‒"/>
        <a:defRPr sz="1979" kern="1200">
          <a:solidFill>
            <a:schemeClr val="tx1"/>
          </a:solidFill>
          <a:latin typeface="+mn-lt"/>
          <a:ea typeface="+mn-ea"/>
          <a:cs typeface="+mn-cs"/>
        </a:defRPr>
      </a:lvl4pPr>
      <a:lvl5pPr marL="3392653" indent="-376961" algn="l" defTabSz="1507846" rtl="0" eaLnBrk="1" latinLnBrk="0" hangingPunct="1">
        <a:lnSpc>
          <a:spcPct val="90000"/>
        </a:lnSpc>
        <a:spcBef>
          <a:spcPts val="824"/>
        </a:spcBef>
        <a:buFont typeface="Arial" panose="020B0604020202020204" pitchFamily="34" charset="0"/>
        <a:buChar char="•"/>
        <a:defRPr sz="2309" kern="1200">
          <a:solidFill>
            <a:schemeClr val="tx1"/>
          </a:solidFill>
          <a:latin typeface="+mn-lt"/>
          <a:ea typeface="+mn-ea"/>
          <a:cs typeface="+mn-cs"/>
        </a:defRPr>
      </a:lvl5pPr>
      <a:lvl6pPr marL="4146575" indent="-376961" algn="l" defTabSz="1507846"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6pPr>
      <a:lvl7pPr marL="4900498" indent="-376961" algn="l" defTabSz="1507846"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7pPr>
      <a:lvl8pPr marL="5654421" indent="-376961" algn="l" defTabSz="1507846"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8pPr>
      <a:lvl9pPr marL="6408344" indent="-376961" algn="l" defTabSz="1507846"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9pPr>
    </p:bodyStyle>
    <p:otherStyle>
      <a:defPPr>
        <a:defRPr lang="pt-PT"/>
      </a:defPPr>
      <a:lvl1pPr marL="0" algn="l" defTabSz="1507846" rtl="0" eaLnBrk="1" latinLnBrk="0" hangingPunct="1">
        <a:defRPr sz="2968" kern="1200">
          <a:solidFill>
            <a:schemeClr val="tx1"/>
          </a:solidFill>
          <a:latin typeface="+mn-lt"/>
          <a:ea typeface="+mn-ea"/>
          <a:cs typeface="+mn-cs"/>
        </a:defRPr>
      </a:lvl1pPr>
      <a:lvl2pPr marL="753923" algn="l" defTabSz="1507846" rtl="0" eaLnBrk="1" latinLnBrk="0" hangingPunct="1">
        <a:defRPr sz="2968" kern="1200">
          <a:solidFill>
            <a:schemeClr val="tx1"/>
          </a:solidFill>
          <a:latin typeface="+mn-lt"/>
          <a:ea typeface="+mn-ea"/>
          <a:cs typeface="+mn-cs"/>
        </a:defRPr>
      </a:lvl2pPr>
      <a:lvl3pPr marL="1507846" algn="l" defTabSz="1507846" rtl="0" eaLnBrk="1" latinLnBrk="0" hangingPunct="1">
        <a:defRPr sz="2968" kern="1200">
          <a:solidFill>
            <a:schemeClr val="tx1"/>
          </a:solidFill>
          <a:latin typeface="+mn-lt"/>
          <a:ea typeface="+mn-ea"/>
          <a:cs typeface="+mn-cs"/>
        </a:defRPr>
      </a:lvl3pPr>
      <a:lvl4pPr marL="2261768" algn="l" defTabSz="1507846" rtl="0" eaLnBrk="1" latinLnBrk="0" hangingPunct="1">
        <a:defRPr sz="2968" kern="1200">
          <a:solidFill>
            <a:schemeClr val="tx1"/>
          </a:solidFill>
          <a:latin typeface="+mn-lt"/>
          <a:ea typeface="+mn-ea"/>
          <a:cs typeface="+mn-cs"/>
        </a:defRPr>
      </a:lvl4pPr>
      <a:lvl5pPr marL="3015691" algn="l" defTabSz="1507846" rtl="0" eaLnBrk="1" latinLnBrk="0" hangingPunct="1">
        <a:defRPr sz="2968" kern="1200">
          <a:solidFill>
            <a:schemeClr val="tx1"/>
          </a:solidFill>
          <a:latin typeface="+mn-lt"/>
          <a:ea typeface="+mn-ea"/>
          <a:cs typeface="+mn-cs"/>
        </a:defRPr>
      </a:lvl5pPr>
      <a:lvl6pPr marL="3769614" algn="l" defTabSz="1507846" rtl="0" eaLnBrk="1" latinLnBrk="0" hangingPunct="1">
        <a:defRPr sz="2968" kern="1200">
          <a:solidFill>
            <a:schemeClr val="tx1"/>
          </a:solidFill>
          <a:latin typeface="+mn-lt"/>
          <a:ea typeface="+mn-ea"/>
          <a:cs typeface="+mn-cs"/>
        </a:defRPr>
      </a:lvl6pPr>
      <a:lvl7pPr marL="4523537" algn="l" defTabSz="1507846" rtl="0" eaLnBrk="1" latinLnBrk="0" hangingPunct="1">
        <a:defRPr sz="2968" kern="1200">
          <a:solidFill>
            <a:schemeClr val="tx1"/>
          </a:solidFill>
          <a:latin typeface="+mn-lt"/>
          <a:ea typeface="+mn-ea"/>
          <a:cs typeface="+mn-cs"/>
        </a:defRPr>
      </a:lvl7pPr>
      <a:lvl8pPr marL="5277460" algn="l" defTabSz="1507846" rtl="0" eaLnBrk="1" latinLnBrk="0" hangingPunct="1">
        <a:defRPr sz="2968" kern="1200">
          <a:solidFill>
            <a:schemeClr val="tx1"/>
          </a:solidFill>
          <a:latin typeface="+mn-lt"/>
          <a:ea typeface="+mn-ea"/>
          <a:cs typeface="+mn-cs"/>
        </a:defRPr>
      </a:lvl8pPr>
      <a:lvl9pPr marL="6031382" algn="l" defTabSz="1507846" rtl="0" eaLnBrk="1" latinLnBrk="0" hangingPunct="1">
        <a:defRPr sz="296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 name="Imagen 1" descr="Imagen que contiene luz, tráfico, calle, lluvioso&#10;&#10;Descripción generada automáticamente">
            <a:extLst>
              <a:ext uri="{FF2B5EF4-FFF2-40B4-BE49-F238E27FC236}">
                <a16:creationId xmlns:a16="http://schemas.microsoft.com/office/drawing/2014/main" id="{8EB8B2CC-FD55-820F-9834-02F300C4A7A9}"/>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0" y="0"/>
            <a:ext cx="20104100" cy="11328400"/>
          </a:xfrm>
          <a:prstGeom prst="rect">
            <a:avLst/>
          </a:prstGeom>
        </p:spPr>
      </p:pic>
      <p:sp>
        <p:nvSpPr>
          <p:cNvPr id="9" name="object 6">
            <a:extLst>
              <a:ext uri="{FF2B5EF4-FFF2-40B4-BE49-F238E27FC236}">
                <a16:creationId xmlns:a16="http://schemas.microsoft.com/office/drawing/2014/main" id="{227D794A-DC11-5BAA-8C1B-A66CEAFE6AF7}"/>
              </a:ext>
            </a:extLst>
          </p:cNvPr>
          <p:cNvSpPr txBox="1"/>
          <p:nvPr userDrawn="1"/>
        </p:nvSpPr>
        <p:spPr>
          <a:xfrm>
            <a:off x="1289050" y="1773212"/>
            <a:ext cx="7368307" cy="3739678"/>
          </a:xfrm>
          <a:prstGeom prst="rect">
            <a:avLst/>
          </a:prstGeom>
        </p:spPr>
        <p:txBody>
          <a:bodyPr vert="horz" wrap="square" lIns="0" tIns="12065" rIns="0" bIns="0" rtlCol="0">
            <a:spAutoFit/>
          </a:bodyPr>
          <a:lstStyle/>
          <a:p>
            <a:pPr marL="12700" marR="5080"/>
            <a:r>
              <a:rPr lang="es-ES" sz="6600">
                <a:solidFill>
                  <a:srgbClr val="12A9D8"/>
                </a:solidFill>
                <a:latin typeface="Ubuntu" panose="020B0504030602030204" pitchFamily="34" charset="0"/>
                <a:cs typeface="Ubuntu Light"/>
              </a:rPr>
              <a:t>Flourishing</a:t>
            </a:r>
            <a:r>
              <a:rPr lang="es-ES" sz="6600" b="1">
                <a:solidFill>
                  <a:srgbClr val="FFFFFF"/>
                </a:solidFill>
                <a:latin typeface="Ubuntu" panose="020B0504030602030204" pitchFamily="34" charset="0"/>
                <a:cs typeface="Ubuntu Light"/>
              </a:rPr>
              <a:t> </a:t>
            </a:r>
          </a:p>
          <a:p>
            <a:pPr marL="12700" marR="5080"/>
            <a:r>
              <a:rPr lang="es-ES" sz="6600" b="1">
                <a:solidFill>
                  <a:srgbClr val="FFFFFF"/>
                </a:solidFill>
                <a:latin typeface="Ubuntu" panose="020B0504030602030204" pitchFamily="34" charset="0"/>
                <a:cs typeface="Ubuntu Light"/>
              </a:rPr>
              <a:t>Digital Business With Quality</a:t>
            </a:r>
          </a:p>
          <a:p>
            <a:pPr marL="12700" marR="5080">
              <a:lnSpc>
                <a:spcPct val="109400"/>
              </a:lnSpc>
              <a:spcBef>
                <a:spcPts val="95"/>
              </a:spcBef>
            </a:pPr>
            <a:r>
              <a:rPr lang="es-ES" sz="4400">
                <a:solidFill>
                  <a:srgbClr val="12A9D8"/>
                </a:solidFill>
                <a:latin typeface="Ubuntu Light" panose="020B0304030602030204" pitchFamily="34" charset="0"/>
                <a:cs typeface="Ubuntu Light"/>
              </a:rPr>
              <a:t>by Sogeti España</a:t>
            </a:r>
            <a:endParaRPr sz="4400">
              <a:solidFill>
                <a:srgbClr val="12A9D8"/>
              </a:solidFill>
              <a:latin typeface="Ubuntu Light" panose="020B0304030602030204" pitchFamily="34" charset="0"/>
              <a:cs typeface="Ubuntu Light"/>
            </a:endParaRPr>
          </a:p>
        </p:txBody>
      </p:sp>
      <p:sp>
        <p:nvSpPr>
          <p:cNvPr id="10" name="object 6">
            <a:extLst>
              <a:ext uri="{FF2B5EF4-FFF2-40B4-BE49-F238E27FC236}">
                <a16:creationId xmlns:a16="http://schemas.microsoft.com/office/drawing/2014/main" id="{973498C8-5A57-DAC6-0EBF-645CFF65D263}"/>
              </a:ext>
            </a:extLst>
          </p:cNvPr>
          <p:cNvSpPr txBox="1"/>
          <p:nvPr userDrawn="1"/>
        </p:nvSpPr>
        <p:spPr>
          <a:xfrm>
            <a:off x="1289050" y="7512178"/>
            <a:ext cx="7368307" cy="350737"/>
          </a:xfrm>
          <a:prstGeom prst="rect">
            <a:avLst/>
          </a:prstGeom>
        </p:spPr>
        <p:txBody>
          <a:bodyPr vert="horz" wrap="square" lIns="0" tIns="12065" rIns="0" bIns="0" rtlCol="0">
            <a:spAutoFit/>
          </a:bodyPr>
          <a:lstStyle/>
          <a:p>
            <a:pPr marL="12700" marR="5080"/>
            <a:r>
              <a:rPr lang="en-US" sz="2200">
                <a:solidFill>
                  <a:srgbClr val="FFFFFF"/>
                </a:solidFill>
                <a:latin typeface="Ubuntu Light" panose="020B0304030602030204" pitchFamily="34" charset="0"/>
                <a:cs typeface="Ubuntu Light"/>
              </a:rPr>
              <a:t>Navigating infinite change with Sogeti</a:t>
            </a:r>
          </a:p>
        </p:txBody>
      </p:sp>
      <p:sp>
        <p:nvSpPr>
          <p:cNvPr id="11" name="object 5">
            <a:extLst>
              <a:ext uri="{FF2B5EF4-FFF2-40B4-BE49-F238E27FC236}">
                <a16:creationId xmlns:a16="http://schemas.microsoft.com/office/drawing/2014/main" id="{FC655699-1D84-2E5A-484A-FBA67545284B}"/>
              </a:ext>
            </a:extLst>
          </p:cNvPr>
          <p:cNvSpPr txBox="1">
            <a:spLocks/>
          </p:cNvSpPr>
          <p:nvPr userDrawn="1"/>
        </p:nvSpPr>
        <p:spPr>
          <a:xfrm>
            <a:off x="1289050" y="6157216"/>
            <a:ext cx="12012995" cy="664926"/>
          </a:xfrm>
          <a:prstGeom prst="rect">
            <a:avLst/>
          </a:prstGeom>
        </p:spPr>
        <p:txBody>
          <a:bodyPr vert="horz" wrap="square" lIns="0" tIns="109855" rIns="0" bIns="0" rtlCol="0">
            <a:spAutoFit/>
          </a:bodyPr>
          <a:lstStyle>
            <a:lvl1pPr>
              <a:defRPr sz="4900" b="0" i="0">
                <a:solidFill>
                  <a:srgbClr val="2B0A3D"/>
                </a:solidFill>
                <a:latin typeface="Ubuntu Light"/>
                <a:ea typeface="+mj-ea"/>
                <a:cs typeface="Ubuntu Light"/>
              </a:defRPr>
            </a:lvl1pPr>
          </a:lstStyle>
          <a:p>
            <a:pPr marL="12700" marR="5080"/>
            <a:r>
              <a:rPr lang="es-ES" sz="1800" spc="-10">
                <a:solidFill>
                  <a:srgbClr val="12A9D8"/>
                </a:solidFill>
                <a:effectLst>
                  <a:outerShdw blurRad="50800" dist="38100" dir="2700000" algn="tl" rotWithShape="0">
                    <a:prstClr val="black">
                      <a:alpha val="40000"/>
                    </a:prstClr>
                  </a:outerShdw>
                </a:effectLst>
                <a:latin typeface="Ubuntu Light" panose="020B0304030602030204" pitchFamily="34" charset="0"/>
                <a:cs typeface="Ubuntu Mono"/>
              </a:rPr>
              <a:t>#DigitalBusinessWithQuality</a:t>
            </a:r>
          </a:p>
          <a:p>
            <a:pPr marL="12700" marR="5080"/>
            <a:r>
              <a:rPr lang="es-ES" sz="1800" spc="-10">
                <a:solidFill>
                  <a:srgbClr val="12A9D8"/>
                </a:solidFill>
                <a:effectLst>
                  <a:outerShdw blurRad="50800" dist="38100" dir="2700000" algn="tl" rotWithShape="0">
                    <a:prstClr val="black">
                      <a:alpha val="40000"/>
                    </a:prstClr>
                  </a:outerShdw>
                </a:effectLst>
                <a:latin typeface="Ubuntu Light" panose="020B0304030602030204" pitchFamily="34" charset="0"/>
                <a:cs typeface="Ubuntu Mono"/>
              </a:rPr>
              <a:t>#FlourishingWithSogeti</a:t>
            </a:r>
            <a:endParaRPr lang="es-ES" sz="1800">
              <a:solidFill>
                <a:srgbClr val="12A9D8"/>
              </a:solidFill>
              <a:effectLst>
                <a:outerShdw blurRad="50800" dist="38100" dir="2700000" algn="tl" rotWithShape="0">
                  <a:prstClr val="black">
                    <a:alpha val="40000"/>
                  </a:prstClr>
                </a:outerShdw>
              </a:effectLst>
              <a:latin typeface="Ubuntu Light" panose="020B0304030602030204" pitchFamily="34" charset="0"/>
              <a:cs typeface="Ubuntu Mono"/>
            </a:endParaRPr>
          </a:p>
        </p:txBody>
      </p:sp>
      <p:pic>
        <p:nvPicPr>
          <p:cNvPr id="12" name="Imagen 11" descr="Imagen que contiene fuegos artificiales, animal&#10;&#10;Descripción generada automáticamente">
            <a:extLst>
              <a:ext uri="{FF2B5EF4-FFF2-40B4-BE49-F238E27FC236}">
                <a16:creationId xmlns:a16="http://schemas.microsoft.com/office/drawing/2014/main" id="{F79E7628-3778-3771-518A-CB8B43F51844}"/>
              </a:ext>
            </a:extLst>
          </p:cNvPr>
          <p:cNvPicPr>
            <a:picLocks noChangeAspect="1"/>
          </p:cNvPicPr>
          <p:nvPr userDrawn="1"/>
        </p:nvPicPr>
        <p:blipFill rotWithShape="1">
          <a:blip r:embed="rId4">
            <a:extLst>
              <a:ext uri="{28A0092B-C50C-407E-A947-70E740481C1C}">
                <a14:useLocalDpi xmlns:a14="http://schemas.microsoft.com/office/drawing/2010/main"/>
              </a:ext>
            </a:extLst>
          </a:blip>
          <a:srcRect t="1" r="10399" b="22422"/>
          <a:stretch/>
        </p:blipFill>
        <p:spPr>
          <a:xfrm>
            <a:off x="5436234" y="796423"/>
            <a:ext cx="2696570" cy="2294424"/>
          </a:xfrm>
          <a:prstGeom prst="rect">
            <a:avLst/>
          </a:prstGeom>
        </p:spPr>
      </p:pic>
      <p:sp>
        <p:nvSpPr>
          <p:cNvPr id="14" name="Forma libre 13">
            <a:extLst>
              <a:ext uri="{FF2B5EF4-FFF2-40B4-BE49-F238E27FC236}">
                <a16:creationId xmlns:a16="http://schemas.microsoft.com/office/drawing/2014/main" id="{B0818C18-214A-1E74-557B-ABEA534815CB}"/>
              </a:ext>
            </a:extLst>
          </p:cNvPr>
          <p:cNvSpPr/>
          <p:nvPr userDrawn="1"/>
        </p:nvSpPr>
        <p:spPr>
          <a:xfrm flipV="1">
            <a:off x="1289050" y="8033398"/>
            <a:ext cx="4786342" cy="781263"/>
          </a:xfrm>
          <a:custGeom>
            <a:avLst/>
            <a:gdLst/>
            <a:ahLst/>
            <a:cxnLst/>
            <a:rect l="l" t="t" r="r" b="b"/>
            <a:pathLst>
              <a:path w="4876802" h="796029">
                <a:moveTo>
                  <a:pt x="2572782" y="405299"/>
                </a:moveTo>
                <a:cubicBezTo>
                  <a:pt x="2589609" y="405299"/>
                  <a:pt x="2601809" y="398820"/>
                  <a:pt x="2609382" y="385863"/>
                </a:cubicBezTo>
                <a:cubicBezTo>
                  <a:pt x="2616954" y="372906"/>
                  <a:pt x="2620740" y="355826"/>
                  <a:pt x="2620740" y="334623"/>
                </a:cubicBezTo>
                <a:cubicBezTo>
                  <a:pt x="2620740" y="313420"/>
                  <a:pt x="2616618" y="296256"/>
                  <a:pt x="2608372" y="283131"/>
                </a:cubicBezTo>
                <a:cubicBezTo>
                  <a:pt x="2600126" y="270006"/>
                  <a:pt x="2587927" y="263443"/>
                  <a:pt x="2571772" y="263443"/>
                </a:cubicBezTo>
                <a:cubicBezTo>
                  <a:pt x="2554945" y="263443"/>
                  <a:pt x="2542744" y="270006"/>
                  <a:pt x="2535172" y="283131"/>
                </a:cubicBezTo>
                <a:cubicBezTo>
                  <a:pt x="2527600" y="296256"/>
                  <a:pt x="2523814" y="313420"/>
                  <a:pt x="2523814" y="334623"/>
                </a:cubicBezTo>
                <a:cubicBezTo>
                  <a:pt x="2523814" y="355826"/>
                  <a:pt x="2527937" y="372906"/>
                  <a:pt x="2536182" y="385863"/>
                </a:cubicBezTo>
                <a:cubicBezTo>
                  <a:pt x="2544428" y="398820"/>
                  <a:pt x="2556628" y="405299"/>
                  <a:pt x="2572782" y="405299"/>
                </a:cubicBezTo>
                <a:close/>
                <a:moveTo>
                  <a:pt x="1810782" y="405299"/>
                </a:moveTo>
                <a:cubicBezTo>
                  <a:pt x="1827610" y="405299"/>
                  <a:pt x="1839810" y="398820"/>
                  <a:pt x="1847382" y="385863"/>
                </a:cubicBezTo>
                <a:cubicBezTo>
                  <a:pt x="1854954" y="372906"/>
                  <a:pt x="1858740" y="355826"/>
                  <a:pt x="1858740" y="334623"/>
                </a:cubicBezTo>
                <a:cubicBezTo>
                  <a:pt x="1858740" y="313420"/>
                  <a:pt x="1854618" y="296256"/>
                  <a:pt x="1846372" y="283131"/>
                </a:cubicBezTo>
                <a:cubicBezTo>
                  <a:pt x="1838127" y="270006"/>
                  <a:pt x="1825927" y="263443"/>
                  <a:pt x="1809772" y="263443"/>
                </a:cubicBezTo>
                <a:cubicBezTo>
                  <a:pt x="1792945" y="263443"/>
                  <a:pt x="1780745" y="270006"/>
                  <a:pt x="1773173" y="283131"/>
                </a:cubicBezTo>
                <a:cubicBezTo>
                  <a:pt x="1765600" y="296256"/>
                  <a:pt x="1761814" y="313420"/>
                  <a:pt x="1761814" y="334623"/>
                </a:cubicBezTo>
                <a:cubicBezTo>
                  <a:pt x="1761814" y="355826"/>
                  <a:pt x="1765937" y="372906"/>
                  <a:pt x="1774182" y="385863"/>
                </a:cubicBezTo>
                <a:cubicBezTo>
                  <a:pt x="1782428" y="398820"/>
                  <a:pt x="1794628" y="405299"/>
                  <a:pt x="1810782" y="405299"/>
                </a:cubicBezTo>
                <a:close/>
                <a:moveTo>
                  <a:pt x="810657" y="405299"/>
                </a:moveTo>
                <a:cubicBezTo>
                  <a:pt x="827485" y="405299"/>
                  <a:pt x="839684" y="398820"/>
                  <a:pt x="847257" y="385863"/>
                </a:cubicBezTo>
                <a:cubicBezTo>
                  <a:pt x="854829" y="372906"/>
                  <a:pt x="858615" y="355826"/>
                  <a:pt x="858616" y="334623"/>
                </a:cubicBezTo>
                <a:cubicBezTo>
                  <a:pt x="858615" y="313420"/>
                  <a:pt x="854493" y="296256"/>
                  <a:pt x="846247" y="283131"/>
                </a:cubicBezTo>
                <a:cubicBezTo>
                  <a:pt x="838002" y="270006"/>
                  <a:pt x="825802" y="263443"/>
                  <a:pt x="809647" y="263443"/>
                </a:cubicBezTo>
                <a:cubicBezTo>
                  <a:pt x="792820" y="263443"/>
                  <a:pt x="780620" y="270006"/>
                  <a:pt x="773048" y="283131"/>
                </a:cubicBezTo>
                <a:cubicBezTo>
                  <a:pt x="765475" y="296256"/>
                  <a:pt x="761689" y="313420"/>
                  <a:pt x="761689" y="334623"/>
                </a:cubicBezTo>
                <a:cubicBezTo>
                  <a:pt x="761689" y="355826"/>
                  <a:pt x="765812" y="372906"/>
                  <a:pt x="774057" y="385863"/>
                </a:cubicBezTo>
                <a:cubicBezTo>
                  <a:pt x="782303" y="398820"/>
                  <a:pt x="794503" y="405299"/>
                  <a:pt x="810657" y="405299"/>
                </a:cubicBezTo>
                <a:close/>
                <a:moveTo>
                  <a:pt x="3325256" y="411861"/>
                </a:moveTo>
                <a:cubicBezTo>
                  <a:pt x="3316506" y="411861"/>
                  <a:pt x="3309608" y="408496"/>
                  <a:pt x="3304560" y="401765"/>
                </a:cubicBezTo>
                <a:cubicBezTo>
                  <a:pt x="3299512" y="395034"/>
                  <a:pt x="3296988" y="387125"/>
                  <a:pt x="3296988" y="378038"/>
                </a:cubicBezTo>
                <a:cubicBezTo>
                  <a:pt x="3296988" y="368951"/>
                  <a:pt x="3299512" y="361126"/>
                  <a:pt x="3304560" y="354564"/>
                </a:cubicBezTo>
                <a:cubicBezTo>
                  <a:pt x="3309608" y="348001"/>
                  <a:pt x="3316506" y="344720"/>
                  <a:pt x="3325256" y="344720"/>
                </a:cubicBezTo>
                <a:cubicBezTo>
                  <a:pt x="3333334" y="344720"/>
                  <a:pt x="3339980" y="348001"/>
                  <a:pt x="3345198" y="354564"/>
                </a:cubicBezTo>
                <a:cubicBezTo>
                  <a:pt x="3350414" y="361126"/>
                  <a:pt x="3353022" y="368951"/>
                  <a:pt x="3353022" y="378038"/>
                </a:cubicBezTo>
                <a:cubicBezTo>
                  <a:pt x="3353022" y="387125"/>
                  <a:pt x="3350414" y="395034"/>
                  <a:pt x="3345198" y="401765"/>
                </a:cubicBezTo>
                <a:cubicBezTo>
                  <a:pt x="3339980" y="408496"/>
                  <a:pt x="3333334" y="411861"/>
                  <a:pt x="3325256" y="411861"/>
                </a:cubicBezTo>
                <a:close/>
                <a:moveTo>
                  <a:pt x="2207070" y="453257"/>
                </a:moveTo>
                <a:lnTo>
                  <a:pt x="2207070" y="401765"/>
                </a:lnTo>
                <a:lnTo>
                  <a:pt x="2272697" y="401765"/>
                </a:lnTo>
                <a:lnTo>
                  <a:pt x="2272697" y="314430"/>
                </a:lnTo>
                <a:cubicBezTo>
                  <a:pt x="2272697" y="297939"/>
                  <a:pt x="2274043" y="283299"/>
                  <a:pt x="2276735" y="270510"/>
                </a:cubicBezTo>
                <a:cubicBezTo>
                  <a:pt x="2279428" y="257721"/>
                  <a:pt x="2284055" y="246868"/>
                  <a:pt x="2290618" y="237949"/>
                </a:cubicBezTo>
                <a:cubicBezTo>
                  <a:pt x="2297181" y="229031"/>
                  <a:pt x="2305931" y="222215"/>
                  <a:pt x="2316869" y="217504"/>
                </a:cubicBezTo>
                <a:cubicBezTo>
                  <a:pt x="2327807" y="212792"/>
                  <a:pt x="2341353" y="210436"/>
                  <a:pt x="2357508" y="210436"/>
                </a:cubicBezTo>
                <a:cubicBezTo>
                  <a:pt x="2366931" y="210436"/>
                  <a:pt x="2377280" y="211530"/>
                  <a:pt x="2388554" y="213718"/>
                </a:cubicBezTo>
                <a:cubicBezTo>
                  <a:pt x="2399829" y="215905"/>
                  <a:pt x="2411860" y="220028"/>
                  <a:pt x="2424649" y="226086"/>
                </a:cubicBezTo>
                <a:lnTo>
                  <a:pt x="2416572" y="276063"/>
                </a:lnTo>
                <a:cubicBezTo>
                  <a:pt x="2406475" y="271352"/>
                  <a:pt x="2397388" y="268239"/>
                  <a:pt x="2389312" y="266724"/>
                </a:cubicBezTo>
                <a:cubicBezTo>
                  <a:pt x="2381234" y="265210"/>
                  <a:pt x="2374335" y="264452"/>
                  <a:pt x="2368614" y="264452"/>
                </a:cubicBezTo>
                <a:cubicBezTo>
                  <a:pt x="2356498" y="264452"/>
                  <a:pt x="2347832" y="267902"/>
                  <a:pt x="2342615" y="274801"/>
                </a:cubicBezTo>
                <a:cubicBezTo>
                  <a:pt x="2337398" y="281701"/>
                  <a:pt x="2334790" y="292218"/>
                  <a:pt x="2334790" y="306353"/>
                </a:cubicBezTo>
                <a:lnTo>
                  <a:pt x="2334790" y="453257"/>
                </a:lnTo>
                <a:close/>
                <a:moveTo>
                  <a:pt x="1088092" y="457800"/>
                </a:moveTo>
                <a:cubicBezTo>
                  <a:pt x="1064870" y="457800"/>
                  <a:pt x="1044593" y="455949"/>
                  <a:pt x="1027260" y="452247"/>
                </a:cubicBezTo>
                <a:cubicBezTo>
                  <a:pt x="1009928" y="448545"/>
                  <a:pt x="993016" y="443665"/>
                  <a:pt x="976526" y="437607"/>
                </a:cubicBezTo>
                <a:lnTo>
                  <a:pt x="976526" y="215989"/>
                </a:lnTo>
                <a:lnTo>
                  <a:pt x="1039124" y="215989"/>
                </a:lnTo>
                <a:lnTo>
                  <a:pt x="1039124" y="392173"/>
                </a:lnTo>
                <a:cubicBezTo>
                  <a:pt x="1047874" y="394529"/>
                  <a:pt x="1056456" y="396128"/>
                  <a:pt x="1064870" y="396969"/>
                </a:cubicBezTo>
                <a:cubicBezTo>
                  <a:pt x="1073284" y="397810"/>
                  <a:pt x="1081866" y="398231"/>
                  <a:pt x="1090616" y="398231"/>
                </a:cubicBezTo>
                <a:cubicBezTo>
                  <a:pt x="1094318" y="398231"/>
                  <a:pt x="1098861" y="398063"/>
                  <a:pt x="1104246" y="397726"/>
                </a:cubicBezTo>
                <a:cubicBezTo>
                  <a:pt x="1109631" y="397390"/>
                  <a:pt x="1115184" y="396801"/>
                  <a:pt x="1120905" y="395959"/>
                </a:cubicBezTo>
                <a:cubicBezTo>
                  <a:pt x="1126627" y="395118"/>
                  <a:pt x="1132264" y="394192"/>
                  <a:pt x="1137817" y="393183"/>
                </a:cubicBezTo>
                <a:cubicBezTo>
                  <a:pt x="1143370" y="392173"/>
                  <a:pt x="1148166" y="391164"/>
                  <a:pt x="1152205" y="390154"/>
                </a:cubicBezTo>
                <a:lnTo>
                  <a:pt x="1163311" y="447704"/>
                </a:lnTo>
                <a:cubicBezTo>
                  <a:pt x="1157589" y="449723"/>
                  <a:pt x="1151111" y="451322"/>
                  <a:pt x="1143875" y="452500"/>
                </a:cubicBezTo>
                <a:cubicBezTo>
                  <a:pt x="1136639" y="453678"/>
                  <a:pt x="1129487" y="454687"/>
                  <a:pt x="1122420" y="455529"/>
                </a:cubicBezTo>
                <a:cubicBezTo>
                  <a:pt x="1115352" y="456370"/>
                  <a:pt x="1108706" y="456959"/>
                  <a:pt x="1102479" y="457296"/>
                </a:cubicBezTo>
                <a:cubicBezTo>
                  <a:pt x="1096253" y="457632"/>
                  <a:pt x="1091457" y="457800"/>
                  <a:pt x="1088092" y="457800"/>
                </a:cubicBezTo>
                <a:close/>
                <a:moveTo>
                  <a:pt x="2572782" y="459315"/>
                </a:moveTo>
                <a:cubicBezTo>
                  <a:pt x="2556628" y="459315"/>
                  <a:pt x="2541651" y="456370"/>
                  <a:pt x="2527852" y="450480"/>
                </a:cubicBezTo>
                <a:cubicBezTo>
                  <a:pt x="2514054" y="444591"/>
                  <a:pt x="2502190" y="436177"/>
                  <a:pt x="2492262" y="425239"/>
                </a:cubicBezTo>
                <a:cubicBezTo>
                  <a:pt x="2482334" y="414301"/>
                  <a:pt x="2474594" y="401176"/>
                  <a:pt x="2469040" y="385863"/>
                </a:cubicBezTo>
                <a:cubicBezTo>
                  <a:pt x="2463487" y="370550"/>
                  <a:pt x="2460711" y="353638"/>
                  <a:pt x="2460711" y="335128"/>
                </a:cubicBezTo>
                <a:cubicBezTo>
                  <a:pt x="2460711" y="316281"/>
                  <a:pt x="2463403" y="299201"/>
                  <a:pt x="2468788" y="283888"/>
                </a:cubicBezTo>
                <a:cubicBezTo>
                  <a:pt x="2474173" y="268575"/>
                  <a:pt x="2481829" y="255366"/>
                  <a:pt x="2491758" y="244259"/>
                </a:cubicBezTo>
                <a:cubicBezTo>
                  <a:pt x="2501686" y="233153"/>
                  <a:pt x="2513465" y="224571"/>
                  <a:pt x="2527095" y="218513"/>
                </a:cubicBezTo>
                <a:cubicBezTo>
                  <a:pt x="2540726" y="212455"/>
                  <a:pt x="2555954" y="209427"/>
                  <a:pt x="2572782" y="209427"/>
                </a:cubicBezTo>
                <a:cubicBezTo>
                  <a:pt x="2589609" y="209427"/>
                  <a:pt x="2604838" y="212455"/>
                  <a:pt x="2618468" y="218513"/>
                </a:cubicBezTo>
                <a:cubicBezTo>
                  <a:pt x="2632098" y="224571"/>
                  <a:pt x="2643794" y="233153"/>
                  <a:pt x="2653554" y="244259"/>
                </a:cubicBezTo>
                <a:cubicBezTo>
                  <a:pt x="2663314" y="255366"/>
                  <a:pt x="2670886" y="268575"/>
                  <a:pt x="2676271" y="283888"/>
                </a:cubicBezTo>
                <a:cubicBezTo>
                  <a:pt x="2681656" y="299201"/>
                  <a:pt x="2684348" y="316281"/>
                  <a:pt x="2684348" y="335128"/>
                </a:cubicBezTo>
                <a:cubicBezTo>
                  <a:pt x="2684348" y="353638"/>
                  <a:pt x="2681656" y="370550"/>
                  <a:pt x="2676271" y="385863"/>
                </a:cubicBezTo>
                <a:cubicBezTo>
                  <a:pt x="2670886" y="401176"/>
                  <a:pt x="2663230" y="414301"/>
                  <a:pt x="2653302" y="425239"/>
                </a:cubicBezTo>
                <a:cubicBezTo>
                  <a:pt x="2643373" y="436177"/>
                  <a:pt x="2631594" y="444591"/>
                  <a:pt x="2617964" y="450480"/>
                </a:cubicBezTo>
                <a:cubicBezTo>
                  <a:pt x="2604334" y="456370"/>
                  <a:pt x="2589273" y="459315"/>
                  <a:pt x="2572782" y="459315"/>
                </a:cubicBezTo>
                <a:close/>
                <a:moveTo>
                  <a:pt x="1810782" y="459315"/>
                </a:moveTo>
                <a:cubicBezTo>
                  <a:pt x="1794628" y="459315"/>
                  <a:pt x="1779651" y="456370"/>
                  <a:pt x="1765853" y="450480"/>
                </a:cubicBezTo>
                <a:cubicBezTo>
                  <a:pt x="1752054" y="444591"/>
                  <a:pt x="1740191" y="436177"/>
                  <a:pt x="1730262" y="425239"/>
                </a:cubicBezTo>
                <a:cubicBezTo>
                  <a:pt x="1720334" y="414301"/>
                  <a:pt x="1712594" y="401176"/>
                  <a:pt x="1707040" y="385863"/>
                </a:cubicBezTo>
                <a:cubicBezTo>
                  <a:pt x="1701488" y="370550"/>
                  <a:pt x="1698711" y="353638"/>
                  <a:pt x="1698711" y="335128"/>
                </a:cubicBezTo>
                <a:cubicBezTo>
                  <a:pt x="1698711" y="316281"/>
                  <a:pt x="1701403" y="299201"/>
                  <a:pt x="1706788" y="283888"/>
                </a:cubicBezTo>
                <a:cubicBezTo>
                  <a:pt x="1712173" y="268575"/>
                  <a:pt x="1719829" y="255366"/>
                  <a:pt x="1729758" y="244259"/>
                </a:cubicBezTo>
                <a:cubicBezTo>
                  <a:pt x="1739686" y="233153"/>
                  <a:pt x="1751465" y="224571"/>
                  <a:pt x="1765095" y="218513"/>
                </a:cubicBezTo>
                <a:cubicBezTo>
                  <a:pt x="1778726" y="212455"/>
                  <a:pt x="1793954" y="209427"/>
                  <a:pt x="1810782" y="209427"/>
                </a:cubicBezTo>
                <a:cubicBezTo>
                  <a:pt x="1827610" y="209427"/>
                  <a:pt x="1842838" y="212455"/>
                  <a:pt x="1856469" y="218513"/>
                </a:cubicBezTo>
                <a:cubicBezTo>
                  <a:pt x="1870099" y="224571"/>
                  <a:pt x="1881794" y="233153"/>
                  <a:pt x="1891554" y="244259"/>
                </a:cubicBezTo>
                <a:cubicBezTo>
                  <a:pt x="1901314" y="255366"/>
                  <a:pt x="1908886" y="268575"/>
                  <a:pt x="1914271" y="283888"/>
                </a:cubicBezTo>
                <a:cubicBezTo>
                  <a:pt x="1919656" y="299201"/>
                  <a:pt x="1922348" y="316281"/>
                  <a:pt x="1922348" y="335128"/>
                </a:cubicBezTo>
                <a:cubicBezTo>
                  <a:pt x="1922348" y="353638"/>
                  <a:pt x="1919656" y="370550"/>
                  <a:pt x="1914271" y="385863"/>
                </a:cubicBezTo>
                <a:cubicBezTo>
                  <a:pt x="1908886" y="401176"/>
                  <a:pt x="1901230" y="414301"/>
                  <a:pt x="1891302" y="425239"/>
                </a:cubicBezTo>
                <a:cubicBezTo>
                  <a:pt x="1881374" y="436177"/>
                  <a:pt x="1869594" y="444591"/>
                  <a:pt x="1855964" y="450480"/>
                </a:cubicBezTo>
                <a:cubicBezTo>
                  <a:pt x="1842334" y="456370"/>
                  <a:pt x="1827273" y="459315"/>
                  <a:pt x="1810782" y="459315"/>
                </a:cubicBezTo>
                <a:close/>
                <a:moveTo>
                  <a:pt x="810657" y="459315"/>
                </a:moveTo>
                <a:cubicBezTo>
                  <a:pt x="794503" y="459315"/>
                  <a:pt x="779526" y="456370"/>
                  <a:pt x="765728" y="450480"/>
                </a:cubicBezTo>
                <a:cubicBezTo>
                  <a:pt x="751929" y="444591"/>
                  <a:pt x="740066" y="436177"/>
                  <a:pt x="730138" y="425239"/>
                </a:cubicBezTo>
                <a:cubicBezTo>
                  <a:pt x="720209" y="414301"/>
                  <a:pt x="712469" y="401176"/>
                  <a:pt x="706916" y="385863"/>
                </a:cubicBezTo>
                <a:cubicBezTo>
                  <a:pt x="701362" y="370550"/>
                  <a:pt x="698586" y="353638"/>
                  <a:pt x="698586" y="335128"/>
                </a:cubicBezTo>
                <a:cubicBezTo>
                  <a:pt x="698586" y="316281"/>
                  <a:pt x="701278" y="299201"/>
                  <a:pt x="706663" y="283888"/>
                </a:cubicBezTo>
                <a:cubicBezTo>
                  <a:pt x="712048" y="268575"/>
                  <a:pt x="719704" y="255366"/>
                  <a:pt x="729633" y="244259"/>
                </a:cubicBezTo>
                <a:cubicBezTo>
                  <a:pt x="739561" y="233153"/>
                  <a:pt x="751340" y="224571"/>
                  <a:pt x="764970" y="218513"/>
                </a:cubicBezTo>
                <a:cubicBezTo>
                  <a:pt x="778601" y="212455"/>
                  <a:pt x="793830" y="209427"/>
                  <a:pt x="810657" y="209427"/>
                </a:cubicBezTo>
                <a:cubicBezTo>
                  <a:pt x="827485" y="209427"/>
                  <a:pt x="842713" y="212455"/>
                  <a:pt x="856344" y="218513"/>
                </a:cubicBezTo>
                <a:cubicBezTo>
                  <a:pt x="869974" y="224571"/>
                  <a:pt x="881669" y="233153"/>
                  <a:pt x="891429" y="244259"/>
                </a:cubicBezTo>
                <a:cubicBezTo>
                  <a:pt x="901189" y="255366"/>
                  <a:pt x="908761" y="268575"/>
                  <a:pt x="914146" y="283888"/>
                </a:cubicBezTo>
                <a:cubicBezTo>
                  <a:pt x="919531" y="299201"/>
                  <a:pt x="922223" y="316281"/>
                  <a:pt x="922223" y="335128"/>
                </a:cubicBezTo>
                <a:cubicBezTo>
                  <a:pt x="922223" y="353638"/>
                  <a:pt x="919531" y="370550"/>
                  <a:pt x="914146" y="385863"/>
                </a:cubicBezTo>
                <a:cubicBezTo>
                  <a:pt x="908761" y="401176"/>
                  <a:pt x="901105" y="414301"/>
                  <a:pt x="891177" y="425239"/>
                </a:cubicBezTo>
                <a:cubicBezTo>
                  <a:pt x="881248" y="436177"/>
                  <a:pt x="869469" y="444591"/>
                  <a:pt x="855839" y="450480"/>
                </a:cubicBezTo>
                <a:cubicBezTo>
                  <a:pt x="842209" y="456370"/>
                  <a:pt x="827148" y="459315"/>
                  <a:pt x="810657" y="459315"/>
                </a:cubicBezTo>
                <a:close/>
                <a:moveTo>
                  <a:pt x="546919" y="477993"/>
                </a:moveTo>
                <a:cubicBezTo>
                  <a:pt x="563410" y="477993"/>
                  <a:pt x="576620" y="474207"/>
                  <a:pt x="586548" y="466635"/>
                </a:cubicBezTo>
                <a:cubicBezTo>
                  <a:pt x="596476" y="459062"/>
                  <a:pt x="601441" y="446189"/>
                  <a:pt x="601441" y="428016"/>
                </a:cubicBezTo>
                <a:cubicBezTo>
                  <a:pt x="601441" y="408832"/>
                  <a:pt x="596392" y="395286"/>
                  <a:pt x="586296" y="387377"/>
                </a:cubicBezTo>
                <a:cubicBezTo>
                  <a:pt x="576199" y="379468"/>
                  <a:pt x="561223" y="375514"/>
                  <a:pt x="541366" y="375514"/>
                </a:cubicBezTo>
                <a:lnTo>
                  <a:pt x="516125" y="375514"/>
                </a:lnTo>
                <a:lnTo>
                  <a:pt x="516125" y="476479"/>
                </a:lnTo>
                <a:cubicBezTo>
                  <a:pt x="519827" y="477152"/>
                  <a:pt x="524960" y="477573"/>
                  <a:pt x="531522" y="477741"/>
                </a:cubicBezTo>
                <a:cubicBezTo>
                  <a:pt x="538085" y="477909"/>
                  <a:pt x="543217" y="477993"/>
                  <a:pt x="546919" y="477993"/>
                </a:cubicBezTo>
                <a:close/>
                <a:moveTo>
                  <a:pt x="3324752" y="482537"/>
                </a:moveTo>
                <a:cubicBezTo>
                  <a:pt x="3341916" y="482537"/>
                  <a:pt x="3354958" y="473198"/>
                  <a:pt x="3363876" y="454519"/>
                </a:cubicBezTo>
                <a:cubicBezTo>
                  <a:pt x="3372794" y="435841"/>
                  <a:pt x="3377254" y="408664"/>
                  <a:pt x="3377254" y="372990"/>
                </a:cubicBezTo>
                <a:cubicBezTo>
                  <a:pt x="3377254" y="336979"/>
                  <a:pt x="3372794" y="309634"/>
                  <a:pt x="3363876" y="290956"/>
                </a:cubicBezTo>
                <a:cubicBezTo>
                  <a:pt x="3354958" y="272277"/>
                  <a:pt x="3341916" y="262938"/>
                  <a:pt x="3324752" y="262938"/>
                </a:cubicBezTo>
                <a:cubicBezTo>
                  <a:pt x="3307924" y="262938"/>
                  <a:pt x="3294968" y="272277"/>
                  <a:pt x="3285880" y="290956"/>
                </a:cubicBezTo>
                <a:cubicBezTo>
                  <a:pt x="3276794" y="309634"/>
                  <a:pt x="3272250" y="336979"/>
                  <a:pt x="3272250" y="372990"/>
                </a:cubicBezTo>
                <a:cubicBezTo>
                  <a:pt x="3272250" y="408664"/>
                  <a:pt x="3276794" y="435841"/>
                  <a:pt x="3285880" y="454519"/>
                </a:cubicBezTo>
                <a:cubicBezTo>
                  <a:pt x="3294968" y="473198"/>
                  <a:pt x="3307924" y="482537"/>
                  <a:pt x="3324752" y="482537"/>
                </a:cubicBezTo>
                <a:close/>
                <a:moveTo>
                  <a:pt x="1323054" y="522923"/>
                </a:moveTo>
                <a:lnTo>
                  <a:pt x="1260961" y="512826"/>
                </a:lnTo>
                <a:lnTo>
                  <a:pt x="1260961" y="453257"/>
                </a:lnTo>
                <a:lnTo>
                  <a:pt x="1206945" y="453257"/>
                </a:lnTo>
                <a:lnTo>
                  <a:pt x="1206945" y="401765"/>
                </a:lnTo>
                <a:lnTo>
                  <a:pt x="1260961" y="401765"/>
                </a:lnTo>
                <a:lnTo>
                  <a:pt x="1260961" y="304334"/>
                </a:lnTo>
                <a:cubicBezTo>
                  <a:pt x="1260961" y="284477"/>
                  <a:pt x="1262980" y="268407"/>
                  <a:pt x="1267019" y="256123"/>
                </a:cubicBezTo>
                <a:cubicBezTo>
                  <a:pt x="1271057" y="243839"/>
                  <a:pt x="1276947" y="234331"/>
                  <a:pt x="1284688" y="227600"/>
                </a:cubicBezTo>
                <a:cubicBezTo>
                  <a:pt x="1292428" y="220869"/>
                  <a:pt x="1301852" y="216326"/>
                  <a:pt x="1312958" y="213970"/>
                </a:cubicBezTo>
                <a:cubicBezTo>
                  <a:pt x="1324064" y="211614"/>
                  <a:pt x="1336853" y="210436"/>
                  <a:pt x="1351325" y="210436"/>
                </a:cubicBezTo>
                <a:cubicBezTo>
                  <a:pt x="1363777" y="210436"/>
                  <a:pt x="1376650" y="211446"/>
                  <a:pt x="1389944" y="213465"/>
                </a:cubicBezTo>
                <a:cubicBezTo>
                  <a:pt x="1403238" y="215484"/>
                  <a:pt x="1415606" y="218850"/>
                  <a:pt x="1427048" y="223562"/>
                </a:cubicBezTo>
                <a:lnTo>
                  <a:pt x="1418466" y="277073"/>
                </a:lnTo>
                <a:cubicBezTo>
                  <a:pt x="1412745" y="274381"/>
                  <a:pt x="1407444" y="272193"/>
                  <a:pt x="1402564" y="270510"/>
                </a:cubicBezTo>
                <a:cubicBezTo>
                  <a:pt x="1397684" y="268828"/>
                  <a:pt x="1392973" y="267566"/>
                  <a:pt x="1388429" y="266724"/>
                </a:cubicBezTo>
                <a:cubicBezTo>
                  <a:pt x="1383886" y="265883"/>
                  <a:pt x="1379174" y="265294"/>
                  <a:pt x="1374294" y="264957"/>
                </a:cubicBezTo>
                <a:cubicBezTo>
                  <a:pt x="1369414" y="264621"/>
                  <a:pt x="1364114" y="264452"/>
                  <a:pt x="1358392" y="264452"/>
                </a:cubicBezTo>
                <a:cubicBezTo>
                  <a:pt x="1353007" y="264452"/>
                  <a:pt x="1348127" y="264957"/>
                  <a:pt x="1343752" y="265967"/>
                </a:cubicBezTo>
                <a:cubicBezTo>
                  <a:pt x="1339377" y="266977"/>
                  <a:pt x="1335675" y="268996"/>
                  <a:pt x="1332646" y="272025"/>
                </a:cubicBezTo>
                <a:cubicBezTo>
                  <a:pt x="1329617" y="275054"/>
                  <a:pt x="1327261" y="279261"/>
                  <a:pt x="1325579" y="284645"/>
                </a:cubicBezTo>
                <a:cubicBezTo>
                  <a:pt x="1323896" y="290030"/>
                  <a:pt x="1323054" y="297098"/>
                  <a:pt x="1323054" y="305848"/>
                </a:cubicBezTo>
                <a:lnTo>
                  <a:pt x="1323054" y="401765"/>
                </a:lnTo>
                <a:lnTo>
                  <a:pt x="1422505" y="401765"/>
                </a:lnTo>
                <a:lnTo>
                  <a:pt x="1422505" y="453257"/>
                </a:lnTo>
                <a:lnTo>
                  <a:pt x="1323054" y="453257"/>
                </a:lnTo>
                <a:close/>
                <a:moveTo>
                  <a:pt x="539852" y="532010"/>
                </a:moveTo>
                <a:cubicBezTo>
                  <a:pt x="534131" y="532010"/>
                  <a:pt x="527568" y="531841"/>
                  <a:pt x="520164" y="531505"/>
                </a:cubicBezTo>
                <a:cubicBezTo>
                  <a:pt x="512760" y="531168"/>
                  <a:pt x="505187" y="530748"/>
                  <a:pt x="497447" y="530243"/>
                </a:cubicBezTo>
                <a:cubicBezTo>
                  <a:pt x="489706" y="529738"/>
                  <a:pt x="482049" y="528981"/>
                  <a:pt x="474477" y="527971"/>
                </a:cubicBezTo>
                <a:cubicBezTo>
                  <a:pt x="466905" y="526961"/>
                  <a:pt x="460090" y="525784"/>
                  <a:pt x="454032" y="524437"/>
                </a:cubicBezTo>
                <a:lnTo>
                  <a:pt x="454032" y="215989"/>
                </a:lnTo>
                <a:lnTo>
                  <a:pt x="516125" y="215989"/>
                </a:lnTo>
                <a:lnTo>
                  <a:pt x="516125" y="321498"/>
                </a:lnTo>
                <a:lnTo>
                  <a:pt x="538337" y="321498"/>
                </a:lnTo>
                <a:cubicBezTo>
                  <a:pt x="578723" y="321498"/>
                  <a:pt x="609938" y="329827"/>
                  <a:pt x="631982" y="346486"/>
                </a:cubicBezTo>
                <a:cubicBezTo>
                  <a:pt x="654026" y="363146"/>
                  <a:pt x="665048" y="390154"/>
                  <a:pt x="665048" y="427511"/>
                </a:cubicBezTo>
                <a:cubicBezTo>
                  <a:pt x="665048" y="464531"/>
                  <a:pt x="654111" y="491203"/>
                  <a:pt x="632235" y="507526"/>
                </a:cubicBezTo>
                <a:cubicBezTo>
                  <a:pt x="610359" y="523848"/>
                  <a:pt x="579565" y="532010"/>
                  <a:pt x="539852" y="532010"/>
                </a:cubicBezTo>
                <a:close/>
                <a:moveTo>
                  <a:pt x="3816452" y="535544"/>
                </a:moveTo>
                <a:cubicBezTo>
                  <a:pt x="3797604" y="535544"/>
                  <a:pt x="3780694" y="532430"/>
                  <a:pt x="3765716" y="526204"/>
                </a:cubicBezTo>
                <a:cubicBezTo>
                  <a:pt x="3750740" y="519978"/>
                  <a:pt x="3738708" y="513836"/>
                  <a:pt x="3729622" y="507778"/>
                </a:cubicBezTo>
                <a:lnTo>
                  <a:pt x="3751834" y="462344"/>
                </a:lnTo>
                <a:cubicBezTo>
                  <a:pt x="3760248" y="468065"/>
                  <a:pt x="3770260" y="472861"/>
                  <a:pt x="3781872" y="476731"/>
                </a:cubicBezTo>
                <a:cubicBezTo>
                  <a:pt x="3793482" y="480602"/>
                  <a:pt x="3805178" y="482537"/>
                  <a:pt x="3816956" y="482537"/>
                </a:cubicBezTo>
                <a:cubicBezTo>
                  <a:pt x="3829072" y="482537"/>
                  <a:pt x="3838580" y="479255"/>
                  <a:pt x="3845480" y="472693"/>
                </a:cubicBezTo>
                <a:cubicBezTo>
                  <a:pt x="3852378" y="466130"/>
                  <a:pt x="3855828" y="457127"/>
                  <a:pt x="3855828" y="445685"/>
                </a:cubicBezTo>
                <a:cubicBezTo>
                  <a:pt x="3855828" y="437944"/>
                  <a:pt x="3854230" y="431550"/>
                  <a:pt x="3851032" y="426501"/>
                </a:cubicBezTo>
                <a:cubicBezTo>
                  <a:pt x="3847836" y="421453"/>
                  <a:pt x="3843712" y="417414"/>
                  <a:pt x="3838664" y="414385"/>
                </a:cubicBezTo>
                <a:cubicBezTo>
                  <a:pt x="3833616" y="411357"/>
                  <a:pt x="3827894" y="409169"/>
                  <a:pt x="3821500" y="407823"/>
                </a:cubicBezTo>
                <a:cubicBezTo>
                  <a:pt x="3815106" y="406477"/>
                  <a:pt x="3808712" y="405803"/>
                  <a:pt x="3802316" y="405803"/>
                </a:cubicBezTo>
                <a:lnTo>
                  <a:pt x="3779094" y="405803"/>
                </a:lnTo>
                <a:lnTo>
                  <a:pt x="3779094" y="354311"/>
                </a:lnTo>
                <a:lnTo>
                  <a:pt x="3798278" y="354311"/>
                </a:lnTo>
                <a:cubicBezTo>
                  <a:pt x="3818470" y="354311"/>
                  <a:pt x="3835130" y="351030"/>
                  <a:pt x="3848256" y="344467"/>
                </a:cubicBezTo>
                <a:cubicBezTo>
                  <a:pt x="3861380" y="337904"/>
                  <a:pt x="3867944" y="326378"/>
                  <a:pt x="3867944" y="309887"/>
                </a:cubicBezTo>
                <a:cubicBezTo>
                  <a:pt x="3867944" y="296425"/>
                  <a:pt x="3863652" y="285150"/>
                  <a:pt x="3855072" y="276063"/>
                </a:cubicBezTo>
                <a:cubicBezTo>
                  <a:pt x="3846488" y="266977"/>
                  <a:pt x="3831596" y="262433"/>
                  <a:pt x="3810394" y="262433"/>
                </a:cubicBezTo>
                <a:cubicBezTo>
                  <a:pt x="3793230" y="262433"/>
                  <a:pt x="3778506" y="264284"/>
                  <a:pt x="3766222" y="267986"/>
                </a:cubicBezTo>
                <a:cubicBezTo>
                  <a:pt x="3753938" y="271688"/>
                  <a:pt x="3743924" y="275222"/>
                  <a:pt x="3736184" y="278588"/>
                </a:cubicBezTo>
                <a:lnTo>
                  <a:pt x="3724068" y="226591"/>
                </a:lnTo>
                <a:cubicBezTo>
                  <a:pt x="3727770" y="224908"/>
                  <a:pt x="3732988" y="223057"/>
                  <a:pt x="3739718" y="221037"/>
                </a:cubicBezTo>
                <a:cubicBezTo>
                  <a:pt x="3746450" y="219018"/>
                  <a:pt x="3753770" y="217167"/>
                  <a:pt x="3761678" y="215484"/>
                </a:cubicBezTo>
                <a:cubicBezTo>
                  <a:pt x="3769588" y="213802"/>
                  <a:pt x="3777832" y="212371"/>
                  <a:pt x="3786414" y="211193"/>
                </a:cubicBezTo>
                <a:cubicBezTo>
                  <a:pt x="3794996" y="210015"/>
                  <a:pt x="3803158" y="209427"/>
                  <a:pt x="3810898" y="209427"/>
                </a:cubicBezTo>
                <a:cubicBezTo>
                  <a:pt x="3831764" y="209427"/>
                  <a:pt x="3849770" y="211867"/>
                  <a:pt x="3864916" y="216746"/>
                </a:cubicBezTo>
                <a:cubicBezTo>
                  <a:pt x="3880060" y="221626"/>
                  <a:pt x="3892512" y="228526"/>
                  <a:pt x="3902272" y="237444"/>
                </a:cubicBezTo>
                <a:cubicBezTo>
                  <a:pt x="3912032" y="246363"/>
                  <a:pt x="3919268" y="256880"/>
                  <a:pt x="3923980" y="268996"/>
                </a:cubicBezTo>
                <a:cubicBezTo>
                  <a:pt x="3928692" y="281112"/>
                  <a:pt x="3931048" y="294405"/>
                  <a:pt x="3931048" y="308877"/>
                </a:cubicBezTo>
                <a:cubicBezTo>
                  <a:pt x="3931048" y="327051"/>
                  <a:pt x="3926588" y="342700"/>
                  <a:pt x="3917668" y="355826"/>
                </a:cubicBezTo>
                <a:cubicBezTo>
                  <a:pt x="3908750" y="368951"/>
                  <a:pt x="3896214" y="378879"/>
                  <a:pt x="3880060" y="385610"/>
                </a:cubicBezTo>
                <a:cubicBezTo>
                  <a:pt x="3891840" y="391668"/>
                  <a:pt x="3901262" y="400419"/>
                  <a:pt x="3908330" y="411861"/>
                </a:cubicBezTo>
                <a:cubicBezTo>
                  <a:pt x="3915398" y="423304"/>
                  <a:pt x="3918932" y="435252"/>
                  <a:pt x="3918932" y="447704"/>
                </a:cubicBezTo>
                <a:cubicBezTo>
                  <a:pt x="3918932" y="460156"/>
                  <a:pt x="3916912" y="471767"/>
                  <a:pt x="3912874" y="482537"/>
                </a:cubicBezTo>
                <a:cubicBezTo>
                  <a:pt x="3908834" y="493306"/>
                  <a:pt x="3902608" y="502646"/>
                  <a:pt x="3894196" y="510555"/>
                </a:cubicBezTo>
                <a:cubicBezTo>
                  <a:pt x="3885780" y="518464"/>
                  <a:pt x="3875096" y="524606"/>
                  <a:pt x="3862138" y="528981"/>
                </a:cubicBezTo>
                <a:cubicBezTo>
                  <a:pt x="3849180" y="533356"/>
                  <a:pt x="3833952" y="535544"/>
                  <a:pt x="3816452" y="535544"/>
                </a:cubicBezTo>
                <a:close/>
                <a:moveTo>
                  <a:pt x="3567354" y="535544"/>
                </a:moveTo>
                <a:cubicBezTo>
                  <a:pt x="3549854" y="535544"/>
                  <a:pt x="3532268" y="532178"/>
                  <a:pt x="3514600" y="525447"/>
                </a:cubicBezTo>
                <a:cubicBezTo>
                  <a:pt x="3496930" y="518716"/>
                  <a:pt x="3481366" y="508283"/>
                  <a:pt x="3467904" y="494148"/>
                </a:cubicBezTo>
                <a:lnTo>
                  <a:pt x="3498698" y="450733"/>
                </a:lnTo>
                <a:cubicBezTo>
                  <a:pt x="3509130" y="461839"/>
                  <a:pt x="3519732" y="469748"/>
                  <a:pt x="3530502" y="474460"/>
                </a:cubicBezTo>
                <a:cubicBezTo>
                  <a:pt x="3541272" y="479171"/>
                  <a:pt x="3551536" y="481527"/>
                  <a:pt x="3561296" y="481527"/>
                </a:cubicBezTo>
                <a:cubicBezTo>
                  <a:pt x="3573076" y="481527"/>
                  <a:pt x="3582836" y="478078"/>
                  <a:pt x="3590576" y="471178"/>
                </a:cubicBezTo>
                <a:cubicBezTo>
                  <a:pt x="3598316" y="464279"/>
                  <a:pt x="3602186" y="454435"/>
                  <a:pt x="3602188" y="441646"/>
                </a:cubicBezTo>
                <a:cubicBezTo>
                  <a:pt x="3602186" y="432559"/>
                  <a:pt x="3599074" y="423641"/>
                  <a:pt x="3592848" y="414890"/>
                </a:cubicBezTo>
                <a:cubicBezTo>
                  <a:pt x="3586622" y="406140"/>
                  <a:pt x="3578712" y="397053"/>
                  <a:pt x="3569120" y="387630"/>
                </a:cubicBezTo>
                <a:cubicBezTo>
                  <a:pt x="3559528" y="378206"/>
                  <a:pt x="3549264" y="368362"/>
                  <a:pt x="3538326" y="358097"/>
                </a:cubicBezTo>
                <a:cubicBezTo>
                  <a:pt x="3527388" y="347833"/>
                  <a:pt x="3517124" y="336727"/>
                  <a:pt x="3507532" y="324779"/>
                </a:cubicBezTo>
                <a:cubicBezTo>
                  <a:pt x="3497940" y="312831"/>
                  <a:pt x="3490032" y="299790"/>
                  <a:pt x="3483806" y="285655"/>
                </a:cubicBezTo>
                <a:cubicBezTo>
                  <a:pt x="3477580" y="271520"/>
                  <a:pt x="3474466" y="256039"/>
                  <a:pt x="3474466" y="239211"/>
                </a:cubicBezTo>
                <a:cubicBezTo>
                  <a:pt x="3474466" y="237192"/>
                  <a:pt x="3474382" y="233658"/>
                  <a:pt x="3474214" y="228610"/>
                </a:cubicBezTo>
                <a:cubicBezTo>
                  <a:pt x="3474046" y="223562"/>
                  <a:pt x="3474466" y="219355"/>
                  <a:pt x="3475476" y="215989"/>
                </a:cubicBezTo>
                <a:lnTo>
                  <a:pt x="3679426" y="215989"/>
                </a:lnTo>
                <a:lnTo>
                  <a:pt x="3679426" y="267481"/>
                </a:lnTo>
                <a:lnTo>
                  <a:pt x="3545142" y="267481"/>
                </a:lnTo>
                <a:cubicBezTo>
                  <a:pt x="3545142" y="272530"/>
                  <a:pt x="3546908" y="278083"/>
                  <a:pt x="3550442" y="284141"/>
                </a:cubicBezTo>
                <a:cubicBezTo>
                  <a:pt x="3553976" y="290198"/>
                  <a:pt x="3558268" y="296172"/>
                  <a:pt x="3563316" y="302062"/>
                </a:cubicBezTo>
                <a:cubicBezTo>
                  <a:pt x="3568364" y="307952"/>
                  <a:pt x="3573748" y="313673"/>
                  <a:pt x="3579470" y="319226"/>
                </a:cubicBezTo>
                <a:cubicBezTo>
                  <a:pt x="3585190" y="324779"/>
                  <a:pt x="3590240" y="329575"/>
                  <a:pt x="3594614" y="333613"/>
                </a:cubicBezTo>
                <a:cubicBezTo>
                  <a:pt x="3603364" y="341691"/>
                  <a:pt x="3611946" y="350104"/>
                  <a:pt x="3620360" y="358855"/>
                </a:cubicBezTo>
                <a:cubicBezTo>
                  <a:pt x="3628774" y="367605"/>
                  <a:pt x="3636346" y="376692"/>
                  <a:pt x="3643078" y="386115"/>
                </a:cubicBezTo>
                <a:cubicBezTo>
                  <a:pt x="3649808" y="395539"/>
                  <a:pt x="3655194" y="405214"/>
                  <a:pt x="3659232" y="415143"/>
                </a:cubicBezTo>
                <a:cubicBezTo>
                  <a:pt x="3663270" y="425071"/>
                  <a:pt x="3665290" y="435420"/>
                  <a:pt x="3665290" y="446189"/>
                </a:cubicBezTo>
                <a:cubicBezTo>
                  <a:pt x="3665290" y="460998"/>
                  <a:pt x="3662598" y="474039"/>
                  <a:pt x="3657212" y="485313"/>
                </a:cubicBezTo>
                <a:cubicBezTo>
                  <a:pt x="3651828" y="496588"/>
                  <a:pt x="3644592" y="505927"/>
                  <a:pt x="3635506" y="513331"/>
                </a:cubicBezTo>
                <a:cubicBezTo>
                  <a:pt x="3626418" y="520735"/>
                  <a:pt x="3615986" y="526288"/>
                  <a:pt x="3604206" y="529990"/>
                </a:cubicBezTo>
                <a:cubicBezTo>
                  <a:pt x="3592426" y="533692"/>
                  <a:pt x="3580142" y="535544"/>
                  <a:pt x="3567354" y="535544"/>
                </a:cubicBezTo>
                <a:close/>
                <a:moveTo>
                  <a:pt x="3324752" y="535544"/>
                </a:moveTo>
                <a:cubicBezTo>
                  <a:pt x="3290088" y="535544"/>
                  <a:pt x="3263332" y="522081"/>
                  <a:pt x="3244486" y="495157"/>
                </a:cubicBezTo>
                <a:cubicBezTo>
                  <a:pt x="3225638" y="468233"/>
                  <a:pt x="3216214" y="427511"/>
                  <a:pt x="3216214" y="372990"/>
                </a:cubicBezTo>
                <a:cubicBezTo>
                  <a:pt x="3216214" y="317796"/>
                  <a:pt x="3225470" y="276737"/>
                  <a:pt x="3243980" y="249813"/>
                </a:cubicBezTo>
                <a:cubicBezTo>
                  <a:pt x="3262490" y="222889"/>
                  <a:pt x="3289414" y="209427"/>
                  <a:pt x="3324752" y="209427"/>
                </a:cubicBezTo>
                <a:cubicBezTo>
                  <a:pt x="3360090" y="209427"/>
                  <a:pt x="3387014" y="222889"/>
                  <a:pt x="3405524" y="249813"/>
                </a:cubicBezTo>
                <a:cubicBezTo>
                  <a:pt x="3424034" y="276737"/>
                  <a:pt x="3433290" y="317796"/>
                  <a:pt x="3433290" y="372990"/>
                </a:cubicBezTo>
                <a:cubicBezTo>
                  <a:pt x="3433290" y="427847"/>
                  <a:pt x="3424034" y="468654"/>
                  <a:pt x="3405524" y="495410"/>
                </a:cubicBezTo>
                <a:cubicBezTo>
                  <a:pt x="3387014" y="522166"/>
                  <a:pt x="3360090" y="535544"/>
                  <a:pt x="3324752" y="535544"/>
                </a:cubicBezTo>
                <a:close/>
                <a:moveTo>
                  <a:pt x="3062528" y="535544"/>
                </a:moveTo>
                <a:cubicBezTo>
                  <a:pt x="3045028" y="535544"/>
                  <a:pt x="3027444" y="532178"/>
                  <a:pt x="3009774" y="525447"/>
                </a:cubicBezTo>
                <a:cubicBezTo>
                  <a:pt x="2992106" y="518716"/>
                  <a:pt x="2976540" y="508283"/>
                  <a:pt x="2963078" y="494148"/>
                </a:cubicBezTo>
                <a:lnTo>
                  <a:pt x="2993872" y="450733"/>
                </a:lnTo>
                <a:cubicBezTo>
                  <a:pt x="3004306" y="461839"/>
                  <a:pt x="3014908" y="469748"/>
                  <a:pt x="3025676" y="474460"/>
                </a:cubicBezTo>
                <a:cubicBezTo>
                  <a:pt x="3036446" y="479171"/>
                  <a:pt x="3046712" y="481527"/>
                  <a:pt x="3056472" y="481527"/>
                </a:cubicBezTo>
                <a:cubicBezTo>
                  <a:pt x="3068250" y="481527"/>
                  <a:pt x="3078010" y="478078"/>
                  <a:pt x="3085752" y="471178"/>
                </a:cubicBezTo>
                <a:cubicBezTo>
                  <a:pt x="3093492" y="464279"/>
                  <a:pt x="3097362" y="454435"/>
                  <a:pt x="3097362" y="441646"/>
                </a:cubicBezTo>
                <a:cubicBezTo>
                  <a:pt x="3097362" y="432559"/>
                  <a:pt x="3094248" y="423641"/>
                  <a:pt x="3088022" y="414890"/>
                </a:cubicBezTo>
                <a:cubicBezTo>
                  <a:pt x="3081796" y="406140"/>
                  <a:pt x="3073888" y="397053"/>
                  <a:pt x="3064296" y="387630"/>
                </a:cubicBezTo>
                <a:cubicBezTo>
                  <a:pt x="3054704" y="378206"/>
                  <a:pt x="3044440" y="368362"/>
                  <a:pt x="3033502" y="358097"/>
                </a:cubicBezTo>
                <a:cubicBezTo>
                  <a:pt x="3022564" y="347833"/>
                  <a:pt x="3012298" y="336727"/>
                  <a:pt x="3002708" y="324779"/>
                </a:cubicBezTo>
                <a:cubicBezTo>
                  <a:pt x="2993116" y="312831"/>
                  <a:pt x="2985206" y="299790"/>
                  <a:pt x="2978980" y="285655"/>
                </a:cubicBezTo>
                <a:cubicBezTo>
                  <a:pt x="2972754" y="271520"/>
                  <a:pt x="2969642" y="256039"/>
                  <a:pt x="2969642" y="239211"/>
                </a:cubicBezTo>
                <a:cubicBezTo>
                  <a:pt x="2969642" y="237192"/>
                  <a:pt x="2969558" y="233658"/>
                  <a:pt x="2969388" y="228610"/>
                </a:cubicBezTo>
                <a:cubicBezTo>
                  <a:pt x="2969220" y="223562"/>
                  <a:pt x="2969640" y="219355"/>
                  <a:pt x="2970650" y="215989"/>
                </a:cubicBezTo>
                <a:lnTo>
                  <a:pt x="3174600" y="215989"/>
                </a:lnTo>
                <a:lnTo>
                  <a:pt x="3174600" y="267481"/>
                </a:lnTo>
                <a:lnTo>
                  <a:pt x="3040316" y="267481"/>
                </a:lnTo>
                <a:cubicBezTo>
                  <a:pt x="3040316" y="272530"/>
                  <a:pt x="3042084" y="278083"/>
                  <a:pt x="3045618" y="284141"/>
                </a:cubicBezTo>
                <a:cubicBezTo>
                  <a:pt x="3049152" y="290198"/>
                  <a:pt x="3053442" y="296172"/>
                  <a:pt x="3058490" y="302062"/>
                </a:cubicBezTo>
                <a:cubicBezTo>
                  <a:pt x="3063538" y="307952"/>
                  <a:pt x="3068924" y="313673"/>
                  <a:pt x="3074644" y="319226"/>
                </a:cubicBezTo>
                <a:cubicBezTo>
                  <a:pt x="3080366" y="324779"/>
                  <a:pt x="3085414" y="329575"/>
                  <a:pt x="3089790" y="333613"/>
                </a:cubicBezTo>
                <a:cubicBezTo>
                  <a:pt x="3098540" y="341691"/>
                  <a:pt x="3107122" y="350104"/>
                  <a:pt x="3115536" y="358855"/>
                </a:cubicBezTo>
                <a:cubicBezTo>
                  <a:pt x="3123950" y="367605"/>
                  <a:pt x="3131522" y="376692"/>
                  <a:pt x="3138252" y="386115"/>
                </a:cubicBezTo>
                <a:cubicBezTo>
                  <a:pt x="3144984" y="395539"/>
                  <a:pt x="3150368" y="405214"/>
                  <a:pt x="3154408" y="415143"/>
                </a:cubicBezTo>
                <a:cubicBezTo>
                  <a:pt x="3158446" y="425071"/>
                  <a:pt x="3160464" y="435420"/>
                  <a:pt x="3160464" y="446189"/>
                </a:cubicBezTo>
                <a:cubicBezTo>
                  <a:pt x="3160464" y="460998"/>
                  <a:pt x="3157772" y="474039"/>
                  <a:pt x="3152388" y="485313"/>
                </a:cubicBezTo>
                <a:cubicBezTo>
                  <a:pt x="3147002" y="496588"/>
                  <a:pt x="3139766" y="505927"/>
                  <a:pt x="3130680" y="513331"/>
                </a:cubicBezTo>
                <a:cubicBezTo>
                  <a:pt x="3121594" y="520735"/>
                  <a:pt x="3111160" y="526288"/>
                  <a:pt x="3099382" y="529990"/>
                </a:cubicBezTo>
                <a:cubicBezTo>
                  <a:pt x="3087602" y="533692"/>
                  <a:pt x="3075318" y="535544"/>
                  <a:pt x="3062528" y="535544"/>
                </a:cubicBezTo>
                <a:close/>
                <a:moveTo>
                  <a:pt x="2292890" y="561290"/>
                </a:moveTo>
                <a:cubicBezTo>
                  <a:pt x="2282120" y="561290"/>
                  <a:pt x="2272949" y="557756"/>
                  <a:pt x="2265377" y="550688"/>
                </a:cubicBezTo>
                <a:cubicBezTo>
                  <a:pt x="2257805" y="543621"/>
                  <a:pt x="2254018" y="533861"/>
                  <a:pt x="2254018" y="521408"/>
                </a:cubicBezTo>
                <a:cubicBezTo>
                  <a:pt x="2254018" y="509293"/>
                  <a:pt x="2257805" y="499701"/>
                  <a:pt x="2265377" y="492633"/>
                </a:cubicBezTo>
                <a:cubicBezTo>
                  <a:pt x="2272949" y="485566"/>
                  <a:pt x="2282120" y="482032"/>
                  <a:pt x="2292890" y="482032"/>
                </a:cubicBezTo>
                <a:cubicBezTo>
                  <a:pt x="2303660" y="482032"/>
                  <a:pt x="2312914" y="485566"/>
                  <a:pt x="2320655" y="492633"/>
                </a:cubicBezTo>
                <a:cubicBezTo>
                  <a:pt x="2328396" y="499701"/>
                  <a:pt x="2332266" y="509293"/>
                  <a:pt x="2332266" y="521408"/>
                </a:cubicBezTo>
                <a:cubicBezTo>
                  <a:pt x="2332266" y="533861"/>
                  <a:pt x="2328396" y="543621"/>
                  <a:pt x="2320655" y="550688"/>
                </a:cubicBezTo>
                <a:cubicBezTo>
                  <a:pt x="2312914" y="557756"/>
                  <a:pt x="2303660" y="561290"/>
                  <a:pt x="2292890" y="561290"/>
                </a:cubicBezTo>
                <a:close/>
                <a:moveTo>
                  <a:pt x="1959420" y="563309"/>
                </a:moveTo>
                <a:lnTo>
                  <a:pt x="1959420" y="511817"/>
                </a:lnTo>
                <a:lnTo>
                  <a:pt x="2025047" y="511817"/>
                </a:lnTo>
                <a:lnTo>
                  <a:pt x="2025047" y="310392"/>
                </a:lnTo>
                <a:cubicBezTo>
                  <a:pt x="2025047" y="277746"/>
                  <a:pt x="2031610" y="252926"/>
                  <a:pt x="2044735" y="235930"/>
                </a:cubicBezTo>
                <a:cubicBezTo>
                  <a:pt x="2057860" y="218934"/>
                  <a:pt x="2078727" y="210436"/>
                  <a:pt x="2107333" y="210436"/>
                </a:cubicBezTo>
                <a:cubicBezTo>
                  <a:pt x="2117767" y="210436"/>
                  <a:pt x="2127106" y="211109"/>
                  <a:pt x="2135351" y="212455"/>
                </a:cubicBezTo>
                <a:cubicBezTo>
                  <a:pt x="2143597" y="213802"/>
                  <a:pt x="2150580" y="215400"/>
                  <a:pt x="2156302" y="217251"/>
                </a:cubicBezTo>
                <a:cubicBezTo>
                  <a:pt x="2162023" y="219102"/>
                  <a:pt x="2166650" y="220869"/>
                  <a:pt x="2170184" y="222552"/>
                </a:cubicBezTo>
                <a:cubicBezTo>
                  <a:pt x="2173718" y="224235"/>
                  <a:pt x="2175990" y="225413"/>
                  <a:pt x="2176999" y="226086"/>
                </a:cubicBezTo>
                <a:lnTo>
                  <a:pt x="2168922" y="276063"/>
                </a:lnTo>
                <a:cubicBezTo>
                  <a:pt x="2166230" y="275054"/>
                  <a:pt x="2160677" y="272866"/>
                  <a:pt x="2152263" y="269501"/>
                </a:cubicBezTo>
                <a:cubicBezTo>
                  <a:pt x="2143849" y="266135"/>
                  <a:pt x="2133416" y="264452"/>
                  <a:pt x="2120964" y="264452"/>
                </a:cubicBezTo>
                <a:cubicBezTo>
                  <a:pt x="2111204" y="264452"/>
                  <a:pt x="2103126" y="267313"/>
                  <a:pt x="2096732" y="273034"/>
                </a:cubicBezTo>
                <a:cubicBezTo>
                  <a:pt x="2090338" y="278756"/>
                  <a:pt x="2087140" y="289694"/>
                  <a:pt x="2087140" y="305848"/>
                </a:cubicBezTo>
                <a:lnTo>
                  <a:pt x="2087140" y="563309"/>
                </a:lnTo>
                <a:close/>
                <a:moveTo>
                  <a:pt x="1607052" y="565833"/>
                </a:moveTo>
                <a:cubicBezTo>
                  <a:pt x="1594263" y="565833"/>
                  <a:pt x="1581811" y="564234"/>
                  <a:pt x="1569695" y="561037"/>
                </a:cubicBezTo>
                <a:cubicBezTo>
                  <a:pt x="1557579" y="557840"/>
                  <a:pt x="1546810" y="552455"/>
                  <a:pt x="1537386" y="544883"/>
                </a:cubicBezTo>
                <a:cubicBezTo>
                  <a:pt x="1527963" y="537310"/>
                  <a:pt x="1520474" y="527214"/>
                  <a:pt x="1514921" y="514593"/>
                </a:cubicBezTo>
                <a:cubicBezTo>
                  <a:pt x="1509368" y="501973"/>
                  <a:pt x="1506592" y="486071"/>
                  <a:pt x="1506592" y="466887"/>
                </a:cubicBezTo>
                <a:lnTo>
                  <a:pt x="1506592" y="453257"/>
                </a:lnTo>
                <a:lnTo>
                  <a:pt x="1454595" y="453257"/>
                </a:lnTo>
                <a:lnTo>
                  <a:pt x="1454595" y="401765"/>
                </a:lnTo>
                <a:lnTo>
                  <a:pt x="1506592" y="401765"/>
                </a:lnTo>
                <a:lnTo>
                  <a:pt x="1506592" y="215989"/>
                </a:lnTo>
                <a:lnTo>
                  <a:pt x="1569190" y="215989"/>
                </a:lnTo>
                <a:lnTo>
                  <a:pt x="1569190" y="401765"/>
                </a:lnTo>
                <a:lnTo>
                  <a:pt x="1666621" y="401765"/>
                </a:lnTo>
                <a:lnTo>
                  <a:pt x="1666621" y="453257"/>
                </a:lnTo>
                <a:lnTo>
                  <a:pt x="1569190" y="453257"/>
                </a:lnTo>
                <a:lnTo>
                  <a:pt x="1569190" y="465878"/>
                </a:lnTo>
                <a:cubicBezTo>
                  <a:pt x="1569190" y="475974"/>
                  <a:pt x="1570368" y="484135"/>
                  <a:pt x="1572724" y="490362"/>
                </a:cubicBezTo>
                <a:cubicBezTo>
                  <a:pt x="1575080" y="496588"/>
                  <a:pt x="1578193" y="501384"/>
                  <a:pt x="1582063" y="504749"/>
                </a:cubicBezTo>
                <a:cubicBezTo>
                  <a:pt x="1585933" y="508115"/>
                  <a:pt x="1590477" y="510302"/>
                  <a:pt x="1595693" y="511312"/>
                </a:cubicBezTo>
                <a:cubicBezTo>
                  <a:pt x="1600910" y="512322"/>
                  <a:pt x="1606379" y="512826"/>
                  <a:pt x="1612100" y="512826"/>
                </a:cubicBezTo>
                <a:cubicBezTo>
                  <a:pt x="1622533" y="512826"/>
                  <a:pt x="1633555" y="511396"/>
                  <a:pt x="1645166" y="508535"/>
                </a:cubicBezTo>
                <a:cubicBezTo>
                  <a:pt x="1656777" y="505675"/>
                  <a:pt x="1666453" y="502898"/>
                  <a:pt x="1674194" y="500206"/>
                </a:cubicBezTo>
                <a:lnTo>
                  <a:pt x="1684795" y="550688"/>
                </a:lnTo>
                <a:cubicBezTo>
                  <a:pt x="1673689" y="556073"/>
                  <a:pt x="1661236" y="559943"/>
                  <a:pt x="1647438" y="562299"/>
                </a:cubicBezTo>
                <a:cubicBezTo>
                  <a:pt x="1633639" y="564655"/>
                  <a:pt x="1620178" y="565833"/>
                  <a:pt x="1607052" y="565833"/>
                </a:cubicBezTo>
                <a:close/>
                <a:moveTo>
                  <a:pt x="0" y="796029"/>
                </a:moveTo>
                <a:lnTo>
                  <a:pt x="4876802" y="796029"/>
                </a:lnTo>
                <a:lnTo>
                  <a:pt x="4824822" y="344498"/>
                </a:lnTo>
                <a:cubicBezTo>
                  <a:pt x="4801968" y="145891"/>
                  <a:pt x="4682292" y="207"/>
                  <a:pt x="4541980" y="155"/>
                </a:cubicBezTo>
                <a:lnTo>
                  <a:pt x="0" y="0"/>
                </a:lnTo>
                <a:close/>
              </a:path>
            </a:pathLst>
          </a:custGeom>
          <a:solidFill>
            <a:schemeClr val="bg1"/>
          </a:solidFill>
          <a:ln w="2834" cap="flat">
            <a:noFill/>
            <a:prstDash val="solid"/>
            <a:miter/>
          </a:ln>
        </p:spPr>
        <p:txBody>
          <a:bodyPr wrap="square" rtlCol="0" anchor="ctr">
            <a:noAutofit/>
          </a:bodyPr>
          <a:lstStyle/>
          <a:p>
            <a:endParaRPr lang="en-US"/>
          </a:p>
        </p:txBody>
      </p:sp>
      <p:sp>
        <p:nvSpPr>
          <p:cNvPr id="13" name="object 13">
            <a:extLst>
              <a:ext uri="{FF2B5EF4-FFF2-40B4-BE49-F238E27FC236}">
                <a16:creationId xmlns:a16="http://schemas.microsoft.com/office/drawing/2014/main" id="{F7D9B46F-CF17-0F74-8072-CE29E3BF5E42}"/>
              </a:ext>
            </a:extLst>
          </p:cNvPr>
          <p:cNvSpPr txBox="1">
            <a:spLocks noGrp="1"/>
          </p:cNvSpPr>
          <p:nvPr>
            <p:ph type="ftr" sz="quarter" idx="3"/>
          </p:nvPr>
        </p:nvSpPr>
        <p:spPr>
          <a:xfrm>
            <a:off x="15047882" y="10617200"/>
            <a:ext cx="4376768" cy="219291"/>
          </a:xfrm>
          <a:prstGeom prst="rect">
            <a:avLst/>
          </a:prstGeom>
        </p:spPr>
        <p:txBody>
          <a:bodyPr vert="horz" wrap="square" lIns="0" tIns="3810" rIns="0" bIns="0" rtlCol="0">
            <a:spAutoFit/>
          </a:bodyPr>
          <a:lstStyle>
            <a:lvl1pPr algn="r">
              <a:defRPr sz="1400" b="0" i="0">
                <a:latin typeface="Ubuntu Light" panose="020B0304030602030204" pitchFamily="34" charset="0"/>
              </a:defRPr>
            </a:lvl1pPr>
          </a:lstStyle>
          <a:p>
            <a:pPr marL="26034">
              <a:spcBef>
                <a:spcPts val="30"/>
              </a:spcBef>
            </a:pPr>
            <a:r>
              <a:rPr lang="es-ES">
                <a:solidFill>
                  <a:schemeClr val="bg1"/>
                </a:solidFill>
              </a:rPr>
              <a:t>Public</a:t>
            </a:r>
            <a:r>
              <a:rPr lang="es-ES" spc="-40">
                <a:solidFill>
                  <a:schemeClr val="bg1"/>
                </a:solidFill>
              </a:rPr>
              <a:t> </a:t>
            </a:r>
            <a:r>
              <a:rPr lang="es-ES">
                <a:solidFill>
                  <a:schemeClr val="bg1"/>
                </a:solidFill>
              </a:rPr>
              <a:t>©</a:t>
            </a:r>
            <a:r>
              <a:rPr lang="es-ES" spc="-40">
                <a:solidFill>
                  <a:schemeClr val="bg1"/>
                </a:solidFill>
              </a:rPr>
              <a:t> </a:t>
            </a:r>
            <a:r>
              <a:rPr lang="es-ES">
                <a:solidFill>
                  <a:schemeClr val="bg1"/>
                </a:solidFill>
              </a:rPr>
              <a:t>2023</a:t>
            </a:r>
            <a:r>
              <a:rPr lang="es-ES" spc="-40">
                <a:solidFill>
                  <a:schemeClr val="bg1"/>
                </a:solidFill>
              </a:rPr>
              <a:t> </a:t>
            </a:r>
            <a:r>
              <a:rPr lang="es-ES" spc="-10">
                <a:solidFill>
                  <a:schemeClr val="bg1"/>
                </a:solidFill>
              </a:rPr>
              <a:t>Sogeti.</a:t>
            </a:r>
            <a:r>
              <a:rPr lang="es-ES" spc="-35">
                <a:solidFill>
                  <a:schemeClr val="bg1"/>
                </a:solidFill>
              </a:rPr>
              <a:t> </a:t>
            </a:r>
            <a:r>
              <a:rPr lang="es-ES" err="1">
                <a:solidFill>
                  <a:schemeClr val="bg1"/>
                </a:solidFill>
              </a:rPr>
              <a:t>All</a:t>
            </a:r>
            <a:r>
              <a:rPr lang="es-ES" spc="-40">
                <a:solidFill>
                  <a:schemeClr val="bg1"/>
                </a:solidFill>
              </a:rPr>
              <a:t> </a:t>
            </a:r>
            <a:r>
              <a:rPr lang="es-ES" err="1">
                <a:solidFill>
                  <a:schemeClr val="bg1"/>
                </a:solidFill>
              </a:rPr>
              <a:t>rights</a:t>
            </a:r>
            <a:r>
              <a:rPr lang="es-ES" spc="-40">
                <a:solidFill>
                  <a:schemeClr val="bg1"/>
                </a:solidFill>
              </a:rPr>
              <a:t> </a:t>
            </a:r>
            <a:r>
              <a:rPr lang="es-ES" spc="-10" err="1">
                <a:solidFill>
                  <a:schemeClr val="bg1"/>
                </a:solidFill>
              </a:rPr>
              <a:t>reserved</a:t>
            </a:r>
            <a:endParaRPr lang="es-ES" spc="-10">
              <a:solidFill>
                <a:schemeClr val="bg1"/>
              </a:solidFill>
            </a:endParaRPr>
          </a:p>
        </p:txBody>
      </p:sp>
      <p:pic>
        <p:nvPicPr>
          <p:cNvPr id="7" name="Imagen 6" descr="Un dibujo de una cara feliz&#10;&#10;Descripción generada automáticamente con confianza baja">
            <a:extLst>
              <a:ext uri="{FF2B5EF4-FFF2-40B4-BE49-F238E27FC236}">
                <a16:creationId xmlns:a16="http://schemas.microsoft.com/office/drawing/2014/main" id="{425F884F-1C39-BB1A-5975-79D070F26FC3}"/>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15588098" y="787400"/>
            <a:ext cx="3381196" cy="1752600"/>
          </a:xfrm>
          <a:prstGeom prst="rect">
            <a:avLst/>
          </a:prstGeom>
        </p:spPr>
      </p:pic>
    </p:spTree>
    <p:extLst>
      <p:ext uri="{BB962C8B-B14F-4D97-AF65-F5344CB8AC3E}">
        <p14:creationId xmlns:p14="http://schemas.microsoft.com/office/powerpoint/2010/main" val="3394730879"/>
      </p:ext>
    </p:extLst>
  </p:cSld>
  <p:clrMap bg1="lt1" tx1="dk1" bg2="lt2" tx2="dk2" accent1="accent1" accent2="accent2" accent3="accent3" accent4="accent4" accent5="accent5" accent6="accent6" hlink="hlink" folHlink="folHlink"/>
  <p:sldLayoutIdLst>
    <p:sldLayoutId id="2147483922" r:id="rId1"/>
  </p:sldLayoutIdLst>
  <p:hf hdr="0" dt="0"/>
  <p:txStyles>
    <p:titleStyle>
      <a:lvl1pPr algn="l" defTabSz="914400" rtl="0" eaLnBrk="1" latinLnBrk="0" hangingPunct="1">
        <a:lnSpc>
          <a:spcPct val="90000"/>
        </a:lnSpc>
        <a:spcBef>
          <a:spcPct val="0"/>
        </a:spcBef>
        <a:buNone/>
        <a:defRPr lang="es-ES" sz="8800" b="1" kern="1200" dirty="0" smtClean="0">
          <a:solidFill>
            <a:srgbClr val="FFFFFF"/>
          </a:solidFill>
          <a:latin typeface="Ubuntu" panose="020B050403060203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20104100" cy="11308715"/>
          </a:xfrm>
          <a:custGeom>
            <a:avLst/>
            <a:gdLst/>
            <a:ahLst/>
            <a:cxnLst/>
            <a:rect l="l" t="t" r="r" b="b"/>
            <a:pathLst>
              <a:path w="20104100" h="11308715">
                <a:moveTo>
                  <a:pt x="20104099" y="0"/>
                </a:moveTo>
                <a:lnTo>
                  <a:pt x="0" y="0"/>
                </a:lnTo>
                <a:lnTo>
                  <a:pt x="0" y="11308556"/>
                </a:lnTo>
                <a:lnTo>
                  <a:pt x="20104099" y="11308556"/>
                </a:lnTo>
                <a:lnTo>
                  <a:pt x="20104099" y="0"/>
                </a:lnTo>
                <a:close/>
              </a:path>
            </a:pathLst>
          </a:custGeom>
          <a:solidFill>
            <a:srgbClr val="F5F5F7"/>
          </a:solidFill>
        </p:spPr>
        <p:txBody>
          <a:bodyPr wrap="square" lIns="0" tIns="0" rIns="0" bIns="0" rtlCol="0"/>
          <a:lstStyle/>
          <a:p>
            <a:endParaRPr/>
          </a:p>
        </p:txBody>
      </p:sp>
      <p:sp>
        <p:nvSpPr>
          <p:cNvPr id="2" name="Holder 2"/>
          <p:cNvSpPr>
            <a:spLocks noGrp="1"/>
          </p:cNvSpPr>
          <p:nvPr>
            <p:ph type="title"/>
          </p:nvPr>
        </p:nvSpPr>
        <p:spPr>
          <a:xfrm>
            <a:off x="1003191" y="618303"/>
            <a:ext cx="16900525" cy="1384300"/>
          </a:xfrm>
          <a:prstGeom prst="rect">
            <a:avLst/>
          </a:prstGeom>
        </p:spPr>
        <p:txBody>
          <a:bodyPr wrap="square" lIns="0" tIns="0" rIns="0" bIns="0">
            <a:spAutoFit/>
          </a:bodyPr>
          <a:lstStyle>
            <a:lvl1pPr>
              <a:defRPr sz="4900" b="0" i="0">
                <a:solidFill>
                  <a:srgbClr val="2B0A3D"/>
                </a:solidFill>
                <a:latin typeface="Ubuntu Light"/>
                <a:cs typeface="Ubuntu Light"/>
              </a:defRPr>
            </a:lvl1pPr>
          </a:lstStyle>
          <a:p>
            <a:endParaRPr/>
          </a:p>
        </p:txBody>
      </p:sp>
      <p:sp>
        <p:nvSpPr>
          <p:cNvPr id="3" name="Holder 3"/>
          <p:cNvSpPr>
            <a:spLocks noGrp="1"/>
          </p:cNvSpPr>
          <p:nvPr>
            <p:ph type="body" idx="1"/>
          </p:nvPr>
        </p:nvSpPr>
        <p:spPr>
          <a:xfrm>
            <a:off x="1144854" y="2500391"/>
            <a:ext cx="17646015" cy="6895465"/>
          </a:xfrm>
          <a:prstGeom prst="rect">
            <a:avLst/>
          </a:prstGeom>
        </p:spPr>
        <p:txBody>
          <a:bodyPr wrap="square" lIns="0" tIns="0" rIns="0" bIns="0">
            <a:spAutoFit/>
          </a:bodyPr>
          <a:lstStyle>
            <a:lvl1pPr>
              <a:defRPr sz="2450" b="0" i="0">
                <a:solidFill>
                  <a:schemeClr val="tx1"/>
                </a:solidFill>
                <a:latin typeface="Ubuntu Light"/>
                <a:cs typeface="Ubuntu Light"/>
              </a:defRPr>
            </a:lvl1pPr>
          </a:lstStyle>
          <a:p>
            <a:endParaRPr/>
          </a:p>
        </p:txBody>
      </p:sp>
      <p:sp>
        <p:nvSpPr>
          <p:cNvPr id="4" name="Holder 4"/>
          <p:cNvSpPr>
            <a:spLocks noGrp="1"/>
          </p:cNvSpPr>
          <p:nvPr>
            <p:ph type="ftr" sz="quarter" idx="5"/>
          </p:nvPr>
        </p:nvSpPr>
        <p:spPr>
          <a:xfrm>
            <a:off x="16647741" y="10759212"/>
            <a:ext cx="2962677" cy="200055"/>
          </a:xfrm>
          <a:prstGeom prst="rect">
            <a:avLst/>
          </a:prstGeom>
        </p:spPr>
        <p:txBody>
          <a:bodyPr wrap="square" lIns="0" tIns="0" rIns="0" bIns="0">
            <a:spAutoFit/>
          </a:bodyPr>
          <a:lstStyle>
            <a:lvl1pPr>
              <a:defRPr sz="1300" b="0" i="0">
                <a:solidFill>
                  <a:srgbClr val="808080"/>
                </a:solidFill>
                <a:latin typeface="Ubuntu Light"/>
                <a:cs typeface="Ubuntu Light"/>
              </a:defRPr>
            </a:lvl1pPr>
          </a:lstStyle>
          <a:p>
            <a:pPr marL="26034">
              <a:lnSpc>
                <a:spcPct val="100000"/>
              </a:lnSpc>
              <a:spcBef>
                <a:spcPts val="30"/>
              </a:spcBef>
            </a:pPr>
            <a:r>
              <a:rPr>
                <a:solidFill>
                  <a:srgbClr val="666666"/>
                </a:solidFill>
              </a:rPr>
              <a:t>Public</a:t>
            </a:r>
            <a:r>
              <a:rPr spc="-40">
                <a:solidFill>
                  <a:srgbClr val="666666"/>
                </a:solidFill>
              </a:rPr>
              <a:t> </a:t>
            </a:r>
            <a:r>
              <a:rPr>
                <a:solidFill>
                  <a:srgbClr val="666666"/>
                </a:solidFill>
              </a:rPr>
              <a:t>©</a:t>
            </a:r>
            <a:r>
              <a:rPr spc="-40">
                <a:solidFill>
                  <a:srgbClr val="666666"/>
                </a:solidFill>
              </a:rPr>
              <a:t> </a:t>
            </a:r>
            <a:r>
              <a:rPr>
                <a:solidFill>
                  <a:srgbClr val="666666"/>
                </a:solidFill>
              </a:rPr>
              <a:t>202</a:t>
            </a:r>
            <a:r>
              <a:rPr lang="es-ES">
                <a:solidFill>
                  <a:srgbClr val="666666"/>
                </a:solidFill>
              </a:rPr>
              <a:t>3</a:t>
            </a:r>
            <a:r>
              <a:rPr spc="-40">
                <a:solidFill>
                  <a:srgbClr val="666666"/>
                </a:solidFill>
              </a:rPr>
              <a:t> </a:t>
            </a:r>
            <a:r>
              <a:rPr spc="-10">
                <a:solidFill>
                  <a:srgbClr val="666666"/>
                </a:solidFill>
              </a:rPr>
              <a:t>Sogeti.</a:t>
            </a:r>
            <a:r>
              <a:rPr spc="-35">
                <a:solidFill>
                  <a:srgbClr val="666666"/>
                </a:solidFill>
              </a:rPr>
              <a:t> </a:t>
            </a:r>
            <a:r>
              <a:rPr>
                <a:solidFill>
                  <a:srgbClr val="666666"/>
                </a:solidFill>
              </a:rPr>
              <a:t>All</a:t>
            </a:r>
            <a:r>
              <a:rPr spc="-40">
                <a:solidFill>
                  <a:srgbClr val="666666"/>
                </a:solidFill>
              </a:rPr>
              <a:t> </a:t>
            </a:r>
            <a:r>
              <a:rPr>
                <a:solidFill>
                  <a:srgbClr val="666666"/>
                </a:solidFill>
              </a:rPr>
              <a:t>rights</a:t>
            </a:r>
            <a:r>
              <a:rPr spc="-40">
                <a:solidFill>
                  <a:srgbClr val="666666"/>
                </a:solidFill>
              </a:rPr>
              <a:t> </a:t>
            </a:r>
            <a:r>
              <a:rPr spc="-10">
                <a:solidFill>
                  <a:srgbClr val="666666"/>
                </a:solidFill>
              </a:rPr>
              <a:t>reserved</a:t>
            </a:r>
          </a:p>
        </p:txBody>
      </p:sp>
    </p:spTree>
    <p:extLst>
      <p:ext uri="{BB962C8B-B14F-4D97-AF65-F5344CB8AC3E}">
        <p14:creationId xmlns:p14="http://schemas.microsoft.com/office/powerpoint/2010/main" val="3134999030"/>
      </p:ext>
    </p:extLst>
  </p:cSld>
  <p:clrMap bg1="lt1" tx1="dk1" bg2="lt2" tx2="dk2" accent1="accent1" accent2="accent2" accent3="accent3" accent4="accent4" accent5="accent5" accent6="accent6" hlink="hlink" folHlink="folHlink"/>
  <p:sldLayoutIdLst>
    <p:sldLayoutId id="2147483927" r:id="rId1"/>
    <p:sldLayoutId id="2147483969" r:id="rId2"/>
    <p:sldLayoutId id="2147483928" r:id="rId3"/>
    <p:sldLayoutId id="2147483929" r:id="rId4"/>
    <p:sldLayoutId id="2147483973"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Picture 7" descr="Logo, company name&#10;&#10;Description automatically generated">
            <a:extLst>
              <a:ext uri="{FF2B5EF4-FFF2-40B4-BE49-F238E27FC236}">
                <a16:creationId xmlns:a16="http://schemas.microsoft.com/office/drawing/2014/main" id="{00C4C865-154D-49A9-AD53-39D5CBED3777}"/>
              </a:ext>
            </a:extLst>
          </p:cNvPr>
          <p:cNvPicPr>
            <a:picLocks noChangeAspect="1"/>
          </p:cNvPicPr>
          <p:nvPr userDrawn="1"/>
        </p:nvPicPr>
        <p:blipFill>
          <a:blip r:embed="rId3"/>
          <a:stretch>
            <a:fillRect/>
          </a:stretch>
        </p:blipFill>
        <p:spPr>
          <a:xfrm>
            <a:off x="5925419" y="3302563"/>
            <a:ext cx="8253266" cy="4723274"/>
          </a:xfrm>
          <a:prstGeom prst="rect">
            <a:avLst/>
          </a:prstGeom>
        </p:spPr>
      </p:pic>
    </p:spTree>
    <p:extLst>
      <p:ext uri="{BB962C8B-B14F-4D97-AF65-F5344CB8AC3E}">
        <p14:creationId xmlns:p14="http://schemas.microsoft.com/office/powerpoint/2010/main" val="3824521038"/>
      </p:ext>
    </p:extLst>
  </p:cSld>
  <p:clrMap bg1="lt1" tx1="dk1" bg2="lt2" tx2="dk2" accent1="accent1" accent2="accent2" accent3="accent3" accent4="accent4" accent5="accent5" accent6="accent6" hlink="hlink" folHlink="folHlink"/>
  <p:sldLayoutIdLst>
    <p:sldLayoutId id="2147483956" r:id="rId1"/>
  </p:sldLayoutIdLs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100"/>
                                        <p:tgtEl>
                                          <p:spTgt spid="8"/>
                                        </p:tgtEl>
                                      </p:cBhvr>
                                    </p:animEffect>
                                  </p:childTnLst>
                                </p:cTn>
                              </p:par>
                              <p:par>
                                <p:cTn id="8" presetID="6" presetClass="emph" presetSubtype="0" decel="100000" fill="hold" nodeType="withEffect">
                                  <p:stCondLst>
                                    <p:cond delay="0"/>
                                  </p:stCondLst>
                                  <p:childTnLst>
                                    <p:animScale>
                                      <p:cBhvr>
                                        <p:cTn id="9" dur="2000" fill="hold"/>
                                        <p:tgtEl>
                                          <p:spTgt spid="8"/>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txStyles>
    <p:titleStyle>
      <a:lvl1pPr algn="l" defTabSz="1507846" rtl="0" eaLnBrk="1" latinLnBrk="0" hangingPunct="1">
        <a:lnSpc>
          <a:spcPct val="90000"/>
        </a:lnSpc>
        <a:spcBef>
          <a:spcPct val="0"/>
        </a:spcBef>
        <a:buNone/>
        <a:defRPr sz="7256" kern="1200">
          <a:solidFill>
            <a:schemeClr val="tx1"/>
          </a:solidFill>
          <a:latin typeface="+mj-lt"/>
          <a:ea typeface="+mj-ea"/>
          <a:cs typeface="+mj-cs"/>
        </a:defRPr>
      </a:lvl1pPr>
    </p:titleStyle>
    <p:bodyStyle>
      <a:lvl1pPr marL="376961" indent="-376961" algn="l" defTabSz="1507846" rtl="0" eaLnBrk="1" latinLnBrk="0" hangingPunct="1">
        <a:lnSpc>
          <a:spcPct val="90000"/>
        </a:lnSpc>
        <a:spcBef>
          <a:spcPts val="1649"/>
        </a:spcBef>
        <a:buFont typeface="Arial" panose="020B0604020202020204" pitchFamily="34" charset="0"/>
        <a:buChar char="•"/>
        <a:defRPr sz="4617" kern="1200">
          <a:solidFill>
            <a:schemeClr val="tx1"/>
          </a:solidFill>
          <a:latin typeface="+mn-lt"/>
          <a:ea typeface="+mn-ea"/>
          <a:cs typeface="+mn-cs"/>
        </a:defRPr>
      </a:lvl1pPr>
      <a:lvl2pPr marL="1130884" indent="-376961" algn="l" defTabSz="1507846" rtl="0" eaLnBrk="1" latinLnBrk="0" hangingPunct="1">
        <a:lnSpc>
          <a:spcPct val="90000"/>
        </a:lnSpc>
        <a:spcBef>
          <a:spcPts val="824"/>
        </a:spcBef>
        <a:buFont typeface="Arial" panose="020B0604020202020204" pitchFamily="34" charset="0"/>
        <a:buChar char="•"/>
        <a:defRPr sz="3958" kern="1200">
          <a:solidFill>
            <a:schemeClr val="tx1"/>
          </a:solidFill>
          <a:latin typeface="+mn-lt"/>
          <a:ea typeface="+mn-ea"/>
          <a:cs typeface="+mn-cs"/>
        </a:defRPr>
      </a:lvl2pPr>
      <a:lvl3pPr marL="1884807" indent="-376961" algn="l" defTabSz="1507846" rtl="0" eaLnBrk="1" latinLnBrk="0" hangingPunct="1">
        <a:lnSpc>
          <a:spcPct val="90000"/>
        </a:lnSpc>
        <a:spcBef>
          <a:spcPts val="824"/>
        </a:spcBef>
        <a:buFont typeface="Arial" panose="020B0604020202020204" pitchFamily="34" charset="0"/>
        <a:buChar char="•"/>
        <a:defRPr sz="3298" kern="1200">
          <a:solidFill>
            <a:schemeClr val="tx1"/>
          </a:solidFill>
          <a:latin typeface="+mn-lt"/>
          <a:ea typeface="+mn-ea"/>
          <a:cs typeface="+mn-cs"/>
        </a:defRPr>
      </a:lvl3pPr>
      <a:lvl4pPr marL="2638730" indent="-376961" algn="l" defTabSz="1507846"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4pPr>
      <a:lvl5pPr marL="3392653" indent="-376961" algn="l" defTabSz="1507846"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5pPr>
      <a:lvl6pPr marL="4146575" indent="-376961" algn="l" defTabSz="1507846"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6pPr>
      <a:lvl7pPr marL="4900498" indent="-376961" algn="l" defTabSz="1507846"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7pPr>
      <a:lvl8pPr marL="5654421" indent="-376961" algn="l" defTabSz="1507846"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8pPr>
      <a:lvl9pPr marL="6408344" indent="-376961" algn="l" defTabSz="1507846"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9pPr>
    </p:bodyStyle>
    <p:otherStyle>
      <a:defPPr>
        <a:defRPr lang="en-US"/>
      </a:defPPr>
      <a:lvl1pPr marL="0" algn="l" defTabSz="1507846" rtl="0" eaLnBrk="1" latinLnBrk="0" hangingPunct="1">
        <a:defRPr sz="2968" kern="1200">
          <a:solidFill>
            <a:schemeClr val="tx1"/>
          </a:solidFill>
          <a:latin typeface="+mn-lt"/>
          <a:ea typeface="+mn-ea"/>
          <a:cs typeface="+mn-cs"/>
        </a:defRPr>
      </a:lvl1pPr>
      <a:lvl2pPr marL="753923" algn="l" defTabSz="1507846" rtl="0" eaLnBrk="1" latinLnBrk="0" hangingPunct="1">
        <a:defRPr sz="2968" kern="1200">
          <a:solidFill>
            <a:schemeClr val="tx1"/>
          </a:solidFill>
          <a:latin typeface="+mn-lt"/>
          <a:ea typeface="+mn-ea"/>
          <a:cs typeface="+mn-cs"/>
        </a:defRPr>
      </a:lvl2pPr>
      <a:lvl3pPr marL="1507846" algn="l" defTabSz="1507846" rtl="0" eaLnBrk="1" latinLnBrk="0" hangingPunct="1">
        <a:defRPr sz="2968" kern="1200">
          <a:solidFill>
            <a:schemeClr val="tx1"/>
          </a:solidFill>
          <a:latin typeface="+mn-lt"/>
          <a:ea typeface="+mn-ea"/>
          <a:cs typeface="+mn-cs"/>
        </a:defRPr>
      </a:lvl3pPr>
      <a:lvl4pPr marL="2261768" algn="l" defTabSz="1507846" rtl="0" eaLnBrk="1" latinLnBrk="0" hangingPunct="1">
        <a:defRPr sz="2968" kern="1200">
          <a:solidFill>
            <a:schemeClr val="tx1"/>
          </a:solidFill>
          <a:latin typeface="+mn-lt"/>
          <a:ea typeface="+mn-ea"/>
          <a:cs typeface="+mn-cs"/>
        </a:defRPr>
      </a:lvl4pPr>
      <a:lvl5pPr marL="3015691" algn="l" defTabSz="1507846" rtl="0" eaLnBrk="1" latinLnBrk="0" hangingPunct="1">
        <a:defRPr sz="2968" kern="1200">
          <a:solidFill>
            <a:schemeClr val="tx1"/>
          </a:solidFill>
          <a:latin typeface="+mn-lt"/>
          <a:ea typeface="+mn-ea"/>
          <a:cs typeface="+mn-cs"/>
        </a:defRPr>
      </a:lvl5pPr>
      <a:lvl6pPr marL="3769614" algn="l" defTabSz="1507846" rtl="0" eaLnBrk="1" latinLnBrk="0" hangingPunct="1">
        <a:defRPr sz="2968" kern="1200">
          <a:solidFill>
            <a:schemeClr val="tx1"/>
          </a:solidFill>
          <a:latin typeface="+mn-lt"/>
          <a:ea typeface="+mn-ea"/>
          <a:cs typeface="+mn-cs"/>
        </a:defRPr>
      </a:lvl6pPr>
      <a:lvl7pPr marL="4523537" algn="l" defTabSz="1507846" rtl="0" eaLnBrk="1" latinLnBrk="0" hangingPunct="1">
        <a:defRPr sz="2968" kern="1200">
          <a:solidFill>
            <a:schemeClr val="tx1"/>
          </a:solidFill>
          <a:latin typeface="+mn-lt"/>
          <a:ea typeface="+mn-ea"/>
          <a:cs typeface="+mn-cs"/>
        </a:defRPr>
      </a:lvl7pPr>
      <a:lvl8pPr marL="5277460" algn="l" defTabSz="1507846" rtl="0" eaLnBrk="1" latinLnBrk="0" hangingPunct="1">
        <a:defRPr sz="2968" kern="1200">
          <a:solidFill>
            <a:schemeClr val="tx1"/>
          </a:solidFill>
          <a:latin typeface="+mn-lt"/>
          <a:ea typeface="+mn-ea"/>
          <a:cs typeface="+mn-cs"/>
        </a:defRPr>
      </a:lvl8pPr>
      <a:lvl9pPr marL="6031382" algn="l" defTabSz="1507846" rtl="0" eaLnBrk="1" latinLnBrk="0" hangingPunct="1">
        <a:defRPr sz="2968"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Imagen 3" descr="Patrón de fondo&#10;&#10;Descripción generada automáticamente">
            <a:extLst>
              <a:ext uri="{FF2B5EF4-FFF2-40B4-BE49-F238E27FC236}">
                <a16:creationId xmlns:a16="http://schemas.microsoft.com/office/drawing/2014/main" id="{F418D738-B7C1-286C-78C5-BBD5A5F45894}"/>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0" y="-1"/>
            <a:ext cx="20104100" cy="11374967"/>
          </a:xfrm>
          <a:prstGeom prst="rect">
            <a:avLst/>
          </a:prstGeom>
        </p:spPr>
      </p:pic>
      <p:sp>
        <p:nvSpPr>
          <p:cNvPr id="10" name="object 6">
            <a:extLst>
              <a:ext uri="{FF2B5EF4-FFF2-40B4-BE49-F238E27FC236}">
                <a16:creationId xmlns:a16="http://schemas.microsoft.com/office/drawing/2014/main" id="{973498C8-5A57-DAC6-0EBF-645CFF65D263}"/>
              </a:ext>
            </a:extLst>
          </p:cNvPr>
          <p:cNvSpPr txBox="1"/>
          <p:nvPr userDrawn="1"/>
        </p:nvSpPr>
        <p:spPr>
          <a:xfrm>
            <a:off x="1735539" y="4475572"/>
            <a:ext cx="10254909" cy="1243289"/>
          </a:xfrm>
          <a:prstGeom prst="rect">
            <a:avLst/>
          </a:prstGeom>
        </p:spPr>
        <p:txBody>
          <a:bodyPr vert="horz" wrap="square" lIns="0" tIns="12065" rIns="0" bIns="0" rtlCol="0">
            <a:spAutoFit/>
          </a:bodyPr>
          <a:lstStyle/>
          <a:p>
            <a:pPr marL="12700" marR="5080"/>
            <a:r>
              <a:rPr lang="en-US" sz="8000">
                <a:solidFill>
                  <a:srgbClr val="FFFFFF"/>
                </a:solidFill>
                <a:latin typeface="Ubuntu Light" panose="020B0304030602030204" pitchFamily="34" charset="0"/>
                <a:cs typeface="Ubuntu Light"/>
              </a:rPr>
              <a:t>Solution passports</a:t>
            </a:r>
          </a:p>
        </p:txBody>
      </p:sp>
      <p:sp>
        <p:nvSpPr>
          <p:cNvPr id="11" name="object 5">
            <a:extLst>
              <a:ext uri="{FF2B5EF4-FFF2-40B4-BE49-F238E27FC236}">
                <a16:creationId xmlns:a16="http://schemas.microsoft.com/office/drawing/2014/main" id="{FC655699-1D84-2E5A-484A-FBA67545284B}"/>
              </a:ext>
            </a:extLst>
          </p:cNvPr>
          <p:cNvSpPr txBox="1">
            <a:spLocks/>
          </p:cNvSpPr>
          <p:nvPr userDrawn="1"/>
        </p:nvSpPr>
        <p:spPr>
          <a:xfrm>
            <a:off x="1735539" y="5810684"/>
            <a:ext cx="12012995" cy="664926"/>
          </a:xfrm>
          <a:prstGeom prst="rect">
            <a:avLst/>
          </a:prstGeom>
        </p:spPr>
        <p:txBody>
          <a:bodyPr vert="horz" wrap="square" lIns="0" tIns="109855" rIns="0" bIns="0" rtlCol="0">
            <a:spAutoFit/>
          </a:bodyPr>
          <a:lstStyle>
            <a:lvl1pPr>
              <a:defRPr sz="4900" b="0" i="0">
                <a:solidFill>
                  <a:srgbClr val="2B0A3D"/>
                </a:solidFill>
                <a:latin typeface="Ubuntu Light"/>
                <a:ea typeface="+mj-ea"/>
                <a:cs typeface="Ubuntu Light"/>
              </a:defRPr>
            </a:lvl1pPr>
          </a:lstStyle>
          <a:p>
            <a:pPr marL="12700" marR="5080"/>
            <a:r>
              <a:rPr lang="es-ES" sz="1800" spc="-10">
                <a:solidFill>
                  <a:srgbClr val="12A9D8"/>
                </a:solidFill>
                <a:effectLst>
                  <a:outerShdw blurRad="50800" dist="38100" dir="2700000" algn="tl" rotWithShape="0">
                    <a:prstClr val="black">
                      <a:alpha val="40000"/>
                    </a:prstClr>
                  </a:outerShdw>
                </a:effectLst>
                <a:latin typeface="Ubuntu Light" panose="020B0304030602030204" pitchFamily="34" charset="0"/>
                <a:cs typeface="Ubuntu Mono"/>
              </a:rPr>
              <a:t>#DigitalBusinessWithQuality</a:t>
            </a:r>
          </a:p>
          <a:p>
            <a:pPr marL="12700" marR="5080"/>
            <a:r>
              <a:rPr lang="es-ES" sz="1800" spc="-10">
                <a:solidFill>
                  <a:srgbClr val="12A9D8"/>
                </a:solidFill>
                <a:effectLst>
                  <a:outerShdw blurRad="50800" dist="38100" dir="2700000" algn="tl" rotWithShape="0">
                    <a:prstClr val="black">
                      <a:alpha val="40000"/>
                    </a:prstClr>
                  </a:outerShdw>
                </a:effectLst>
                <a:latin typeface="Ubuntu Light" panose="020B0304030602030204" pitchFamily="34" charset="0"/>
                <a:cs typeface="Ubuntu Mono"/>
              </a:rPr>
              <a:t>#FlourishingWithSogeti</a:t>
            </a:r>
            <a:endParaRPr lang="es-ES" sz="1800">
              <a:solidFill>
                <a:srgbClr val="12A9D8"/>
              </a:solidFill>
              <a:effectLst>
                <a:outerShdw blurRad="50800" dist="38100" dir="2700000" algn="tl" rotWithShape="0">
                  <a:prstClr val="black">
                    <a:alpha val="40000"/>
                  </a:prstClr>
                </a:outerShdw>
              </a:effectLst>
              <a:latin typeface="Ubuntu Light" panose="020B0304030602030204" pitchFamily="34" charset="0"/>
              <a:cs typeface="Ubuntu Mono"/>
            </a:endParaRPr>
          </a:p>
        </p:txBody>
      </p:sp>
      <p:sp>
        <p:nvSpPr>
          <p:cNvPr id="14" name="Forma libre 13">
            <a:extLst>
              <a:ext uri="{FF2B5EF4-FFF2-40B4-BE49-F238E27FC236}">
                <a16:creationId xmlns:a16="http://schemas.microsoft.com/office/drawing/2014/main" id="{B0818C18-214A-1E74-557B-ABEA534815CB}"/>
              </a:ext>
            </a:extLst>
          </p:cNvPr>
          <p:cNvSpPr/>
          <p:nvPr userDrawn="1"/>
        </p:nvSpPr>
        <p:spPr>
          <a:xfrm flipV="1">
            <a:off x="1670050" y="3615054"/>
            <a:ext cx="4786342" cy="781263"/>
          </a:xfrm>
          <a:custGeom>
            <a:avLst/>
            <a:gdLst/>
            <a:ahLst/>
            <a:cxnLst/>
            <a:rect l="l" t="t" r="r" b="b"/>
            <a:pathLst>
              <a:path w="4876802" h="796029">
                <a:moveTo>
                  <a:pt x="2572782" y="405299"/>
                </a:moveTo>
                <a:cubicBezTo>
                  <a:pt x="2589609" y="405299"/>
                  <a:pt x="2601809" y="398820"/>
                  <a:pt x="2609382" y="385863"/>
                </a:cubicBezTo>
                <a:cubicBezTo>
                  <a:pt x="2616954" y="372906"/>
                  <a:pt x="2620740" y="355826"/>
                  <a:pt x="2620740" y="334623"/>
                </a:cubicBezTo>
                <a:cubicBezTo>
                  <a:pt x="2620740" y="313420"/>
                  <a:pt x="2616618" y="296256"/>
                  <a:pt x="2608372" y="283131"/>
                </a:cubicBezTo>
                <a:cubicBezTo>
                  <a:pt x="2600126" y="270006"/>
                  <a:pt x="2587927" y="263443"/>
                  <a:pt x="2571772" y="263443"/>
                </a:cubicBezTo>
                <a:cubicBezTo>
                  <a:pt x="2554945" y="263443"/>
                  <a:pt x="2542744" y="270006"/>
                  <a:pt x="2535172" y="283131"/>
                </a:cubicBezTo>
                <a:cubicBezTo>
                  <a:pt x="2527600" y="296256"/>
                  <a:pt x="2523814" y="313420"/>
                  <a:pt x="2523814" y="334623"/>
                </a:cubicBezTo>
                <a:cubicBezTo>
                  <a:pt x="2523814" y="355826"/>
                  <a:pt x="2527937" y="372906"/>
                  <a:pt x="2536182" y="385863"/>
                </a:cubicBezTo>
                <a:cubicBezTo>
                  <a:pt x="2544428" y="398820"/>
                  <a:pt x="2556628" y="405299"/>
                  <a:pt x="2572782" y="405299"/>
                </a:cubicBezTo>
                <a:close/>
                <a:moveTo>
                  <a:pt x="1810782" y="405299"/>
                </a:moveTo>
                <a:cubicBezTo>
                  <a:pt x="1827610" y="405299"/>
                  <a:pt x="1839810" y="398820"/>
                  <a:pt x="1847382" y="385863"/>
                </a:cubicBezTo>
                <a:cubicBezTo>
                  <a:pt x="1854954" y="372906"/>
                  <a:pt x="1858740" y="355826"/>
                  <a:pt x="1858740" y="334623"/>
                </a:cubicBezTo>
                <a:cubicBezTo>
                  <a:pt x="1858740" y="313420"/>
                  <a:pt x="1854618" y="296256"/>
                  <a:pt x="1846372" y="283131"/>
                </a:cubicBezTo>
                <a:cubicBezTo>
                  <a:pt x="1838127" y="270006"/>
                  <a:pt x="1825927" y="263443"/>
                  <a:pt x="1809772" y="263443"/>
                </a:cubicBezTo>
                <a:cubicBezTo>
                  <a:pt x="1792945" y="263443"/>
                  <a:pt x="1780745" y="270006"/>
                  <a:pt x="1773173" y="283131"/>
                </a:cubicBezTo>
                <a:cubicBezTo>
                  <a:pt x="1765600" y="296256"/>
                  <a:pt x="1761814" y="313420"/>
                  <a:pt x="1761814" y="334623"/>
                </a:cubicBezTo>
                <a:cubicBezTo>
                  <a:pt x="1761814" y="355826"/>
                  <a:pt x="1765937" y="372906"/>
                  <a:pt x="1774182" y="385863"/>
                </a:cubicBezTo>
                <a:cubicBezTo>
                  <a:pt x="1782428" y="398820"/>
                  <a:pt x="1794628" y="405299"/>
                  <a:pt x="1810782" y="405299"/>
                </a:cubicBezTo>
                <a:close/>
                <a:moveTo>
                  <a:pt x="810657" y="405299"/>
                </a:moveTo>
                <a:cubicBezTo>
                  <a:pt x="827485" y="405299"/>
                  <a:pt x="839684" y="398820"/>
                  <a:pt x="847257" y="385863"/>
                </a:cubicBezTo>
                <a:cubicBezTo>
                  <a:pt x="854829" y="372906"/>
                  <a:pt x="858615" y="355826"/>
                  <a:pt x="858616" y="334623"/>
                </a:cubicBezTo>
                <a:cubicBezTo>
                  <a:pt x="858615" y="313420"/>
                  <a:pt x="854493" y="296256"/>
                  <a:pt x="846247" y="283131"/>
                </a:cubicBezTo>
                <a:cubicBezTo>
                  <a:pt x="838002" y="270006"/>
                  <a:pt x="825802" y="263443"/>
                  <a:pt x="809647" y="263443"/>
                </a:cubicBezTo>
                <a:cubicBezTo>
                  <a:pt x="792820" y="263443"/>
                  <a:pt x="780620" y="270006"/>
                  <a:pt x="773048" y="283131"/>
                </a:cubicBezTo>
                <a:cubicBezTo>
                  <a:pt x="765475" y="296256"/>
                  <a:pt x="761689" y="313420"/>
                  <a:pt x="761689" y="334623"/>
                </a:cubicBezTo>
                <a:cubicBezTo>
                  <a:pt x="761689" y="355826"/>
                  <a:pt x="765812" y="372906"/>
                  <a:pt x="774057" y="385863"/>
                </a:cubicBezTo>
                <a:cubicBezTo>
                  <a:pt x="782303" y="398820"/>
                  <a:pt x="794503" y="405299"/>
                  <a:pt x="810657" y="405299"/>
                </a:cubicBezTo>
                <a:close/>
                <a:moveTo>
                  <a:pt x="3325256" y="411861"/>
                </a:moveTo>
                <a:cubicBezTo>
                  <a:pt x="3316506" y="411861"/>
                  <a:pt x="3309608" y="408496"/>
                  <a:pt x="3304560" y="401765"/>
                </a:cubicBezTo>
                <a:cubicBezTo>
                  <a:pt x="3299512" y="395034"/>
                  <a:pt x="3296988" y="387125"/>
                  <a:pt x="3296988" y="378038"/>
                </a:cubicBezTo>
                <a:cubicBezTo>
                  <a:pt x="3296988" y="368951"/>
                  <a:pt x="3299512" y="361126"/>
                  <a:pt x="3304560" y="354564"/>
                </a:cubicBezTo>
                <a:cubicBezTo>
                  <a:pt x="3309608" y="348001"/>
                  <a:pt x="3316506" y="344720"/>
                  <a:pt x="3325256" y="344720"/>
                </a:cubicBezTo>
                <a:cubicBezTo>
                  <a:pt x="3333334" y="344720"/>
                  <a:pt x="3339980" y="348001"/>
                  <a:pt x="3345198" y="354564"/>
                </a:cubicBezTo>
                <a:cubicBezTo>
                  <a:pt x="3350414" y="361126"/>
                  <a:pt x="3353022" y="368951"/>
                  <a:pt x="3353022" y="378038"/>
                </a:cubicBezTo>
                <a:cubicBezTo>
                  <a:pt x="3353022" y="387125"/>
                  <a:pt x="3350414" y="395034"/>
                  <a:pt x="3345198" y="401765"/>
                </a:cubicBezTo>
                <a:cubicBezTo>
                  <a:pt x="3339980" y="408496"/>
                  <a:pt x="3333334" y="411861"/>
                  <a:pt x="3325256" y="411861"/>
                </a:cubicBezTo>
                <a:close/>
                <a:moveTo>
                  <a:pt x="2207070" y="453257"/>
                </a:moveTo>
                <a:lnTo>
                  <a:pt x="2207070" y="401765"/>
                </a:lnTo>
                <a:lnTo>
                  <a:pt x="2272697" y="401765"/>
                </a:lnTo>
                <a:lnTo>
                  <a:pt x="2272697" y="314430"/>
                </a:lnTo>
                <a:cubicBezTo>
                  <a:pt x="2272697" y="297939"/>
                  <a:pt x="2274043" y="283299"/>
                  <a:pt x="2276735" y="270510"/>
                </a:cubicBezTo>
                <a:cubicBezTo>
                  <a:pt x="2279428" y="257721"/>
                  <a:pt x="2284055" y="246868"/>
                  <a:pt x="2290618" y="237949"/>
                </a:cubicBezTo>
                <a:cubicBezTo>
                  <a:pt x="2297181" y="229031"/>
                  <a:pt x="2305931" y="222215"/>
                  <a:pt x="2316869" y="217504"/>
                </a:cubicBezTo>
                <a:cubicBezTo>
                  <a:pt x="2327807" y="212792"/>
                  <a:pt x="2341353" y="210436"/>
                  <a:pt x="2357508" y="210436"/>
                </a:cubicBezTo>
                <a:cubicBezTo>
                  <a:pt x="2366931" y="210436"/>
                  <a:pt x="2377280" y="211530"/>
                  <a:pt x="2388554" y="213718"/>
                </a:cubicBezTo>
                <a:cubicBezTo>
                  <a:pt x="2399829" y="215905"/>
                  <a:pt x="2411860" y="220028"/>
                  <a:pt x="2424649" y="226086"/>
                </a:cubicBezTo>
                <a:lnTo>
                  <a:pt x="2416572" y="276063"/>
                </a:lnTo>
                <a:cubicBezTo>
                  <a:pt x="2406475" y="271352"/>
                  <a:pt x="2397388" y="268239"/>
                  <a:pt x="2389312" y="266724"/>
                </a:cubicBezTo>
                <a:cubicBezTo>
                  <a:pt x="2381234" y="265210"/>
                  <a:pt x="2374335" y="264452"/>
                  <a:pt x="2368614" y="264452"/>
                </a:cubicBezTo>
                <a:cubicBezTo>
                  <a:pt x="2356498" y="264452"/>
                  <a:pt x="2347832" y="267902"/>
                  <a:pt x="2342615" y="274801"/>
                </a:cubicBezTo>
                <a:cubicBezTo>
                  <a:pt x="2337398" y="281701"/>
                  <a:pt x="2334790" y="292218"/>
                  <a:pt x="2334790" y="306353"/>
                </a:cubicBezTo>
                <a:lnTo>
                  <a:pt x="2334790" y="453257"/>
                </a:lnTo>
                <a:close/>
                <a:moveTo>
                  <a:pt x="1088092" y="457800"/>
                </a:moveTo>
                <a:cubicBezTo>
                  <a:pt x="1064870" y="457800"/>
                  <a:pt x="1044593" y="455949"/>
                  <a:pt x="1027260" y="452247"/>
                </a:cubicBezTo>
                <a:cubicBezTo>
                  <a:pt x="1009928" y="448545"/>
                  <a:pt x="993016" y="443665"/>
                  <a:pt x="976526" y="437607"/>
                </a:cubicBezTo>
                <a:lnTo>
                  <a:pt x="976526" y="215989"/>
                </a:lnTo>
                <a:lnTo>
                  <a:pt x="1039124" y="215989"/>
                </a:lnTo>
                <a:lnTo>
                  <a:pt x="1039124" y="392173"/>
                </a:lnTo>
                <a:cubicBezTo>
                  <a:pt x="1047874" y="394529"/>
                  <a:pt x="1056456" y="396128"/>
                  <a:pt x="1064870" y="396969"/>
                </a:cubicBezTo>
                <a:cubicBezTo>
                  <a:pt x="1073284" y="397810"/>
                  <a:pt x="1081866" y="398231"/>
                  <a:pt x="1090616" y="398231"/>
                </a:cubicBezTo>
                <a:cubicBezTo>
                  <a:pt x="1094318" y="398231"/>
                  <a:pt x="1098861" y="398063"/>
                  <a:pt x="1104246" y="397726"/>
                </a:cubicBezTo>
                <a:cubicBezTo>
                  <a:pt x="1109631" y="397390"/>
                  <a:pt x="1115184" y="396801"/>
                  <a:pt x="1120905" y="395959"/>
                </a:cubicBezTo>
                <a:cubicBezTo>
                  <a:pt x="1126627" y="395118"/>
                  <a:pt x="1132264" y="394192"/>
                  <a:pt x="1137817" y="393183"/>
                </a:cubicBezTo>
                <a:cubicBezTo>
                  <a:pt x="1143370" y="392173"/>
                  <a:pt x="1148166" y="391164"/>
                  <a:pt x="1152205" y="390154"/>
                </a:cubicBezTo>
                <a:lnTo>
                  <a:pt x="1163311" y="447704"/>
                </a:lnTo>
                <a:cubicBezTo>
                  <a:pt x="1157589" y="449723"/>
                  <a:pt x="1151111" y="451322"/>
                  <a:pt x="1143875" y="452500"/>
                </a:cubicBezTo>
                <a:cubicBezTo>
                  <a:pt x="1136639" y="453678"/>
                  <a:pt x="1129487" y="454687"/>
                  <a:pt x="1122420" y="455529"/>
                </a:cubicBezTo>
                <a:cubicBezTo>
                  <a:pt x="1115352" y="456370"/>
                  <a:pt x="1108706" y="456959"/>
                  <a:pt x="1102479" y="457296"/>
                </a:cubicBezTo>
                <a:cubicBezTo>
                  <a:pt x="1096253" y="457632"/>
                  <a:pt x="1091457" y="457800"/>
                  <a:pt x="1088092" y="457800"/>
                </a:cubicBezTo>
                <a:close/>
                <a:moveTo>
                  <a:pt x="2572782" y="459315"/>
                </a:moveTo>
                <a:cubicBezTo>
                  <a:pt x="2556628" y="459315"/>
                  <a:pt x="2541651" y="456370"/>
                  <a:pt x="2527852" y="450480"/>
                </a:cubicBezTo>
                <a:cubicBezTo>
                  <a:pt x="2514054" y="444591"/>
                  <a:pt x="2502190" y="436177"/>
                  <a:pt x="2492262" y="425239"/>
                </a:cubicBezTo>
                <a:cubicBezTo>
                  <a:pt x="2482334" y="414301"/>
                  <a:pt x="2474594" y="401176"/>
                  <a:pt x="2469040" y="385863"/>
                </a:cubicBezTo>
                <a:cubicBezTo>
                  <a:pt x="2463487" y="370550"/>
                  <a:pt x="2460711" y="353638"/>
                  <a:pt x="2460711" y="335128"/>
                </a:cubicBezTo>
                <a:cubicBezTo>
                  <a:pt x="2460711" y="316281"/>
                  <a:pt x="2463403" y="299201"/>
                  <a:pt x="2468788" y="283888"/>
                </a:cubicBezTo>
                <a:cubicBezTo>
                  <a:pt x="2474173" y="268575"/>
                  <a:pt x="2481829" y="255366"/>
                  <a:pt x="2491758" y="244259"/>
                </a:cubicBezTo>
                <a:cubicBezTo>
                  <a:pt x="2501686" y="233153"/>
                  <a:pt x="2513465" y="224571"/>
                  <a:pt x="2527095" y="218513"/>
                </a:cubicBezTo>
                <a:cubicBezTo>
                  <a:pt x="2540726" y="212455"/>
                  <a:pt x="2555954" y="209427"/>
                  <a:pt x="2572782" y="209427"/>
                </a:cubicBezTo>
                <a:cubicBezTo>
                  <a:pt x="2589609" y="209427"/>
                  <a:pt x="2604838" y="212455"/>
                  <a:pt x="2618468" y="218513"/>
                </a:cubicBezTo>
                <a:cubicBezTo>
                  <a:pt x="2632098" y="224571"/>
                  <a:pt x="2643794" y="233153"/>
                  <a:pt x="2653554" y="244259"/>
                </a:cubicBezTo>
                <a:cubicBezTo>
                  <a:pt x="2663314" y="255366"/>
                  <a:pt x="2670886" y="268575"/>
                  <a:pt x="2676271" y="283888"/>
                </a:cubicBezTo>
                <a:cubicBezTo>
                  <a:pt x="2681656" y="299201"/>
                  <a:pt x="2684348" y="316281"/>
                  <a:pt x="2684348" y="335128"/>
                </a:cubicBezTo>
                <a:cubicBezTo>
                  <a:pt x="2684348" y="353638"/>
                  <a:pt x="2681656" y="370550"/>
                  <a:pt x="2676271" y="385863"/>
                </a:cubicBezTo>
                <a:cubicBezTo>
                  <a:pt x="2670886" y="401176"/>
                  <a:pt x="2663230" y="414301"/>
                  <a:pt x="2653302" y="425239"/>
                </a:cubicBezTo>
                <a:cubicBezTo>
                  <a:pt x="2643373" y="436177"/>
                  <a:pt x="2631594" y="444591"/>
                  <a:pt x="2617964" y="450480"/>
                </a:cubicBezTo>
                <a:cubicBezTo>
                  <a:pt x="2604334" y="456370"/>
                  <a:pt x="2589273" y="459315"/>
                  <a:pt x="2572782" y="459315"/>
                </a:cubicBezTo>
                <a:close/>
                <a:moveTo>
                  <a:pt x="1810782" y="459315"/>
                </a:moveTo>
                <a:cubicBezTo>
                  <a:pt x="1794628" y="459315"/>
                  <a:pt x="1779651" y="456370"/>
                  <a:pt x="1765853" y="450480"/>
                </a:cubicBezTo>
                <a:cubicBezTo>
                  <a:pt x="1752054" y="444591"/>
                  <a:pt x="1740191" y="436177"/>
                  <a:pt x="1730262" y="425239"/>
                </a:cubicBezTo>
                <a:cubicBezTo>
                  <a:pt x="1720334" y="414301"/>
                  <a:pt x="1712594" y="401176"/>
                  <a:pt x="1707040" y="385863"/>
                </a:cubicBezTo>
                <a:cubicBezTo>
                  <a:pt x="1701488" y="370550"/>
                  <a:pt x="1698711" y="353638"/>
                  <a:pt x="1698711" y="335128"/>
                </a:cubicBezTo>
                <a:cubicBezTo>
                  <a:pt x="1698711" y="316281"/>
                  <a:pt x="1701403" y="299201"/>
                  <a:pt x="1706788" y="283888"/>
                </a:cubicBezTo>
                <a:cubicBezTo>
                  <a:pt x="1712173" y="268575"/>
                  <a:pt x="1719829" y="255366"/>
                  <a:pt x="1729758" y="244259"/>
                </a:cubicBezTo>
                <a:cubicBezTo>
                  <a:pt x="1739686" y="233153"/>
                  <a:pt x="1751465" y="224571"/>
                  <a:pt x="1765095" y="218513"/>
                </a:cubicBezTo>
                <a:cubicBezTo>
                  <a:pt x="1778726" y="212455"/>
                  <a:pt x="1793954" y="209427"/>
                  <a:pt x="1810782" y="209427"/>
                </a:cubicBezTo>
                <a:cubicBezTo>
                  <a:pt x="1827610" y="209427"/>
                  <a:pt x="1842838" y="212455"/>
                  <a:pt x="1856469" y="218513"/>
                </a:cubicBezTo>
                <a:cubicBezTo>
                  <a:pt x="1870099" y="224571"/>
                  <a:pt x="1881794" y="233153"/>
                  <a:pt x="1891554" y="244259"/>
                </a:cubicBezTo>
                <a:cubicBezTo>
                  <a:pt x="1901314" y="255366"/>
                  <a:pt x="1908886" y="268575"/>
                  <a:pt x="1914271" y="283888"/>
                </a:cubicBezTo>
                <a:cubicBezTo>
                  <a:pt x="1919656" y="299201"/>
                  <a:pt x="1922348" y="316281"/>
                  <a:pt x="1922348" y="335128"/>
                </a:cubicBezTo>
                <a:cubicBezTo>
                  <a:pt x="1922348" y="353638"/>
                  <a:pt x="1919656" y="370550"/>
                  <a:pt x="1914271" y="385863"/>
                </a:cubicBezTo>
                <a:cubicBezTo>
                  <a:pt x="1908886" y="401176"/>
                  <a:pt x="1901230" y="414301"/>
                  <a:pt x="1891302" y="425239"/>
                </a:cubicBezTo>
                <a:cubicBezTo>
                  <a:pt x="1881374" y="436177"/>
                  <a:pt x="1869594" y="444591"/>
                  <a:pt x="1855964" y="450480"/>
                </a:cubicBezTo>
                <a:cubicBezTo>
                  <a:pt x="1842334" y="456370"/>
                  <a:pt x="1827273" y="459315"/>
                  <a:pt x="1810782" y="459315"/>
                </a:cubicBezTo>
                <a:close/>
                <a:moveTo>
                  <a:pt x="810657" y="459315"/>
                </a:moveTo>
                <a:cubicBezTo>
                  <a:pt x="794503" y="459315"/>
                  <a:pt x="779526" y="456370"/>
                  <a:pt x="765728" y="450480"/>
                </a:cubicBezTo>
                <a:cubicBezTo>
                  <a:pt x="751929" y="444591"/>
                  <a:pt x="740066" y="436177"/>
                  <a:pt x="730138" y="425239"/>
                </a:cubicBezTo>
                <a:cubicBezTo>
                  <a:pt x="720209" y="414301"/>
                  <a:pt x="712469" y="401176"/>
                  <a:pt x="706916" y="385863"/>
                </a:cubicBezTo>
                <a:cubicBezTo>
                  <a:pt x="701362" y="370550"/>
                  <a:pt x="698586" y="353638"/>
                  <a:pt x="698586" y="335128"/>
                </a:cubicBezTo>
                <a:cubicBezTo>
                  <a:pt x="698586" y="316281"/>
                  <a:pt x="701278" y="299201"/>
                  <a:pt x="706663" y="283888"/>
                </a:cubicBezTo>
                <a:cubicBezTo>
                  <a:pt x="712048" y="268575"/>
                  <a:pt x="719704" y="255366"/>
                  <a:pt x="729633" y="244259"/>
                </a:cubicBezTo>
                <a:cubicBezTo>
                  <a:pt x="739561" y="233153"/>
                  <a:pt x="751340" y="224571"/>
                  <a:pt x="764970" y="218513"/>
                </a:cubicBezTo>
                <a:cubicBezTo>
                  <a:pt x="778601" y="212455"/>
                  <a:pt x="793830" y="209427"/>
                  <a:pt x="810657" y="209427"/>
                </a:cubicBezTo>
                <a:cubicBezTo>
                  <a:pt x="827485" y="209427"/>
                  <a:pt x="842713" y="212455"/>
                  <a:pt x="856344" y="218513"/>
                </a:cubicBezTo>
                <a:cubicBezTo>
                  <a:pt x="869974" y="224571"/>
                  <a:pt x="881669" y="233153"/>
                  <a:pt x="891429" y="244259"/>
                </a:cubicBezTo>
                <a:cubicBezTo>
                  <a:pt x="901189" y="255366"/>
                  <a:pt x="908761" y="268575"/>
                  <a:pt x="914146" y="283888"/>
                </a:cubicBezTo>
                <a:cubicBezTo>
                  <a:pt x="919531" y="299201"/>
                  <a:pt x="922223" y="316281"/>
                  <a:pt x="922223" y="335128"/>
                </a:cubicBezTo>
                <a:cubicBezTo>
                  <a:pt x="922223" y="353638"/>
                  <a:pt x="919531" y="370550"/>
                  <a:pt x="914146" y="385863"/>
                </a:cubicBezTo>
                <a:cubicBezTo>
                  <a:pt x="908761" y="401176"/>
                  <a:pt x="901105" y="414301"/>
                  <a:pt x="891177" y="425239"/>
                </a:cubicBezTo>
                <a:cubicBezTo>
                  <a:pt x="881248" y="436177"/>
                  <a:pt x="869469" y="444591"/>
                  <a:pt x="855839" y="450480"/>
                </a:cubicBezTo>
                <a:cubicBezTo>
                  <a:pt x="842209" y="456370"/>
                  <a:pt x="827148" y="459315"/>
                  <a:pt x="810657" y="459315"/>
                </a:cubicBezTo>
                <a:close/>
                <a:moveTo>
                  <a:pt x="546919" y="477993"/>
                </a:moveTo>
                <a:cubicBezTo>
                  <a:pt x="563410" y="477993"/>
                  <a:pt x="576620" y="474207"/>
                  <a:pt x="586548" y="466635"/>
                </a:cubicBezTo>
                <a:cubicBezTo>
                  <a:pt x="596476" y="459062"/>
                  <a:pt x="601441" y="446189"/>
                  <a:pt x="601441" y="428016"/>
                </a:cubicBezTo>
                <a:cubicBezTo>
                  <a:pt x="601441" y="408832"/>
                  <a:pt x="596392" y="395286"/>
                  <a:pt x="586296" y="387377"/>
                </a:cubicBezTo>
                <a:cubicBezTo>
                  <a:pt x="576199" y="379468"/>
                  <a:pt x="561223" y="375514"/>
                  <a:pt x="541366" y="375514"/>
                </a:cubicBezTo>
                <a:lnTo>
                  <a:pt x="516125" y="375514"/>
                </a:lnTo>
                <a:lnTo>
                  <a:pt x="516125" y="476479"/>
                </a:lnTo>
                <a:cubicBezTo>
                  <a:pt x="519827" y="477152"/>
                  <a:pt x="524960" y="477573"/>
                  <a:pt x="531522" y="477741"/>
                </a:cubicBezTo>
                <a:cubicBezTo>
                  <a:pt x="538085" y="477909"/>
                  <a:pt x="543217" y="477993"/>
                  <a:pt x="546919" y="477993"/>
                </a:cubicBezTo>
                <a:close/>
                <a:moveTo>
                  <a:pt x="3324752" y="482537"/>
                </a:moveTo>
                <a:cubicBezTo>
                  <a:pt x="3341916" y="482537"/>
                  <a:pt x="3354958" y="473198"/>
                  <a:pt x="3363876" y="454519"/>
                </a:cubicBezTo>
                <a:cubicBezTo>
                  <a:pt x="3372794" y="435841"/>
                  <a:pt x="3377254" y="408664"/>
                  <a:pt x="3377254" y="372990"/>
                </a:cubicBezTo>
                <a:cubicBezTo>
                  <a:pt x="3377254" y="336979"/>
                  <a:pt x="3372794" y="309634"/>
                  <a:pt x="3363876" y="290956"/>
                </a:cubicBezTo>
                <a:cubicBezTo>
                  <a:pt x="3354958" y="272277"/>
                  <a:pt x="3341916" y="262938"/>
                  <a:pt x="3324752" y="262938"/>
                </a:cubicBezTo>
                <a:cubicBezTo>
                  <a:pt x="3307924" y="262938"/>
                  <a:pt x="3294968" y="272277"/>
                  <a:pt x="3285880" y="290956"/>
                </a:cubicBezTo>
                <a:cubicBezTo>
                  <a:pt x="3276794" y="309634"/>
                  <a:pt x="3272250" y="336979"/>
                  <a:pt x="3272250" y="372990"/>
                </a:cubicBezTo>
                <a:cubicBezTo>
                  <a:pt x="3272250" y="408664"/>
                  <a:pt x="3276794" y="435841"/>
                  <a:pt x="3285880" y="454519"/>
                </a:cubicBezTo>
                <a:cubicBezTo>
                  <a:pt x="3294968" y="473198"/>
                  <a:pt x="3307924" y="482537"/>
                  <a:pt x="3324752" y="482537"/>
                </a:cubicBezTo>
                <a:close/>
                <a:moveTo>
                  <a:pt x="1323054" y="522923"/>
                </a:moveTo>
                <a:lnTo>
                  <a:pt x="1260961" y="512826"/>
                </a:lnTo>
                <a:lnTo>
                  <a:pt x="1260961" y="453257"/>
                </a:lnTo>
                <a:lnTo>
                  <a:pt x="1206945" y="453257"/>
                </a:lnTo>
                <a:lnTo>
                  <a:pt x="1206945" y="401765"/>
                </a:lnTo>
                <a:lnTo>
                  <a:pt x="1260961" y="401765"/>
                </a:lnTo>
                <a:lnTo>
                  <a:pt x="1260961" y="304334"/>
                </a:lnTo>
                <a:cubicBezTo>
                  <a:pt x="1260961" y="284477"/>
                  <a:pt x="1262980" y="268407"/>
                  <a:pt x="1267019" y="256123"/>
                </a:cubicBezTo>
                <a:cubicBezTo>
                  <a:pt x="1271057" y="243839"/>
                  <a:pt x="1276947" y="234331"/>
                  <a:pt x="1284688" y="227600"/>
                </a:cubicBezTo>
                <a:cubicBezTo>
                  <a:pt x="1292428" y="220869"/>
                  <a:pt x="1301852" y="216326"/>
                  <a:pt x="1312958" y="213970"/>
                </a:cubicBezTo>
                <a:cubicBezTo>
                  <a:pt x="1324064" y="211614"/>
                  <a:pt x="1336853" y="210436"/>
                  <a:pt x="1351325" y="210436"/>
                </a:cubicBezTo>
                <a:cubicBezTo>
                  <a:pt x="1363777" y="210436"/>
                  <a:pt x="1376650" y="211446"/>
                  <a:pt x="1389944" y="213465"/>
                </a:cubicBezTo>
                <a:cubicBezTo>
                  <a:pt x="1403238" y="215484"/>
                  <a:pt x="1415606" y="218850"/>
                  <a:pt x="1427048" y="223562"/>
                </a:cubicBezTo>
                <a:lnTo>
                  <a:pt x="1418466" y="277073"/>
                </a:lnTo>
                <a:cubicBezTo>
                  <a:pt x="1412745" y="274381"/>
                  <a:pt x="1407444" y="272193"/>
                  <a:pt x="1402564" y="270510"/>
                </a:cubicBezTo>
                <a:cubicBezTo>
                  <a:pt x="1397684" y="268828"/>
                  <a:pt x="1392973" y="267566"/>
                  <a:pt x="1388429" y="266724"/>
                </a:cubicBezTo>
                <a:cubicBezTo>
                  <a:pt x="1383886" y="265883"/>
                  <a:pt x="1379174" y="265294"/>
                  <a:pt x="1374294" y="264957"/>
                </a:cubicBezTo>
                <a:cubicBezTo>
                  <a:pt x="1369414" y="264621"/>
                  <a:pt x="1364114" y="264452"/>
                  <a:pt x="1358392" y="264452"/>
                </a:cubicBezTo>
                <a:cubicBezTo>
                  <a:pt x="1353007" y="264452"/>
                  <a:pt x="1348127" y="264957"/>
                  <a:pt x="1343752" y="265967"/>
                </a:cubicBezTo>
                <a:cubicBezTo>
                  <a:pt x="1339377" y="266977"/>
                  <a:pt x="1335675" y="268996"/>
                  <a:pt x="1332646" y="272025"/>
                </a:cubicBezTo>
                <a:cubicBezTo>
                  <a:pt x="1329617" y="275054"/>
                  <a:pt x="1327261" y="279261"/>
                  <a:pt x="1325579" y="284645"/>
                </a:cubicBezTo>
                <a:cubicBezTo>
                  <a:pt x="1323896" y="290030"/>
                  <a:pt x="1323054" y="297098"/>
                  <a:pt x="1323054" y="305848"/>
                </a:cubicBezTo>
                <a:lnTo>
                  <a:pt x="1323054" y="401765"/>
                </a:lnTo>
                <a:lnTo>
                  <a:pt x="1422505" y="401765"/>
                </a:lnTo>
                <a:lnTo>
                  <a:pt x="1422505" y="453257"/>
                </a:lnTo>
                <a:lnTo>
                  <a:pt x="1323054" y="453257"/>
                </a:lnTo>
                <a:close/>
                <a:moveTo>
                  <a:pt x="539852" y="532010"/>
                </a:moveTo>
                <a:cubicBezTo>
                  <a:pt x="534131" y="532010"/>
                  <a:pt x="527568" y="531841"/>
                  <a:pt x="520164" y="531505"/>
                </a:cubicBezTo>
                <a:cubicBezTo>
                  <a:pt x="512760" y="531168"/>
                  <a:pt x="505187" y="530748"/>
                  <a:pt x="497447" y="530243"/>
                </a:cubicBezTo>
                <a:cubicBezTo>
                  <a:pt x="489706" y="529738"/>
                  <a:pt x="482049" y="528981"/>
                  <a:pt x="474477" y="527971"/>
                </a:cubicBezTo>
                <a:cubicBezTo>
                  <a:pt x="466905" y="526961"/>
                  <a:pt x="460090" y="525784"/>
                  <a:pt x="454032" y="524437"/>
                </a:cubicBezTo>
                <a:lnTo>
                  <a:pt x="454032" y="215989"/>
                </a:lnTo>
                <a:lnTo>
                  <a:pt x="516125" y="215989"/>
                </a:lnTo>
                <a:lnTo>
                  <a:pt x="516125" y="321498"/>
                </a:lnTo>
                <a:lnTo>
                  <a:pt x="538337" y="321498"/>
                </a:lnTo>
                <a:cubicBezTo>
                  <a:pt x="578723" y="321498"/>
                  <a:pt x="609938" y="329827"/>
                  <a:pt x="631982" y="346486"/>
                </a:cubicBezTo>
                <a:cubicBezTo>
                  <a:pt x="654026" y="363146"/>
                  <a:pt x="665048" y="390154"/>
                  <a:pt x="665048" y="427511"/>
                </a:cubicBezTo>
                <a:cubicBezTo>
                  <a:pt x="665048" y="464531"/>
                  <a:pt x="654111" y="491203"/>
                  <a:pt x="632235" y="507526"/>
                </a:cubicBezTo>
                <a:cubicBezTo>
                  <a:pt x="610359" y="523848"/>
                  <a:pt x="579565" y="532010"/>
                  <a:pt x="539852" y="532010"/>
                </a:cubicBezTo>
                <a:close/>
                <a:moveTo>
                  <a:pt x="3816452" y="535544"/>
                </a:moveTo>
                <a:cubicBezTo>
                  <a:pt x="3797604" y="535544"/>
                  <a:pt x="3780694" y="532430"/>
                  <a:pt x="3765716" y="526204"/>
                </a:cubicBezTo>
                <a:cubicBezTo>
                  <a:pt x="3750740" y="519978"/>
                  <a:pt x="3738708" y="513836"/>
                  <a:pt x="3729622" y="507778"/>
                </a:cubicBezTo>
                <a:lnTo>
                  <a:pt x="3751834" y="462344"/>
                </a:lnTo>
                <a:cubicBezTo>
                  <a:pt x="3760248" y="468065"/>
                  <a:pt x="3770260" y="472861"/>
                  <a:pt x="3781872" y="476731"/>
                </a:cubicBezTo>
                <a:cubicBezTo>
                  <a:pt x="3793482" y="480602"/>
                  <a:pt x="3805178" y="482537"/>
                  <a:pt x="3816956" y="482537"/>
                </a:cubicBezTo>
                <a:cubicBezTo>
                  <a:pt x="3829072" y="482537"/>
                  <a:pt x="3838580" y="479255"/>
                  <a:pt x="3845480" y="472693"/>
                </a:cubicBezTo>
                <a:cubicBezTo>
                  <a:pt x="3852378" y="466130"/>
                  <a:pt x="3855828" y="457127"/>
                  <a:pt x="3855828" y="445685"/>
                </a:cubicBezTo>
                <a:cubicBezTo>
                  <a:pt x="3855828" y="437944"/>
                  <a:pt x="3854230" y="431550"/>
                  <a:pt x="3851032" y="426501"/>
                </a:cubicBezTo>
                <a:cubicBezTo>
                  <a:pt x="3847836" y="421453"/>
                  <a:pt x="3843712" y="417414"/>
                  <a:pt x="3838664" y="414385"/>
                </a:cubicBezTo>
                <a:cubicBezTo>
                  <a:pt x="3833616" y="411357"/>
                  <a:pt x="3827894" y="409169"/>
                  <a:pt x="3821500" y="407823"/>
                </a:cubicBezTo>
                <a:cubicBezTo>
                  <a:pt x="3815106" y="406477"/>
                  <a:pt x="3808712" y="405803"/>
                  <a:pt x="3802316" y="405803"/>
                </a:cubicBezTo>
                <a:lnTo>
                  <a:pt x="3779094" y="405803"/>
                </a:lnTo>
                <a:lnTo>
                  <a:pt x="3779094" y="354311"/>
                </a:lnTo>
                <a:lnTo>
                  <a:pt x="3798278" y="354311"/>
                </a:lnTo>
                <a:cubicBezTo>
                  <a:pt x="3818470" y="354311"/>
                  <a:pt x="3835130" y="351030"/>
                  <a:pt x="3848256" y="344467"/>
                </a:cubicBezTo>
                <a:cubicBezTo>
                  <a:pt x="3861380" y="337904"/>
                  <a:pt x="3867944" y="326378"/>
                  <a:pt x="3867944" y="309887"/>
                </a:cubicBezTo>
                <a:cubicBezTo>
                  <a:pt x="3867944" y="296425"/>
                  <a:pt x="3863652" y="285150"/>
                  <a:pt x="3855072" y="276063"/>
                </a:cubicBezTo>
                <a:cubicBezTo>
                  <a:pt x="3846488" y="266977"/>
                  <a:pt x="3831596" y="262433"/>
                  <a:pt x="3810394" y="262433"/>
                </a:cubicBezTo>
                <a:cubicBezTo>
                  <a:pt x="3793230" y="262433"/>
                  <a:pt x="3778506" y="264284"/>
                  <a:pt x="3766222" y="267986"/>
                </a:cubicBezTo>
                <a:cubicBezTo>
                  <a:pt x="3753938" y="271688"/>
                  <a:pt x="3743924" y="275222"/>
                  <a:pt x="3736184" y="278588"/>
                </a:cubicBezTo>
                <a:lnTo>
                  <a:pt x="3724068" y="226591"/>
                </a:lnTo>
                <a:cubicBezTo>
                  <a:pt x="3727770" y="224908"/>
                  <a:pt x="3732988" y="223057"/>
                  <a:pt x="3739718" y="221037"/>
                </a:cubicBezTo>
                <a:cubicBezTo>
                  <a:pt x="3746450" y="219018"/>
                  <a:pt x="3753770" y="217167"/>
                  <a:pt x="3761678" y="215484"/>
                </a:cubicBezTo>
                <a:cubicBezTo>
                  <a:pt x="3769588" y="213802"/>
                  <a:pt x="3777832" y="212371"/>
                  <a:pt x="3786414" y="211193"/>
                </a:cubicBezTo>
                <a:cubicBezTo>
                  <a:pt x="3794996" y="210015"/>
                  <a:pt x="3803158" y="209427"/>
                  <a:pt x="3810898" y="209427"/>
                </a:cubicBezTo>
                <a:cubicBezTo>
                  <a:pt x="3831764" y="209427"/>
                  <a:pt x="3849770" y="211867"/>
                  <a:pt x="3864916" y="216746"/>
                </a:cubicBezTo>
                <a:cubicBezTo>
                  <a:pt x="3880060" y="221626"/>
                  <a:pt x="3892512" y="228526"/>
                  <a:pt x="3902272" y="237444"/>
                </a:cubicBezTo>
                <a:cubicBezTo>
                  <a:pt x="3912032" y="246363"/>
                  <a:pt x="3919268" y="256880"/>
                  <a:pt x="3923980" y="268996"/>
                </a:cubicBezTo>
                <a:cubicBezTo>
                  <a:pt x="3928692" y="281112"/>
                  <a:pt x="3931048" y="294405"/>
                  <a:pt x="3931048" y="308877"/>
                </a:cubicBezTo>
                <a:cubicBezTo>
                  <a:pt x="3931048" y="327051"/>
                  <a:pt x="3926588" y="342700"/>
                  <a:pt x="3917668" y="355826"/>
                </a:cubicBezTo>
                <a:cubicBezTo>
                  <a:pt x="3908750" y="368951"/>
                  <a:pt x="3896214" y="378879"/>
                  <a:pt x="3880060" y="385610"/>
                </a:cubicBezTo>
                <a:cubicBezTo>
                  <a:pt x="3891840" y="391668"/>
                  <a:pt x="3901262" y="400419"/>
                  <a:pt x="3908330" y="411861"/>
                </a:cubicBezTo>
                <a:cubicBezTo>
                  <a:pt x="3915398" y="423304"/>
                  <a:pt x="3918932" y="435252"/>
                  <a:pt x="3918932" y="447704"/>
                </a:cubicBezTo>
                <a:cubicBezTo>
                  <a:pt x="3918932" y="460156"/>
                  <a:pt x="3916912" y="471767"/>
                  <a:pt x="3912874" y="482537"/>
                </a:cubicBezTo>
                <a:cubicBezTo>
                  <a:pt x="3908834" y="493306"/>
                  <a:pt x="3902608" y="502646"/>
                  <a:pt x="3894196" y="510555"/>
                </a:cubicBezTo>
                <a:cubicBezTo>
                  <a:pt x="3885780" y="518464"/>
                  <a:pt x="3875096" y="524606"/>
                  <a:pt x="3862138" y="528981"/>
                </a:cubicBezTo>
                <a:cubicBezTo>
                  <a:pt x="3849180" y="533356"/>
                  <a:pt x="3833952" y="535544"/>
                  <a:pt x="3816452" y="535544"/>
                </a:cubicBezTo>
                <a:close/>
                <a:moveTo>
                  <a:pt x="3567354" y="535544"/>
                </a:moveTo>
                <a:cubicBezTo>
                  <a:pt x="3549854" y="535544"/>
                  <a:pt x="3532268" y="532178"/>
                  <a:pt x="3514600" y="525447"/>
                </a:cubicBezTo>
                <a:cubicBezTo>
                  <a:pt x="3496930" y="518716"/>
                  <a:pt x="3481366" y="508283"/>
                  <a:pt x="3467904" y="494148"/>
                </a:cubicBezTo>
                <a:lnTo>
                  <a:pt x="3498698" y="450733"/>
                </a:lnTo>
                <a:cubicBezTo>
                  <a:pt x="3509130" y="461839"/>
                  <a:pt x="3519732" y="469748"/>
                  <a:pt x="3530502" y="474460"/>
                </a:cubicBezTo>
                <a:cubicBezTo>
                  <a:pt x="3541272" y="479171"/>
                  <a:pt x="3551536" y="481527"/>
                  <a:pt x="3561296" y="481527"/>
                </a:cubicBezTo>
                <a:cubicBezTo>
                  <a:pt x="3573076" y="481527"/>
                  <a:pt x="3582836" y="478078"/>
                  <a:pt x="3590576" y="471178"/>
                </a:cubicBezTo>
                <a:cubicBezTo>
                  <a:pt x="3598316" y="464279"/>
                  <a:pt x="3602186" y="454435"/>
                  <a:pt x="3602188" y="441646"/>
                </a:cubicBezTo>
                <a:cubicBezTo>
                  <a:pt x="3602186" y="432559"/>
                  <a:pt x="3599074" y="423641"/>
                  <a:pt x="3592848" y="414890"/>
                </a:cubicBezTo>
                <a:cubicBezTo>
                  <a:pt x="3586622" y="406140"/>
                  <a:pt x="3578712" y="397053"/>
                  <a:pt x="3569120" y="387630"/>
                </a:cubicBezTo>
                <a:cubicBezTo>
                  <a:pt x="3559528" y="378206"/>
                  <a:pt x="3549264" y="368362"/>
                  <a:pt x="3538326" y="358097"/>
                </a:cubicBezTo>
                <a:cubicBezTo>
                  <a:pt x="3527388" y="347833"/>
                  <a:pt x="3517124" y="336727"/>
                  <a:pt x="3507532" y="324779"/>
                </a:cubicBezTo>
                <a:cubicBezTo>
                  <a:pt x="3497940" y="312831"/>
                  <a:pt x="3490032" y="299790"/>
                  <a:pt x="3483806" y="285655"/>
                </a:cubicBezTo>
                <a:cubicBezTo>
                  <a:pt x="3477580" y="271520"/>
                  <a:pt x="3474466" y="256039"/>
                  <a:pt x="3474466" y="239211"/>
                </a:cubicBezTo>
                <a:cubicBezTo>
                  <a:pt x="3474466" y="237192"/>
                  <a:pt x="3474382" y="233658"/>
                  <a:pt x="3474214" y="228610"/>
                </a:cubicBezTo>
                <a:cubicBezTo>
                  <a:pt x="3474046" y="223562"/>
                  <a:pt x="3474466" y="219355"/>
                  <a:pt x="3475476" y="215989"/>
                </a:cubicBezTo>
                <a:lnTo>
                  <a:pt x="3679426" y="215989"/>
                </a:lnTo>
                <a:lnTo>
                  <a:pt x="3679426" y="267481"/>
                </a:lnTo>
                <a:lnTo>
                  <a:pt x="3545142" y="267481"/>
                </a:lnTo>
                <a:cubicBezTo>
                  <a:pt x="3545142" y="272530"/>
                  <a:pt x="3546908" y="278083"/>
                  <a:pt x="3550442" y="284141"/>
                </a:cubicBezTo>
                <a:cubicBezTo>
                  <a:pt x="3553976" y="290198"/>
                  <a:pt x="3558268" y="296172"/>
                  <a:pt x="3563316" y="302062"/>
                </a:cubicBezTo>
                <a:cubicBezTo>
                  <a:pt x="3568364" y="307952"/>
                  <a:pt x="3573748" y="313673"/>
                  <a:pt x="3579470" y="319226"/>
                </a:cubicBezTo>
                <a:cubicBezTo>
                  <a:pt x="3585190" y="324779"/>
                  <a:pt x="3590240" y="329575"/>
                  <a:pt x="3594614" y="333613"/>
                </a:cubicBezTo>
                <a:cubicBezTo>
                  <a:pt x="3603364" y="341691"/>
                  <a:pt x="3611946" y="350104"/>
                  <a:pt x="3620360" y="358855"/>
                </a:cubicBezTo>
                <a:cubicBezTo>
                  <a:pt x="3628774" y="367605"/>
                  <a:pt x="3636346" y="376692"/>
                  <a:pt x="3643078" y="386115"/>
                </a:cubicBezTo>
                <a:cubicBezTo>
                  <a:pt x="3649808" y="395539"/>
                  <a:pt x="3655194" y="405214"/>
                  <a:pt x="3659232" y="415143"/>
                </a:cubicBezTo>
                <a:cubicBezTo>
                  <a:pt x="3663270" y="425071"/>
                  <a:pt x="3665290" y="435420"/>
                  <a:pt x="3665290" y="446189"/>
                </a:cubicBezTo>
                <a:cubicBezTo>
                  <a:pt x="3665290" y="460998"/>
                  <a:pt x="3662598" y="474039"/>
                  <a:pt x="3657212" y="485313"/>
                </a:cubicBezTo>
                <a:cubicBezTo>
                  <a:pt x="3651828" y="496588"/>
                  <a:pt x="3644592" y="505927"/>
                  <a:pt x="3635506" y="513331"/>
                </a:cubicBezTo>
                <a:cubicBezTo>
                  <a:pt x="3626418" y="520735"/>
                  <a:pt x="3615986" y="526288"/>
                  <a:pt x="3604206" y="529990"/>
                </a:cubicBezTo>
                <a:cubicBezTo>
                  <a:pt x="3592426" y="533692"/>
                  <a:pt x="3580142" y="535544"/>
                  <a:pt x="3567354" y="535544"/>
                </a:cubicBezTo>
                <a:close/>
                <a:moveTo>
                  <a:pt x="3324752" y="535544"/>
                </a:moveTo>
                <a:cubicBezTo>
                  <a:pt x="3290088" y="535544"/>
                  <a:pt x="3263332" y="522081"/>
                  <a:pt x="3244486" y="495157"/>
                </a:cubicBezTo>
                <a:cubicBezTo>
                  <a:pt x="3225638" y="468233"/>
                  <a:pt x="3216214" y="427511"/>
                  <a:pt x="3216214" y="372990"/>
                </a:cubicBezTo>
                <a:cubicBezTo>
                  <a:pt x="3216214" y="317796"/>
                  <a:pt x="3225470" y="276737"/>
                  <a:pt x="3243980" y="249813"/>
                </a:cubicBezTo>
                <a:cubicBezTo>
                  <a:pt x="3262490" y="222889"/>
                  <a:pt x="3289414" y="209427"/>
                  <a:pt x="3324752" y="209427"/>
                </a:cubicBezTo>
                <a:cubicBezTo>
                  <a:pt x="3360090" y="209427"/>
                  <a:pt x="3387014" y="222889"/>
                  <a:pt x="3405524" y="249813"/>
                </a:cubicBezTo>
                <a:cubicBezTo>
                  <a:pt x="3424034" y="276737"/>
                  <a:pt x="3433290" y="317796"/>
                  <a:pt x="3433290" y="372990"/>
                </a:cubicBezTo>
                <a:cubicBezTo>
                  <a:pt x="3433290" y="427847"/>
                  <a:pt x="3424034" y="468654"/>
                  <a:pt x="3405524" y="495410"/>
                </a:cubicBezTo>
                <a:cubicBezTo>
                  <a:pt x="3387014" y="522166"/>
                  <a:pt x="3360090" y="535544"/>
                  <a:pt x="3324752" y="535544"/>
                </a:cubicBezTo>
                <a:close/>
                <a:moveTo>
                  <a:pt x="3062528" y="535544"/>
                </a:moveTo>
                <a:cubicBezTo>
                  <a:pt x="3045028" y="535544"/>
                  <a:pt x="3027444" y="532178"/>
                  <a:pt x="3009774" y="525447"/>
                </a:cubicBezTo>
                <a:cubicBezTo>
                  <a:pt x="2992106" y="518716"/>
                  <a:pt x="2976540" y="508283"/>
                  <a:pt x="2963078" y="494148"/>
                </a:cubicBezTo>
                <a:lnTo>
                  <a:pt x="2993872" y="450733"/>
                </a:lnTo>
                <a:cubicBezTo>
                  <a:pt x="3004306" y="461839"/>
                  <a:pt x="3014908" y="469748"/>
                  <a:pt x="3025676" y="474460"/>
                </a:cubicBezTo>
                <a:cubicBezTo>
                  <a:pt x="3036446" y="479171"/>
                  <a:pt x="3046712" y="481527"/>
                  <a:pt x="3056472" y="481527"/>
                </a:cubicBezTo>
                <a:cubicBezTo>
                  <a:pt x="3068250" y="481527"/>
                  <a:pt x="3078010" y="478078"/>
                  <a:pt x="3085752" y="471178"/>
                </a:cubicBezTo>
                <a:cubicBezTo>
                  <a:pt x="3093492" y="464279"/>
                  <a:pt x="3097362" y="454435"/>
                  <a:pt x="3097362" y="441646"/>
                </a:cubicBezTo>
                <a:cubicBezTo>
                  <a:pt x="3097362" y="432559"/>
                  <a:pt x="3094248" y="423641"/>
                  <a:pt x="3088022" y="414890"/>
                </a:cubicBezTo>
                <a:cubicBezTo>
                  <a:pt x="3081796" y="406140"/>
                  <a:pt x="3073888" y="397053"/>
                  <a:pt x="3064296" y="387630"/>
                </a:cubicBezTo>
                <a:cubicBezTo>
                  <a:pt x="3054704" y="378206"/>
                  <a:pt x="3044440" y="368362"/>
                  <a:pt x="3033502" y="358097"/>
                </a:cubicBezTo>
                <a:cubicBezTo>
                  <a:pt x="3022564" y="347833"/>
                  <a:pt x="3012298" y="336727"/>
                  <a:pt x="3002708" y="324779"/>
                </a:cubicBezTo>
                <a:cubicBezTo>
                  <a:pt x="2993116" y="312831"/>
                  <a:pt x="2985206" y="299790"/>
                  <a:pt x="2978980" y="285655"/>
                </a:cubicBezTo>
                <a:cubicBezTo>
                  <a:pt x="2972754" y="271520"/>
                  <a:pt x="2969642" y="256039"/>
                  <a:pt x="2969642" y="239211"/>
                </a:cubicBezTo>
                <a:cubicBezTo>
                  <a:pt x="2969642" y="237192"/>
                  <a:pt x="2969558" y="233658"/>
                  <a:pt x="2969388" y="228610"/>
                </a:cubicBezTo>
                <a:cubicBezTo>
                  <a:pt x="2969220" y="223562"/>
                  <a:pt x="2969640" y="219355"/>
                  <a:pt x="2970650" y="215989"/>
                </a:cubicBezTo>
                <a:lnTo>
                  <a:pt x="3174600" y="215989"/>
                </a:lnTo>
                <a:lnTo>
                  <a:pt x="3174600" y="267481"/>
                </a:lnTo>
                <a:lnTo>
                  <a:pt x="3040316" y="267481"/>
                </a:lnTo>
                <a:cubicBezTo>
                  <a:pt x="3040316" y="272530"/>
                  <a:pt x="3042084" y="278083"/>
                  <a:pt x="3045618" y="284141"/>
                </a:cubicBezTo>
                <a:cubicBezTo>
                  <a:pt x="3049152" y="290198"/>
                  <a:pt x="3053442" y="296172"/>
                  <a:pt x="3058490" y="302062"/>
                </a:cubicBezTo>
                <a:cubicBezTo>
                  <a:pt x="3063538" y="307952"/>
                  <a:pt x="3068924" y="313673"/>
                  <a:pt x="3074644" y="319226"/>
                </a:cubicBezTo>
                <a:cubicBezTo>
                  <a:pt x="3080366" y="324779"/>
                  <a:pt x="3085414" y="329575"/>
                  <a:pt x="3089790" y="333613"/>
                </a:cubicBezTo>
                <a:cubicBezTo>
                  <a:pt x="3098540" y="341691"/>
                  <a:pt x="3107122" y="350104"/>
                  <a:pt x="3115536" y="358855"/>
                </a:cubicBezTo>
                <a:cubicBezTo>
                  <a:pt x="3123950" y="367605"/>
                  <a:pt x="3131522" y="376692"/>
                  <a:pt x="3138252" y="386115"/>
                </a:cubicBezTo>
                <a:cubicBezTo>
                  <a:pt x="3144984" y="395539"/>
                  <a:pt x="3150368" y="405214"/>
                  <a:pt x="3154408" y="415143"/>
                </a:cubicBezTo>
                <a:cubicBezTo>
                  <a:pt x="3158446" y="425071"/>
                  <a:pt x="3160464" y="435420"/>
                  <a:pt x="3160464" y="446189"/>
                </a:cubicBezTo>
                <a:cubicBezTo>
                  <a:pt x="3160464" y="460998"/>
                  <a:pt x="3157772" y="474039"/>
                  <a:pt x="3152388" y="485313"/>
                </a:cubicBezTo>
                <a:cubicBezTo>
                  <a:pt x="3147002" y="496588"/>
                  <a:pt x="3139766" y="505927"/>
                  <a:pt x="3130680" y="513331"/>
                </a:cubicBezTo>
                <a:cubicBezTo>
                  <a:pt x="3121594" y="520735"/>
                  <a:pt x="3111160" y="526288"/>
                  <a:pt x="3099382" y="529990"/>
                </a:cubicBezTo>
                <a:cubicBezTo>
                  <a:pt x="3087602" y="533692"/>
                  <a:pt x="3075318" y="535544"/>
                  <a:pt x="3062528" y="535544"/>
                </a:cubicBezTo>
                <a:close/>
                <a:moveTo>
                  <a:pt x="2292890" y="561290"/>
                </a:moveTo>
                <a:cubicBezTo>
                  <a:pt x="2282120" y="561290"/>
                  <a:pt x="2272949" y="557756"/>
                  <a:pt x="2265377" y="550688"/>
                </a:cubicBezTo>
                <a:cubicBezTo>
                  <a:pt x="2257805" y="543621"/>
                  <a:pt x="2254018" y="533861"/>
                  <a:pt x="2254018" y="521408"/>
                </a:cubicBezTo>
                <a:cubicBezTo>
                  <a:pt x="2254018" y="509293"/>
                  <a:pt x="2257805" y="499701"/>
                  <a:pt x="2265377" y="492633"/>
                </a:cubicBezTo>
                <a:cubicBezTo>
                  <a:pt x="2272949" y="485566"/>
                  <a:pt x="2282120" y="482032"/>
                  <a:pt x="2292890" y="482032"/>
                </a:cubicBezTo>
                <a:cubicBezTo>
                  <a:pt x="2303660" y="482032"/>
                  <a:pt x="2312914" y="485566"/>
                  <a:pt x="2320655" y="492633"/>
                </a:cubicBezTo>
                <a:cubicBezTo>
                  <a:pt x="2328396" y="499701"/>
                  <a:pt x="2332266" y="509293"/>
                  <a:pt x="2332266" y="521408"/>
                </a:cubicBezTo>
                <a:cubicBezTo>
                  <a:pt x="2332266" y="533861"/>
                  <a:pt x="2328396" y="543621"/>
                  <a:pt x="2320655" y="550688"/>
                </a:cubicBezTo>
                <a:cubicBezTo>
                  <a:pt x="2312914" y="557756"/>
                  <a:pt x="2303660" y="561290"/>
                  <a:pt x="2292890" y="561290"/>
                </a:cubicBezTo>
                <a:close/>
                <a:moveTo>
                  <a:pt x="1959420" y="563309"/>
                </a:moveTo>
                <a:lnTo>
                  <a:pt x="1959420" y="511817"/>
                </a:lnTo>
                <a:lnTo>
                  <a:pt x="2025047" y="511817"/>
                </a:lnTo>
                <a:lnTo>
                  <a:pt x="2025047" y="310392"/>
                </a:lnTo>
                <a:cubicBezTo>
                  <a:pt x="2025047" y="277746"/>
                  <a:pt x="2031610" y="252926"/>
                  <a:pt x="2044735" y="235930"/>
                </a:cubicBezTo>
                <a:cubicBezTo>
                  <a:pt x="2057860" y="218934"/>
                  <a:pt x="2078727" y="210436"/>
                  <a:pt x="2107333" y="210436"/>
                </a:cubicBezTo>
                <a:cubicBezTo>
                  <a:pt x="2117767" y="210436"/>
                  <a:pt x="2127106" y="211109"/>
                  <a:pt x="2135351" y="212455"/>
                </a:cubicBezTo>
                <a:cubicBezTo>
                  <a:pt x="2143597" y="213802"/>
                  <a:pt x="2150580" y="215400"/>
                  <a:pt x="2156302" y="217251"/>
                </a:cubicBezTo>
                <a:cubicBezTo>
                  <a:pt x="2162023" y="219102"/>
                  <a:pt x="2166650" y="220869"/>
                  <a:pt x="2170184" y="222552"/>
                </a:cubicBezTo>
                <a:cubicBezTo>
                  <a:pt x="2173718" y="224235"/>
                  <a:pt x="2175990" y="225413"/>
                  <a:pt x="2176999" y="226086"/>
                </a:cubicBezTo>
                <a:lnTo>
                  <a:pt x="2168922" y="276063"/>
                </a:lnTo>
                <a:cubicBezTo>
                  <a:pt x="2166230" y="275054"/>
                  <a:pt x="2160677" y="272866"/>
                  <a:pt x="2152263" y="269501"/>
                </a:cubicBezTo>
                <a:cubicBezTo>
                  <a:pt x="2143849" y="266135"/>
                  <a:pt x="2133416" y="264452"/>
                  <a:pt x="2120964" y="264452"/>
                </a:cubicBezTo>
                <a:cubicBezTo>
                  <a:pt x="2111204" y="264452"/>
                  <a:pt x="2103126" y="267313"/>
                  <a:pt x="2096732" y="273034"/>
                </a:cubicBezTo>
                <a:cubicBezTo>
                  <a:pt x="2090338" y="278756"/>
                  <a:pt x="2087140" y="289694"/>
                  <a:pt x="2087140" y="305848"/>
                </a:cubicBezTo>
                <a:lnTo>
                  <a:pt x="2087140" y="563309"/>
                </a:lnTo>
                <a:close/>
                <a:moveTo>
                  <a:pt x="1607052" y="565833"/>
                </a:moveTo>
                <a:cubicBezTo>
                  <a:pt x="1594263" y="565833"/>
                  <a:pt x="1581811" y="564234"/>
                  <a:pt x="1569695" y="561037"/>
                </a:cubicBezTo>
                <a:cubicBezTo>
                  <a:pt x="1557579" y="557840"/>
                  <a:pt x="1546810" y="552455"/>
                  <a:pt x="1537386" y="544883"/>
                </a:cubicBezTo>
                <a:cubicBezTo>
                  <a:pt x="1527963" y="537310"/>
                  <a:pt x="1520474" y="527214"/>
                  <a:pt x="1514921" y="514593"/>
                </a:cubicBezTo>
                <a:cubicBezTo>
                  <a:pt x="1509368" y="501973"/>
                  <a:pt x="1506592" y="486071"/>
                  <a:pt x="1506592" y="466887"/>
                </a:cubicBezTo>
                <a:lnTo>
                  <a:pt x="1506592" y="453257"/>
                </a:lnTo>
                <a:lnTo>
                  <a:pt x="1454595" y="453257"/>
                </a:lnTo>
                <a:lnTo>
                  <a:pt x="1454595" y="401765"/>
                </a:lnTo>
                <a:lnTo>
                  <a:pt x="1506592" y="401765"/>
                </a:lnTo>
                <a:lnTo>
                  <a:pt x="1506592" y="215989"/>
                </a:lnTo>
                <a:lnTo>
                  <a:pt x="1569190" y="215989"/>
                </a:lnTo>
                <a:lnTo>
                  <a:pt x="1569190" y="401765"/>
                </a:lnTo>
                <a:lnTo>
                  <a:pt x="1666621" y="401765"/>
                </a:lnTo>
                <a:lnTo>
                  <a:pt x="1666621" y="453257"/>
                </a:lnTo>
                <a:lnTo>
                  <a:pt x="1569190" y="453257"/>
                </a:lnTo>
                <a:lnTo>
                  <a:pt x="1569190" y="465878"/>
                </a:lnTo>
                <a:cubicBezTo>
                  <a:pt x="1569190" y="475974"/>
                  <a:pt x="1570368" y="484135"/>
                  <a:pt x="1572724" y="490362"/>
                </a:cubicBezTo>
                <a:cubicBezTo>
                  <a:pt x="1575080" y="496588"/>
                  <a:pt x="1578193" y="501384"/>
                  <a:pt x="1582063" y="504749"/>
                </a:cubicBezTo>
                <a:cubicBezTo>
                  <a:pt x="1585933" y="508115"/>
                  <a:pt x="1590477" y="510302"/>
                  <a:pt x="1595693" y="511312"/>
                </a:cubicBezTo>
                <a:cubicBezTo>
                  <a:pt x="1600910" y="512322"/>
                  <a:pt x="1606379" y="512826"/>
                  <a:pt x="1612100" y="512826"/>
                </a:cubicBezTo>
                <a:cubicBezTo>
                  <a:pt x="1622533" y="512826"/>
                  <a:pt x="1633555" y="511396"/>
                  <a:pt x="1645166" y="508535"/>
                </a:cubicBezTo>
                <a:cubicBezTo>
                  <a:pt x="1656777" y="505675"/>
                  <a:pt x="1666453" y="502898"/>
                  <a:pt x="1674194" y="500206"/>
                </a:cubicBezTo>
                <a:lnTo>
                  <a:pt x="1684795" y="550688"/>
                </a:lnTo>
                <a:cubicBezTo>
                  <a:pt x="1673689" y="556073"/>
                  <a:pt x="1661236" y="559943"/>
                  <a:pt x="1647438" y="562299"/>
                </a:cubicBezTo>
                <a:cubicBezTo>
                  <a:pt x="1633639" y="564655"/>
                  <a:pt x="1620178" y="565833"/>
                  <a:pt x="1607052" y="565833"/>
                </a:cubicBezTo>
                <a:close/>
                <a:moveTo>
                  <a:pt x="0" y="796029"/>
                </a:moveTo>
                <a:lnTo>
                  <a:pt x="4876802" y="796029"/>
                </a:lnTo>
                <a:lnTo>
                  <a:pt x="4824822" y="344498"/>
                </a:lnTo>
                <a:cubicBezTo>
                  <a:pt x="4801968" y="145891"/>
                  <a:pt x="4682292" y="207"/>
                  <a:pt x="4541980" y="155"/>
                </a:cubicBezTo>
                <a:lnTo>
                  <a:pt x="0" y="0"/>
                </a:lnTo>
                <a:close/>
              </a:path>
            </a:pathLst>
          </a:custGeom>
          <a:solidFill>
            <a:schemeClr val="bg1"/>
          </a:solidFill>
          <a:ln w="2834" cap="flat">
            <a:noFill/>
            <a:prstDash val="solid"/>
            <a:miter/>
          </a:ln>
        </p:spPr>
        <p:txBody>
          <a:bodyPr wrap="square" rtlCol="0" anchor="ctr">
            <a:noAutofit/>
          </a:bodyPr>
          <a:lstStyle/>
          <a:p>
            <a:endParaRPr lang="en-US"/>
          </a:p>
        </p:txBody>
      </p:sp>
      <p:sp>
        <p:nvSpPr>
          <p:cNvPr id="13" name="object 13">
            <a:extLst>
              <a:ext uri="{FF2B5EF4-FFF2-40B4-BE49-F238E27FC236}">
                <a16:creationId xmlns:a16="http://schemas.microsoft.com/office/drawing/2014/main" id="{F7D9B46F-CF17-0F74-8072-CE29E3BF5E42}"/>
              </a:ext>
            </a:extLst>
          </p:cNvPr>
          <p:cNvSpPr txBox="1">
            <a:spLocks noGrp="1"/>
          </p:cNvSpPr>
          <p:nvPr>
            <p:ph type="ftr" sz="quarter" idx="3"/>
          </p:nvPr>
        </p:nvSpPr>
        <p:spPr>
          <a:xfrm>
            <a:off x="15047882" y="10617200"/>
            <a:ext cx="4376768" cy="219291"/>
          </a:xfrm>
          <a:prstGeom prst="rect">
            <a:avLst/>
          </a:prstGeom>
        </p:spPr>
        <p:txBody>
          <a:bodyPr vert="horz" wrap="square" lIns="0" tIns="3810" rIns="0" bIns="0" rtlCol="0">
            <a:spAutoFit/>
          </a:bodyPr>
          <a:lstStyle>
            <a:lvl1pPr algn="r">
              <a:defRPr sz="1400" b="0" i="0">
                <a:latin typeface="Ubuntu Light" panose="020B0304030602030204" pitchFamily="34" charset="0"/>
              </a:defRPr>
            </a:lvl1pPr>
          </a:lstStyle>
          <a:p>
            <a:pPr marL="26034">
              <a:spcBef>
                <a:spcPts val="30"/>
              </a:spcBef>
            </a:pPr>
            <a:r>
              <a:rPr lang="es-ES">
                <a:solidFill>
                  <a:schemeClr val="bg1"/>
                </a:solidFill>
              </a:rPr>
              <a:t>Public</a:t>
            </a:r>
            <a:r>
              <a:rPr lang="es-ES" spc="-40">
                <a:solidFill>
                  <a:schemeClr val="bg1"/>
                </a:solidFill>
              </a:rPr>
              <a:t> </a:t>
            </a:r>
            <a:r>
              <a:rPr lang="es-ES">
                <a:solidFill>
                  <a:schemeClr val="bg1"/>
                </a:solidFill>
              </a:rPr>
              <a:t>©</a:t>
            </a:r>
            <a:r>
              <a:rPr lang="es-ES" spc="-40">
                <a:solidFill>
                  <a:schemeClr val="bg1"/>
                </a:solidFill>
              </a:rPr>
              <a:t> </a:t>
            </a:r>
            <a:r>
              <a:rPr lang="es-ES">
                <a:solidFill>
                  <a:schemeClr val="bg1"/>
                </a:solidFill>
              </a:rPr>
              <a:t>2023</a:t>
            </a:r>
            <a:r>
              <a:rPr lang="es-ES" spc="-40">
                <a:solidFill>
                  <a:schemeClr val="bg1"/>
                </a:solidFill>
              </a:rPr>
              <a:t> </a:t>
            </a:r>
            <a:r>
              <a:rPr lang="es-ES" spc="-10">
                <a:solidFill>
                  <a:schemeClr val="bg1"/>
                </a:solidFill>
              </a:rPr>
              <a:t>Sogeti.</a:t>
            </a:r>
            <a:r>
              <a:rPr lang="es-ES" spc="-35">
                <a:solidFill>
                  <a:schemeClr val="bg1"/>
                </a:solidFill>
              </a:rPr>
              <a:t> </a:t>
            </a:r>
            <a:r>
              <a:rPr lang="es-ES" err="1">
                <a:solidFill>
                  <a:schemeClr val="bg1"/>
                </a:solidFill>
              </a:rPr>
              <a:t>All</a:t>
            </a:r>
            <a:r>
              <a:rPr lang="es-ES" spc="-40">
                <a:solidFill>
                  <a:schemeClr val="bg1"/>
                </a:solidFill>
              </a:rPr>
              <a:t> </a:t>
            </a:r>
            <a:r>
              <a:rPr lang="es-ES">
                <a:solidFill>
                  <a:schemeClr val="bg1"/>
                </a:solidFill>
              </a:rPr>
              <a:t>rights</a:t>
            </a:r>
            <a:r>
              <a:rPr lang="es-ES" spc="-40">
                <a:solidFill>
                  <a:schemeClr val="bg1"/>
                </a:solidFill>
              </a:rPr>
              <a:t> </a:t>
            </a:r>
            <a:r>
              <a:rPr lang="es-ES" spc="-10" err="1">
                <a:solidFill>
                  <a:schemeClr val="bg1"/>
                </a:solidFill>
              </a:rPr>
              <a:t>reserved</a:t>
            </a:r>
            <a:endParaRPr lang="es-ES" spc="-10">
              <a:solidFill>
                <a:schemeClr val="bg1"/>
              </a:solidFill>
            </a:endParaRPr>
          </a:p>
        </p:txBody>
      </p:sp>
      <p:pic>
        <p:nvPicPr>
          <p:cNvPr id="6" name="Imagen 5">
            <a:extLst>
              <a:ext uri="{FF2B5EF4-FFF2-40B4-BE49-F238E27FC236}">
                <a16:creationId xmlns:a16="http://schemas.microsoft.com/office/drawing/2014/main" id="{51C5F458-0767-4FFE-11AA-EBBCE7B89CBB}"/>
              </a:ext>
            </a:extLst>
          </p:cNvPr>
          <p:cNvPicPr>
            <a:picLocks noChangeAspect="1"/>
          </p:cNvPicPr>
          <p:nvPr userDrawn="1"/>
        </p:nvPicPr>
        <p:blipFill>
          <a:blip r:embed="rId5"/>
          <a:stretch>
            <a:fillRect/>
          </a:stretch>
        </p:blipFill>
        <p:spPr>
          <a:xfrm>
            <a:off x="1482947" y="1019399"/>
            <a:ext cx="3066759" cy="1966887"/>
          </a:xfrm>
          <a:prstGeom prst="rect">
            <a:avLst/>
          </a:prstGeom>
        </p:spPr>
      </p:pic>
      <p:pic>
        <p:nvPicPr>
          <p:cNvPr id="8" name="Imagen 7" descr="Un dibujo de una cara feliz&#10;&#10;Descripción generada automáticamente con confianza baja">
            <a:extLst>
              <a:ext uri="{FF2B5EF4-FFF2-40B4-BE49-F238E27FC236}">
                <a16:creationId xmlns:a16="http://schemas.microsoft.com/office/drawing/2014/main" id="{12F098A0-E7ED-D6DC-608B-DE6FA9481C2E}"/>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5588098" y="787400"/>
            <a:ext cx="3381196" cy="1752600"/>
          </a:xfrm>
          <a:prstGeom prst="rect">
            <a:avLst/>
          </a:prstGeom>
        </p:spPr>
      </p:pic>
    </p:spTree>
    <p:extLst>
      <p:ext uri="{BB962C8B-B14F-4D97-AF65-F5344CB8AC3E}">
        <p14:creationId xmlns:p14="http://schemas.microsoft.com/office/powerpoint/2010/main" val="2077421748"/>
      </p:ext>
    </p:extLst>
  </p:cSld>
  <p:clrMap bg1="lt1" tx1="dk1" bg2="lt2" tx2="dk2" accent1="accent1" accent2="accent2" accent3="accent3" accent4="accent4" accent5="accent5" accent6="accent6" hlink="hlink" folHlink="folHlink"/>
  <p:sldLayoutIdLst>
    <p:sldLayoutId id="2147484021" r:id="rId1"/>
    <p:sldLayoutId id="2147484022" r:id="rId2"/>
  </p:sldLayoutIdLst>
  <p:hf hdr="0" dt="0"/>
  <p:txStyles>
    <p:titleStyle>
      <a:lvl1pPr algn="l" defTabSz="914400" rtl="0" eaLnBrk="1" latinLnBrk="0" hangingPunct="1">
        <a:lnSpc>
          <a:spcPct val="90000"/>
        </a:lnSpc>
        <a:spcBef>
          <a:spcPct val="0"/>
        </a:spcBef>
        <a:buNone/>
        <a:defRPr lang="es-ES" sz="8800" b="1" kern="1200" dirty="0" smtClean="0">
          <a:solidFill>
            <a:srgbClr val="FFFFFF"/>
          </a:solidFill>
          <a:latin typeface="Ubuntu" panose="020B050403060203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20104100" cy="11328400"/>
          </a:xfrm>
          <a:custGeom>
            <a:avLst/>
            <a:gdLst/>
            <a:ahLst/>
            <a:cxnLst/>
            <a:rect l="l" t="t" r="r" b="b"/>
            <a:pathLst>
              <a:path w="20104100" h="11308715">
                <a:moveTo>
                  <a:pt x="20104099" y="0"/>
                </a:moveTo>
                <a:lnTo>
                  <a:pt x="0" y="0"/>
                </a:lnTo>
                <a:lnTo>
                  <a:pt x="0" y="11308556"/>
                </a:lnTo>
                <a:lnTo>
                  <a:pt x="20104099" y="11308556"/>
                </a:lnTo>
                <a:lnTo>
                  <a:pt x="20104099" y="0"/>
                </a:lnTo>
                <a:close/>
              </a:path>
            </a:pathLst>
          </a:custGeom>
          <a:solidFill>
            <a:srgbClr val="F5F5F7"/>
          </a:solidFill>
        </p:spPr>
        <p:txBody>
          <a:bodyPr wrap="square" lIns="0" tIns="0" rIns="0" bIns="0" rtlCol="0"/>
          <a:lstStyle/>
          <a:p>
            <a:endParaRPr dirty="0"/>
          </a:p>
        </p:txBody>
      </p:sp>
      <p:sp>
        <p:nvSpPr>
          <p:cNvPr id="2" name="Holder 2"/>
          <p:cNvSpPr>
            <a:spLocks noGrp="1"/>
          </p:cNvSpPr>
          <p:nvPr>
            <p:ph type="title"/>
          </p:nvPr>
        </p:nvSpPr>
        <p:spPr>
          <a:xfrm>
            <a:off x="1003191" y="618303"/>
            <a:ext cx="12405643" cy="1384300"/>
          </a:xfrm>
          <a:prstGeom prst="rect">
            <a:avLst/>
          </a:prstGeom>
        </p:spPr>
        <p:txBody>
          <a:bodyPr wrap="square" lIns="0" tIns="0" rIns="0" bIns="0">
            <a:spAutoFit/>
          </a:bodyPr>
          <a:lstStyle>
            <a:lvl1pPr>
              <a:defRPr sz="4900" b="0" i="0">
                <a:solidFill>
                  <a:srgbClr val="2B0A3D"/>
                </a:solidFill>
                <a:latin typeface="Ubuntu Light"/>
                <a:cs typeface="Ubuntu Light"/>
              </a:defRPr>
            </a:lvl1pPr>
          </a:lstStyle>
          <a:p>
            <a:endParaRPr dirty="0"/>
          </a:p>
        </p:txBody>
      </p:sp>
      <p:grpSp>
        <p:nvGrpSpPr>
          <p:cNvPr id="7" name="object 7">
            <a:extLst>
              <a:ext uri="{FF2B5EF4-FFF2-40B4-BE49-F238E27FC236}">
                <a16:creationId xmlns:a16="http://schemas.microsoft.com/office/drawing/2014/main" id="{68F19203-1F13-7D1B-8581-17EF6380E551}"/>
              </a:ext>
            </a:extLst>
          </p:cNvPr>
          <p:cNvGrpSpPr/>
          <p:nvPr userDrawn="1"/>
        </p:nvGrpSpPr>
        <p:grpSpPr>
          <a:xfrm>
            <a:off x="17844564" y="397066"/>
            <a:ext cx="1765854" cy="914400"/>
            <a:chOff x="17299452" y="471187"/>
            <a:chExt cx="2333625" cy="1208405"/>
          </a:xfrm>
        </p:grpSpPr>
        <p:sp>
          <p:nvSpPr>
            <p:cNvPr id="8" name="object 8">
              <a:extLst>
                <a:ext uri="{FF2B5EF4-FFF2-40B4-BE49-F238E27FC236}">
                  <a16:creationId xmlns:a16="http://schemas.microsoft.com/office/drawing/2014/main" id="{CB0F65E4-CF5E-385C-2837-1B3432208A1D}"/>
                </a:ext>
              </a:extLst>
            </p:cNvPr>
            <p:cNvSpPr/>
            <p:nvPr/>
          </p:nvSpPr>
          <p:spPr>
            <a:xfrm>
              <a:off x="19161791" y="538038"/>
              <a:ext cx="307340" cy="662940"/>
            </a:xfrm>
            <a:custGeom>
              <a:avLst/>
              <a:gdLst/>
              <a:ahLst/>
              <a:cxnLst/>
              <a:rect l="l" t="t" r="r" b="b"/>
              <a:pathLst>
                <a:path w="307340" h="662940">
                  <a:moveTo>
                    <a:pt x="115828" y="0"/>
                  </a:moveTo>
                  <a:lnTo>
                    <a:pt x="50176" y="10837"/>
                  </a:lnTo>
                  <a:lnTo>
                    <a:pt x="14320" y="31145"/>
                  </a:lnTo>
                  <a:lnTo>
                    <a:pt x="115" y="69830"/>
                  </a:lnTo>
                  <a:lnTo>
                    <a:pt x="0" y="452310"/>
                  </a:lnTo>
                  <a:lnTo>
                    <a:pt x="529" y="476495"/>
                  </a:lnTo>
                  <a:lnTo>
                    <a:pt x="4813" y="520718"/>
                  </a:lnTo>
                  <a:lnTo>
                    <a:pt x="13639" y="559424"/>
                  </a:lnTo>
                  <a:lnTo>
                    <a:pt x="38187" y="606787"/>
                  </a:lnTo>
                  <a:lnTo>
                    <a:pt x="78063" y="640414"/>
                  </a:lnTo>
                  <a:lnTo>
                    <a:pt x="114107" y="654685"/>
                  </a:lnTo>
                  <a:lnTo>
                    <a:pt x="158827" y="661867"/>
                  </a:lnTo>
                  <a:lnTo>
                    <a:pt x="184507" y="662765"/>
                  </a:lnTo>
                  <a:lnTo>
                    <a:pt x="215943" y="661352"/>
                  </a:lnTo>
                  <a:lnTo>
                    <a:pt x="261794" y="653537"/>
                  </a:lnTo>
                  <a:lnTo>
                    <a:pt x="302359" y="629907"/>
                  </a:lnTo>
                  <a:lnTo>
                    <a:pt x="307065" y="616390"/>
                  </a:lnTo>
                  <a:lnTo>
                    <a:pt x="306357" y="601154"/>
                  </a:lnTo>
                  <a:lnTo>
                    <a:pt x="294504" y="544224"/>
                  </a:lnTo>
                  <a:lnTo>
                    <a:pt x="286709" y="547143"/>
                  </a:lnTo>
                  <a:lnTo>
                    <a:pt x="277653" y="550186"/>
                  </a:lnTo>
                  <a:lnTo>
                    <a:pt x="229593" y="561650"/>
                  </a:lnTo>
                  <a:lnTo>
                    <a:pt x="199805" y="563312"/>
                  </a:lnTo>
                  <a:lnTo>
                    <a:pt x="178540" y="561689"/>
                  </a:lnTo>
                  <a:lnTo>
                    <a:pt x="134812" y="537470"/>
                  </a:lnTo>
                  <a:lnTo>
                    <a:pt x="116882" y="479368"/>
                  </a:lnTo>
                  <a:lnTo>
                    <a:pt x="115692" y="451389"/>
                  </a:lnTo>
                  <a:lnTo>
                    <a:pt x="115755" y="247709"/>
                  </a:lnTo>
                  <a:lnTo>
                    <a:pt x="242254" y="247741"/>
                  </a:lnTo>
                  <a:lnTo>
                    <a:pt x="262255" y="243709"/>
                  </a:lnTo>
                  <a:lnTo>
                    <a:pt x="278592" y="232701"/>
                  </a:lnTo>
                  <a:lnTo>
                    <a:pt x="289610" y="216370"/>
                  </a:lnTo>
                  <a:lnTo>
                    <a:pt x="293655" y="196370"/>
                  </a:lnTo>
                  <a:lnTo>
                    <a:pt x="293666" y="151157"/>
                  </a:lnTo>
                  <a:lnTo>
                    <a:pt x="115787" y="151105"/>
                  </a:lnTo>
                  <a:lnTo>
                    <a:pt x="115828" y="0"/>
                  </a:lnTo>
                  <a:close/>
                </a:path>
              </a:pathLst>
            </a:custGeom>
            <a:solidFill>
              <a:srgbClr val="0070AD"/>
            </a:solidFill>
          </p:spPr>
          <p:txBody>
            <a:bodyPr wrap="square" lIns="0" tIns="0" rIns="0" bIns="0" rtlCol="0"/>
            <a:lstStyle/>
            <a:p>
              <a:endParaRPr/>
            </a:p>
          </p:txBody>
        </p:sp>
        <p:pic>
          <p:nvPicPr>
            <p:cNvPr id="9" name="object 9">
              <a:extLst>
                <a:ext uri="{FF2B5EF4-FFF2-40B4-BE49-F238E27FC236}">
                  <a16:creationId xmlns:a16="http://schemas.microsoft.com/office/drawing/2014/main" id="{F0EBADB5-B704-3C0B-11BD-C85A340ABAC7}"/>
                </a:ext>
              </a:extLst>
            </p:cNvPr>
            <p:cNvPicPr/>
            <p:nvPr/>
          </p:nvPicPr>
          <p:blipFill>
            <a:blip r:embed="rId42" cstate="print"/>
            <a:stretch>
              <a:fillRect/>
            </a:stretch>
          </p:blipFill>
          <p:spPr>
            <a:xfrm>
              <a:off x="19490401" y="471187"/>
              <a:ext cx="142508" cy="142498"/>
            </a:xfrm>
            <a:prstGeom prst="rect">
              <a:avLst/>
            </a:prstGeom>
          </p:spPr>
        </p:pic>
        <p:sp>
          <p:nvSpPr>
            <p:cNvPr id="10" name="object 10">
              <a:extLst>
                <a:ext uri="{FF2B5EF4-FFF2-40B4-BE49-F238E27FC236}">
                  <a16:creationId xmlns:a16="http://schemas.microsoft.com/office/drawing/2014/main" id="{D9AFC246-88D2-7276-4DEA-0110F438FCC9}"/>
                </a:ext>
              </a:extLst>
            </p:cNvPr>
            <p:cNvSpPr/>
            <p:nvPr/>
          </p:nvSpPr>
          <p:spPr>
            <a:xfrm>
              <a:off x="17299445" y="676141"/>
              <a:ext cx="2321560" cy="526415"/>
            </a:xfrm>
            <a:custGeom>
              <a:avLst/>
              <a:gdLst/>
              <a:ahLst/>
              <a:cxnLst/>
              <a:rect l="l" t="t" r="r" b="b"/>
              <a:pathLst>
                <a:path w="2321559" h="526415">
                  <a:moveTo>
                    <a:pt x="380225" y="379730"/>
                  </a:moveTo>
                  <a:lnTo>
                    <a:pt x="375386" y="334886"/>
                  </a:lnTo>
                  <a:lnTo>
                    <a:pt x="360502" y="299745"/>
                  </a:lnTo>
                  <a:lnTo>
                    <a:pt x="334416" y="270687"/>
                  </a:lnTo>
                  <a:lnTo>
                    <a:pt x="297027" y="246291"/>
                  </a:lnTo>
                  <a:lnTo>
                    <a:pt x="247015" y="223774"/>
                  </a:lnTo>
                  <a:lnTo>
                    <a:pt x="215303" y="211861"/>
                  </a:lnTo>
                  <a:lnTo>
                    <a:pt x="204304" y="207657"/>
                  </a:lnTo>
                  <a:lnTo>
                    <a:pt x="169621" y="191262"/>
                  </a:lnTo>
                  <a:lnTo>
                    <a:pt x="139738" y="159067"/>
                  </a:lnTo>
                  <a:lnTo>
                    <a:pt x="138315" y="151726"/>
                  </a:lnTo>
                  <a:lnTo>
                    <a:pt x="138315" y="143433"/>
                  </a:lnTo>
                  <a:lnTo>
                    <a:pt x="160324" y="106616"/>
                  </a:lnTo>
                  <a:lnTo>
                    <a:pt x="200850" y="95415"/>
                  </a:lnTo>
                  <a:lnTo>
                    <a:pt x="217703" y="94678"/>
                  </a:lnTo>
                  <a:lnTo>
                    <a:pt x="231635" y="94932"/>
                  </a:lnTo>
                  <a:lnTo>
                    <a:pt x="244932" y="95656"/>
                  </a:lnTo>
                  <a:lnTo>
                    <a:pt x="257619" y="96862"/>
                  </a:lnTo>
                  <a:lnTo>
                    <a:pt x="269684" y="98526"/>
                  </a:lnTo>
                  <a:lnTo>
                    <a:pt x="279171" y="100076"/>
                  </a:lnTo>
                  <a:lnTo>
                    <a:pt x="303682" y="98450"/>
                  </a:lnTo>
                  <a:lnTo>
                    <a:pt x="341858" y="71729"/>
                  </a:lnTo>
                  <a:lnTo>
                    <a:pt x="356400" y="23799"/>
                  </a:lnTo>
                  <a:lnTo>
                    <a:pt x="339471" y="18542"/>
                  </a:lnTo>
                  <a:lnTo>
                    <a:pt x="296138" y="8166"/>
                  </a:lnTo>
                  <a:lnTo>
                    <a:pt x="236588" y="698"/>
                  </a:lnTo>
                  <a:lnTo>
                    <a:pt x="212001" y="0"/>
                  </a:lnTo>
                  <a:lnTo>
                    <a:pt x="170751" y="2476"/>
                  </a:lnTo>
                  <a:lnTo>
                    <a:pt x="101892" y="22301"/>
                  </a:lnTo>
                  <a:lnTo>
                    <a:pt x="52095" y="61315"/>
                  </a:lnTo>
                  <a:lnTo>
                    <a:pt x="26746" y="115582"/>
                  </a:lnTo>
                  <a:lnTo>
                    <a:pt x="23571" y="148196"/>
                  </a:lnTo>
                  <a:lnTo>
                    <a:pt x="24244" y="165188"/>
                  </a:lnTo>
                  <a:lnTo>
                    <a:pt x="34531" y="207949"/>
                  </a:lnTo>
                  <a:lnTo>
                    <a:pt x="55587" y="240512"/>
                  </a:lnTo>
                  <a:lnTo>
                    <a:pt x="85559" y="265709"/>
                  </a:lnTo>
                  <a:lnTo>
                    <a:pt x="123545" y="286080"/>
                  </a:lnTo>
                  <a:lnTo>
                    <a:pt x="167906" y="304114"/>
                  </a:lnTo>
                  <a:lnTo>
                    <a:pt x="191909" y="313512"/>
                  </a:lnTo>
                  <a:lnTo>
                    <a:pt x="228968" y="331216"/>
                  </a:lnTo>
                  <a:lnTo>
                    <a:pt x="258864" y="357936"/>
                  </a:lnTo>
                  <a:lnTo>
                    <a:pt x="264490" y="380644"/>
                  </a:lnTo>
                  <a:lnTo>
                    <a:pt x="263156" y="393052"/>
                  </a:lnTo>
                  <a:lnTo>
                    <a:pt x="231355" y="423227"/>
                  </a:lnTo>
                  <a:lnTo>
                    <a:pt x="176504" y="429399"/>
                  </a:lnTo>
                  <a:lnTo>
                    <a:pt x="154012" y="428790"/>
                  </a:lnTo>
                  <a:lnTo>
                    <a:pt x="134416" y="427164"/>
                  </a:lnTo>
                  <a:lnTo>
                    <a:pt x="117881" y="424878"/>
                  </a:lnTo>
                  <a:lnTo>
                    <a:pt x="104609" y="422236"/>
                  </a:lnTo>
                  <a:lnTo>
                    <a:pt x="88214" y="418236"/>
                  </a:lnTo>
                  <a:lnTo>
                    <a:pt x="80873" y="416953"/>
                  </a:lnTo>
                  <a:lnTo>
                    <a:pt x="32194" y="429514"/>
                  </a:lnTo>
                  <a:lnTo>
                    <a:pt x="7327" y="465048"/>
                  </a:lnTo>
                  <a:lnTo>
                    <a:pt x="0" y="490778"/>
                  </a:lnTo>
                  <a:lnTo>
                    <a:pt x="13309" y="496189"/>
                  </a:lnTo>
                  <a:lnTo>
                    <a:pt x="50419" y="508635"/>
                  </a:lnTo>
                  <a:lnTo>
                    <a:pt x="87985" y="518083"/>
                  </a:lnTo>
                  <a:lnTo>
                    <a:pt x="139738" y="524129"/>
                  </a:lnTo>
                  <a:lnTo>
                    <a:pt x="175526" y="525030"/>
                  </a:lnTo>
                  <a:lnTo>
                    <a:pt x="221932" y="522732"/>
                  </a:lnTo>
                  <a:lnTo>
                    <a:pt x="262661" y="515835"/>
                  </a:lnTo>
                  <a:lnTo>
                    <a:pt x="327113" y="488251"/>
                  </a:lnTo>
                  <a:lnTo>
                    <a:pt x="366928" y="442722"/>
                  </a:lnTo>
                  <a:lnTo>
                    <a:pt x="371449" y="429399"/>
                  </a:lnTo>
                  <a:lnTo>
                    <a:pt x="376897" y="413397"/>
                  </a:lnTo>
                  <a:lnTo>
                    <a:pt x="380225" y="379730"/>
                  </a:lnTo>
                  <a:close/>
                </a:path>
                <a:path w="2321559" h="526415">
                  <a:moveTo>
                    <a:pt x="869505" y="262102"/>
                  </a:moveTo>
                  <a:lnTo>
                    <a:pt x="865200" y="205562"/>
                  </a:lnTo>
                  <a:lnTo>
                    <a:pt x="852436" y="154660"/>
                  </a:lnTo>
                  <a:lnTo>
                    <a:pt x="831989" y="109829"/>
                  </a:lnTo>
                  <a:lnTo>
                    <a:pt x="804837" y="71920"/>
                  </a:lnTo>
                  <a:lnTo>
                    <a:pt x="771220" y="41414"/>
                  </a:lnTo>
                  <a:lnTo>
                    <a:pt x="754875" y="30924"/>
                  </a:lnTo>
                  <a:lnTo>
                    <a:pt x="754875" y="262229"/>
                  </a:lnTo>
                  <a:lnTo>
                    <a:pt x="752932" y="298018"/>
                  </a:lnTo>
                  <a:lnTo>
                    <a:pt x="737438" y="357797"/>
                  </a:lnTo>
                  <a:lnTo>
                    <a:pt x="706856" y="400989"/>
                  </a:lnTo>
                  <a:lnTo>
                    <a:pt x="663638" y="422960"/>
                  </a:lnTo>
                  <a:lnTo>
                    <a:pt x="637425" y="425704"/>
                  </a:lnTo>
                  <a:lnTo>
                    <a:pt x="611238" y="422948"/>
                  </a:lnTo>
                  <a:lnTo>
                    <a:pt x="568032" y="400951"/>
                  </a:lnTo>
                  <a:lnTo>
                    <a:pt x="537464" y="357733"/>
                  </a:lnTo>
                  <a:lnTo>
                    <a:pt x="521995" y="297942"/>
                  </a:lnTo>
                  <a:lnTo>
                    <a:pt x="520065" y="262102"/>
                  </a:lnTo>
                  <a:lnTo>
                    <a:pt x="522020" y="226783"/>
                  </a:lnTo>
                  <a:lnTo>
                    <a:pt x="537527" y="167741"/>
                  </a:lnTo>
                  <a:lnTo>
                    <a:pt x="568109" y="125018"/>
                  </a:lnTo>
                  <a:lnTo>
                    <a:pt x="611327" y="103276"/>
                  </a:lnTo>
                  <a:lnTo>
                    <a:pt x="637514" y="100558"/>
                  </a:lnTo>
                  <a:lnTo>
                    <a:pt x="663727" y="103289"/>
                  </a:lnTo>
                  <a:lnTo>
                    <a:pt x="706932" y="125056"/>
                  </a:lnTo>
                  <a:lnTo>
                    <a:pt x="737489" y="167805"/>
                  </a:lnTo>
                  <a:lnTo>
                    <a:pt x="752944" y="226860"/>
                  </a:lnTo>
                  <a:lnTo>
                    <a:pt x="754875" y="262229"/>
                  </a:lnTo>
                  <a:lnTo>
                    <a:pt x="754875" y="30924"/>
                  </a:lnTo>
                  <a:lnTo>
                    <a:pt x="709396" y="10655"/>
                  </a:lnTo>
                  <a:lnTo>
                    <a:pt x="662470" y="1308"/>
                  </a:lnTo>
                  <a:lnTo>
                    <a:pt x="637552" y="139"/>
                  </a:lnTo>
                  <a:lnTo>
                    <a:pt x="612546" y="1308"/>
                  </a:lnTo>
                  <a:lnTo>
                    <a:pt x="565962" y="10604"/>
                  </a:lnTo>
                  <a:lnTo>
                    <a:pt x="523621" y="29057"/>
                  </a:lnTo>
                  <a:lnTo>
                    <a:pt x="486867" y="55587"/>
                  </a:lnTo>
                  <a:lnTo>
                    <a:pt x="456044" y="89890"/>
                  </a:lnTo>
                  <a:lnTo>
                    <a:pt x="431952" y="131381"/>
                  </a:lnTo>
                  <a:lnTo>
                    <a:pt x="415086" y="179349"/>
                  </a:lnTo>
                  <a:lnTo>
                    <a:pt x="406539" y="233286"/>
                  </a:lnTo>
                  <a:lnTo>
                    <a:pt x="405472" y="262229"/>
                  </a:lnTo>
                  <a:lnTo>
                    <a:pt x="406539" y="291236"/>
                  </a:lnTo>
                  <a:lnTo>
                    <a:pt x="415048" y="345135"/>
                  </a:lnTo>
                  <a:lnTo>
                    <a:pt x="431914" y="393674"/>
                  </a:lnTo>
                  <a:lnTo>
                    <a:pt x="455701" y="435279"/>
                  </a:lnTo>
                  <a:lnTo>
                    <a:pt x="486092" y="469658"/>
                  </a:lnTo>
                  <a:lnTo>
                    <a:pt x="522605" y="496455"/>
                  </a:lnTo>
                  <a:lnTo>
                    <a:pt x="564946" y="515353"/>
                  </a:lnTo>
                  <a:lnTo>
                    <a:pt x="612089" y="524929"/>
                  </a:lnTo>
                  <a:lnTo>
                    <a:pt x="637400" y="526135"/>
                  </a:lnTo>
                  <a:lnTo>
                    <a:pt x="662851" y="524929"/>
                  </a:lnTo>
                  <a:lnTo>
                    <a:pt x="710120" y="515391"/>
                  </a:lnTo>
                  <a:lnTo>
                    <a:pt x="752868" y="496519"/>
                  </a:lnTo>
                  <a:lnTo>
                    <a:pt x="789622" y="469747"/>
                  </a:lnTo>
                  <a:lnTo>
                    <a:pt x="820051" y="435394"/>
                  </a:lnTo>
                  <a:lnTo>
                    <a:pt x="843673" y="393674"/>
                  </a:lnTo>
                  <a:lnTo>
                    <a:pt x="860132" y="345135"/>
                  </a:lnTo>
                  <a:lnTo>
                    <a:pt x="868464" y="291096"/>
                  </a:lnTo>
                  <a:lnTo>
                    <a:pt x="869505" y="262102"/>
                  </a:lnTo>
                  <a:close/>
                </a:path>
                <a:path w="2321559" h="526415">
                  <a:moveTo>
                    <a:pt x="1814423" y="256628"/>
                  </a:moveTo>
                  <a:lnTo>
                    <a:pt x="1811896" y="214668"/>
                  </a:lnTo>
                  <a:lnTo>
                    <a:pt x="1800034" y="145605"/>
                  </a:lnTo>
                  <a:lnTo>
                    <a:pt x="1782025" y="101879"/>
                  </a:lnTo>
                  <a:lnTo>
                    <a:pt x="1779549" y="98361"/>
                  </a:lnTo>
                  <a:lnTo>
                    <a:pt x="1756803" y="66014"/>
                  </a:lnTo>
                  <a:lnTo>
                    <a:pt x="1725155" y="38074"/>
                  </a:lnTo>
                  <a:lnTo>
                    <a:pt x="1699107" y="24142"/>
                  </a:lnTo>
                  <a:lnTo>
                    <a:pt x="1699107" y="214668"/>
                  </a:lnTo>
                  <a:lnTo>
                    <a:pt x="1484680" y="214604"/>
                  </a:lnTo>
                  <a:lnTo>
                    <a:pt x="1495171" y="171729"/>
                  </a:lnTo>
                  <a:lnTo>
                    <a:pt x="1516621" y="134569"/>
                  </a:lnTo>
                  <a:lnTo>
                    <a:pt x="1550454" y="108369"/>
                  </a:lnTo>
                  <a:lnTo>
                    <a:pt x="1597164" y="98361"/>
                  </a:lnTo>
                  <a:lnTo>
                    <a:pt x="1609585" y="98933"/>
                  </a:lnTo>
                  <a:lnTo>
                    <a:pt x="1650415" y="112395"/>
                  </a:lnTo>
                  <a:lnTo>
                    <a:pt x="1678978" y="140436"/>
                  </a:lnTo>
                  <a:lnTo>
                    <a:pt x="1695348" y="180263"/>
                  </a:lnTo>
                  <a:lnTo>
                    <a:pt x="1699107" y="214668"/>
                  </a:lnTo>
                  <a:lnTo>
                    <a:pt x="1699107" y="24142"/>
                  </a:lnTo>
                  <a:lnTo>
                    <a:pt x="1687842" y="18110"/>
                  </a:lnTo>
                  <a:lnTo>
                    <a:pt x="1644878" y="6121"/>
                  </a:lnTo>
                  <a:lnTo>
                    <a:pt x="1596250" y="2108"/>
                  </a:lnTo>
                  <a:lnTo>
                    <a:pt x="1574444" y="3149"/>
                  </a:lnTo>
                  <a:lnTo>
                    <a:pt x="1531556" y="11480"/>
                  </a:lnTo>
                  <a:lnTo>
                    <a:pt x="1490091" y="28105"/>
                  </a:lnTo>
                  <a:lnTo>
                    <a:pt x="1452892" y="52870"/>
                  </a:lnTo>
                  <a:lnTo>
                    <a:pt x="1420710" y="85775"/>
                  </a:lnTo>
                  <a:lnTo>
                    <a:pt x="1394714" y="126987"/>
                  </a:lnTo>
                  <a:lnTo>
                    <a:pt x="1375587" y="176517"/>
                  </a:lnTo>
                  <a:lnTo>
                    <a:pt x="1365808" y="234162"/>
                  </a:lnTo>
                  <a:lnTo>
                    <a:pt x="1364576" y="266026"/>
                  </a:lnTo>
                  <a:lnTo>
                    <a:pt x="1365516" y="293585"/>
                  </a:lnTo>
                  <a:lnTo>
                    <a:pt x="1373136" y="345287"/>
                  </a:lnTo>
                  <a:lnTo>
                    <a:pt x="1388478" y="392353"/>
                  </a:lnTo>
                  <a:lnTo>
                    <a:pt x="1411757" y="433247"/>
                  </a:lnTo>
                  <a:lnTo>
                    <a:pt x="1443253" y="467855"/>
                  </a:lnTo>
                  <a:lnTo>
                    <a:pt x="1483283" y="495033"/>
                  </a:lnTo>
                  <a:lnTo>
                    <a:pt x="1531886" y="514311"/>
                  </a:lnTo>
                  <a:lnTo>
                    <a:pt x="1589074" y="524090"/>
                  </a:lnTo>
                  <a:lnTo>
                    <a:pt x="1620862" y="525310"/>
                  </a:lnTo>
                  <a:lnTo>
                    <a:pt x="1633664" y="525145"/>
                  </a:lnTo>
                  <a:lnTo>
                    <a:pt x="1683562" y="520966"/>
                  </a:lnTo>
                  <a:lnTo>
                    <a:pt x="1728025" y="513156"/>
                  </a:lnTo>
                  <a:lnTo>
                    <a:pt x="1770621" y="500722"/>
                  </a:lnTo>
                  <a:lnTo>
                    <a:pt x="1781937" y="495846"/>
                  </a:lnTo>
                  <a:lnTo>
                    <a:pt x="1773580" y="444068"/>
                  </a:lnTo>
                  <a:lnTo>
                    <a:pt x="1743773" y="413296"/>
                  </a:lnTo>
                  <a:lnTo>
                    <a:pt x="1723199" y="415099"/>
                  </a:lnTo>
                  <a:lnTo>
                    <a:pt x="1717700" y="416394"/>
                  </a:lnTo>
                  <a:lnTo>
                    <a:pt x="1675333" y="423367"/>
                  </a:lnTo>
                  <a:lnTo>
                    <a:pt x="1635188" y="425259"/>
                  </a:lnTo>
                  <a:lnTo>
                    <a:pt x="1601571" y="423189"/>
                  </a:lnTo>
                  <a:lnTo>
                    <a:pt x="1546999" y="406742"/>
                  </a:lnTo>
                  <a:lnTo>
                    <a:pt x="1509318" y="374205"/>
                  </a:lnTo>
                  <a:lnTo>
                    <a:pt x="1488122" y="327736"/>
                  </a:lnTo>
                  <a:lnTo>
                    <a:pt x="1483690" y="299415"/>
                  </a:lnTo>
                  <a:lnTo>
                    <a:pt x="1812493" y="299516"/>
                  </a:lnTo>
                  <a:lnTo>
                    <a:pt x="1813115" y="293179"/>
                  </a:lnTo>
                  <a:lnTo>
                    <a:pt x="1813585" y="286029"/>
                  </a:lnTo>
                  <a:lnTo>
                    <a:pt x="1814245" y="270141"/>
                  </a:lnTo>
                  <a:lnTo>
                    <a:pt x="1814347" y="266026"/>
                  </a:lnTo>
                  <a:lnTo>
                    <a:pt x="1814423" y="256628"/>
                  </a:lnTo>
                  <a:close/>
                </a:path>
                <a:path w="2321559" h="526415">
                  <a:moveTo>
                    <a:pt x="2320937" y="89522"/>
                  </a:moveTo>
                  <a:lnTo>
                    <a:pt x="2298573" y="35483"/>
                  </a:lnTo>
                  <a:lnTo>
                    <a:pt x="2244560" y="13106"/>
                  </a:lnTo>
                  <a:lnTo>
                    <a:pt x="2205266" y="13081"/>
                  </a:lnTo>
                  <a:lnTo>
                    <a:pt x="2205151" y="429856"/>
                  </a:lnTo>
                  <a:lnTo>
                    <a:pt x="2229548" y="488835"/>
                  </a:lnTo>
                  <a:lnTo>
                    <a:pt x="2288502" y="513270"/>
                  </a:lnTo>
                  <a:lnTo>
                    <a:pt x="2320823" y="513283"/>
                  </a:lnTo>
                  <a:lnTo>
                    <a:pt x="2320937" y="89522"/>
                  </a:lnTo>
                  <a:close/>
                </a:path>
              </a:pathLst>
            </a:custGeom>
            <a:solidFill>
              <a:srgbClr val="0070AD"/>
            </a:solidFill>
          </p:spPr>
          <p:txBody>
            <a:bodyPr wrap="square" lIns="0" tIns="0" rIns="0" bIns="0" rtlCol="0"/>
            <a:lstStyle/>
            <a:p>
              <a:endParaRPr/>
            </a:p>
          </p:txBody>
        </p:sp>
        <p:pic>
          <p:nvPicPr>
            <p:cNvPr id="11" name="object 11">
              <a:extLst>
                <a:ext uri="{FF2B5EF4-FFF2-40B4-BE49-F238E27FC236}">
                  <a16:creationId xmlns:a16="http://schemas.microsoft.com/office/drawing/2014/main" id="{8ACE2265-76FA-8F7B-B617-963599750AEE}"/>
                </a:ext>
              </a:extLst>
            </p:cNvPr>
            <p:cNvPicPr/>
            <p:nvPr/>
          </p:nvPicPr>
          <p:blipFill>
            <a:blip r:embed="rId43" cstate="print"/>
            <a:stretch>
              <a:fillRect/>
            </a:stretch>
          </p:blipFill>
          <p:spPr>
            <a:xfrm>
              <a:off x="17547521" y="678143"/>
              <a:ext cx="2083331" cy="1000902"/>
            </a:xfrm>
            <a:prstGeom prst="rect">
              <a:avLst/>
            </a:prstGeom>
          </p:spPr>
        </p:pic>
      </p:grpSp>
      <p:sp>
        <p:nvSpPr>
          <p:cNvPr id="13" name="Holder 4">
            <a:extLst>
              <a:ext uri="{FF2B5EF4-FFF2-40B4-BE49-F238E27FC236}">
                <a16:creationId xmlns:a16="http://schemas.microsoft.com/office/drawing/2014/main" id="{770E2DAA-1FE2-5F40-60E9-6E5F6DFFC021}"/>
              </a:ext>
            </a:extLst>
          </p:cNvPr>
          <p:cNvSpPr>
            <a:spLocks noGrp="1"/>
          </p:cNvSpPr>
          <p:nvPr>
            <p:ph type="ftr" sz="quarter" idx="3"/>
          </p:nvPr>
        </p:nvSpPr>
        <p:spPr>
          <a:xfrm>
            <a:off x="16452851" y="10759212"/>
            <a:ext cx="3157568" cy="200055"/>
          </a:xfrm>
          <a:prstGeom prst="rect">
            <a:avLst/>
          </a:prstGeom>
        </p:spPr>
        <p:txBody>
          <a:bodyPr lIns="0" tIns="0" rIns="0" bIns="0"/>
          <a:lstStyle>
            <a:lvl1pPr>
              <a:defRPr sz="1300" b="0" i="0">
                <a:solidFill>
                  <a:srgbClr val="808080"/>
                </a:solidFill>
                <a:latin typeface="Ubuntu Light"/>
                <a:cs typeface="Ubuntu Light"/>
              </a:defRPr>
            </a:lvl1pPr>
          </a:lstStyle>
          <a:p>
            <a:pPr marL="26034">
              <a:lnSpc>
                <a:spcPct val="100000"/>
              </a:lnSpc>
              <a:spcBef>
                <a:spcPts val="30"/>
              </a:spcBef>
            </a:pPr>
            <a:r>
              <a:rPr dirty="0">
                <a:solidFill>
                  <a:srgbClr val="666666"/>
                </a:solidFill>
              </a:rPr>
              <a:t>Public</a:t>
            </a:r>
            <a:r>
              <a:rPr spc="-40" dirty="0">
                <a:solidFill>
                  <a:srgbClr val="666666"/>
                </a:solidFill>
              </a:rPr>
              <a:t> </a:t>
            </a:r>
            <a:r>
              <a:rPr dirty="0">
                <a:solidFill>
                  <a:srgbClr val="666666"/>
                </a:solidFill>
              </a:rPr>
              <a:t>©</a:t>
            </a:r>
            <a:r>
              <a:rPr spc="-40" dirty="0">
                <a:solidFill>
                  <a:srgbClr val="666666"/>
                </a:solidFill>
              </a:rPr>
              <a:t> </a:t>
            </a:r>
            <a:r>
              <a:rPr dirty="0">
                <a:solidFill>
                  <a:srgbClr val="666666"/>
                </a:solidFill>
              </a:rPr>
              <a:t>202</a:t>
            </a:r>
            <a:r>
              <a:rPr lang="es-ES" dirty="0">
                <a:solidFill>
                  <a:srgbClr val="666666"/>
                </a:solidFill>
              </a:rPr>
              <a:t>3</a:t>
            </a:r>
            <a:r>
              <a:rPr spc="-40" dirty="0">
                <a:solidFill>
                  <a:srgbClr val="666666"/>
                </a:solidFill>
              </a:rPr>
              <a:t> </a:t>
            </a:r>
            <a:r>
              <a:rPr spc="-10" dirty="0">
                <a:solidFill>
                  <a:srgbClr val="666666"/>
                </a:solidFill>
              </a:rPr>
              <a:t>Sogeti.</a:t>
            </a:r>
            <a:r>
              <a:rPr spc="-35" dirty="0">
                <a:solidFill>
                  <a:srgbClr val="666666"/>
                </a:solidFill>
              </a:rPr>
              <a:t> </a:t>
            </a:r>
            <a:r>
              <a:rPr dirty="0">
                <a:solidFill>
                  <a:srgbClr val="666666"/>
                </a:solidFill>
              </a:rPr>
              <a:t>All</a:t>
            </a:r>
            <a:r>
              <a:rPr spc="-40" dirty="0">
                <a:solidFill>
                  <a:srgbClr val="666666"/>
                </a:solidFill>
              </a:rPr>
              <a:t> </a:t>
            </a:r>
            <a:r>
              <a:rPr dirty="0">
                <a:solidFill>
                  <a:srgbClr val="666666"/>
                </a:solidFill>
              </a:rPr>
              <a:t>rights</a:t>
            </a:r>
            <a:r>
              <a:rPr spc="-40" dirty="0">
                <a:solidFill>
                  <a:srgbClr val="666666"/>
                </a:solidFill>
              </a:rPr>
              <a:t> </a:t>
            </a:r>
            <a:r>
              <a:rPr spc="-10" dirty="0">
                <a:solidFill>
                  <a:srgbClr val="666666"/>
                </a:solidFill>
              </a:rPr>
              <a:t>reserved</a:t>
            </a:r>
          </a:p>
        </p:txBody>
      </p:sp>
      <p:sp>
        <p:nvSpPr>
          <p:cNvPr id="3" name="CuadroTexto 2">
            <a:extLst>
              <a:ext uri="{FF2B5EF4-FFF2-40B4-BE49-F238E27FC236}">
                <a16:creationId xmlns:a16="http://schemas.microsoft.com/office/drawing/2014/main" id="{88C789CA-B5C0-0552-A6E8-183BA33814A5}"/>
              </a:ext>
            </a:extLst>
          </p:cNvPr>
          <p:cNvSpPr txBox="1"/>
          <p:nvPr userDrawn="1"/>
        </p:nvSpPr>
        <p:spPr>
          <a:xfrm>
            <a:off x="755650" y="10845800"/>
            <a:ext cx="7772400" cy="292388"/>
          </a:xfrm>
          <a:prstGeom prst="rect">
            <a:avLst/>
          </a:prstGeom>
          <a:noFill/>
        </p:spPr>
        <p:txBody>
          <a:bodyPr wrap="square" rtlCol="0">
            <a:spAutoFit/>
          </a:bodyPr>
          <a:lstStyle/>
          <a:p>
            <a:r>
              <a:rPr lang="es-ES" sz="1300" b="0" i="0" dirty="0">
                <a:solidFill>
                  <a:schemeClr val="tx2"/>
                </a:solidFill>
                <a:latin typeface="Ubuntu Medium" panose="020B0504030602030204" pitchFamily="34" charset="0"/>
              </a:rPr>
              <a:t>#FlourishingDigitalBusinessWithQuality </a:t>
            </a:r>
            <a:r>
              <a:rPr lang="es-ES" sz="1300" b="1" i="0" dirty="0">
                <a:solidFill>
                  <a:srgbClr val="290E3B"/>
                </a:solidFill>
                <a:latin typeface="Ubuntu" panose="020B0504030602030204" pitchFamily="34" charset="0"/>
              </a:rPr>
              <a:t> ·</a:t>
            </a:r>
            <a:r>
              <a:rPr lang="es-ES" sz="1300" b="0" i="0" dirty="0">
                <a:solidFill>
                  <a:schemeClr val="tx2"/>
                </a:solidFill>
                <a:latin typeface="Ubuntu Medium" panose="020B0504030602030204" pitchFamily="34" charset="0"/>
              </a:rPr>
              <a:t>   </a:t>
            </a:r>
            <a:r>
              <a:rPr lang="es-ES" sz="1300" b="1" i="0" dirty="0">
                <a:solidFill>
                  <a:srgbClr val="12A9D8"/>
                </a:solidFill>
                <a:latin typeface="Ubuntu" panose="020B0504030602030204" pitchFamily="34" charset="0"/>
              </a:rPr>
              <a:t>Sogeti España</a:t>
            </a:r>
          </a:p>
        </p:txBody>
      </p:sp>
      <p:sp>
        <p:nvSpPr>
          <p:cNvPr id="4" name="Marcador de número de diapositiva 3">
            <a:extLst>
              <a:ext uri="{FF2B5EF4-FFF2-40B4-BE49-F238E27FC236}">
                <a16:creationId xmlns:a16="http://schemas.microsoft.com/office/drawing/2014/main" id="{B14184FF-0EC3-E199-52BE-34A11DC8C917}"/>
              </a:ext>
            </a:extLst>
          </p:cNvPr>
          <p:cNvSpPr>
            <a:spLocks noGrp="1"/>
          </p:cNvSpPr>
          <p:nvPr>
            <p:ph type="sldNum" sz="quarter" idx="4"/>
          </p:nvPr>
        </p:nvSpPr>
        <p:spPr>
          <a:xfrm>
            <a:off x="7790656" y="10557614"/>
            <a:ext cx="4522788" cy="603250"/>
          </a:xfrm>
          <a:prstGeom prst="rect">
            <a:avLst/>
          </a:prstGeom>
        </p:spPr>
        <p:txBody>
          <a:bodyPr vert="horz" lIns="91440" tIns="45720" rIns="91440" bIns="45720" rtlCol="0" anchor="ctr"/>
          <a:lstStyle>
            <a:lvl1pPr algn="ctr">
              <a:defRPr sz="1200">
                <a:solidFill>
                  <a:schemeClr val="tx1">
                    <a:tint val="75000"/>
                  </a:schemeClr>
                </a:solidFill>
                <a:latin typeface="Ubuntu" panose="020B0504030602030204" pitchFamily="34" charset="0"/>
              </a:defRPr>
            </a:lvl1pPr>
          </a:lstStyle>
          <a:p>
            <a:fld id="{C4C6A2FB-A551-6142-82A1-745352427918}" type="slidenum">
              <a:rPr lang="es-ES" smtClean="0"/>
              <a:pPr/>
              <a:t>‹#›</a:t>
            </a:fld>
            <a:endParaRPr lang="es-ES"/>
          </a:p>
        </p:txBody>
      </p:sp>
      <p:sp>
        <p:nvSpPr>
          <p:cNvPr id="5" name="Forma libre 4">
            <a:extLst>
              <a:ext uri="{FF2B5EF4-FFF2-40B4-BE49-F238E27FC236}">
                <a16:creationId xmlns:a16="http://schemas.microsoft.com/office/drawing/2014/main" id="{09095F8E-E78F-6E55-F27D-B7FA55B0B072}"/>
              </a:ext>
            </a:extLst>
          </p:cNvPr>
          <p:cNvSpPr/>
          <p:nvPr userDrawn="1"/>
        </p:nvSpPr>
        <p:spPr>
          <a:xfrm flipV="1">
            <a:off x="755650" y="10384024"/>
            <a:ext cx="2362200" cy="385576"/>
          </a:xfrm>
          <a:custGeom>
            <a:avLst/>
            <a:gdLst/>
            <a:ahLst/>
            <a:cxnLst/>
            <a:rect l="l" t="t" r="r" b="b"/>
            <a:pathLst>
              <a:path w="4876802" h="796029">
                <a:moveTo>
                  <a:pt x="2572782" y="405299"/>
                </a:moveTo>
                <a:cubicBezTo>
                  <a:pt x="2589609" y="405299"/>
                  <a:pt x="2601809" y="398820"/>
                  <a:pt x="2609382" y="385863"/>
                </a:cubicBezTo>
                <a:cubicBezTo>
                  <a:pt x="2616954" y="372906"/>
                  <a:pt x="2620740" y="355826"/>
                  <a:pt x="2620740" y="334623"/>
                </a:cubicBezTo>
                <a:cubicBezTo>
                  <a:pt x="2620740" y="313420"/>
                  <a:pt x="2616618" y="296256"/>
                  <a:pt x="2608372" y="283131"/>
                </a:cubicBezTo>
                <a:cubicBezTo>
                  <a:pt x="2600126" y="270006"/>
                  <a:pt x="2587927" y="263443"/>
                  <a:pt x="2571772" y="263443"/>
                </a:cubicBezTo>
                <a:cubicBezTo>
                  <a:pt x="2554945" y="263443"/>
                  <a:pt x="2542744" y="270006"/>
                  <a:pt x="2535172" y="283131"/>
                </a:cubicBezTo>
                <a:cubicBezTo>
                  <a:pt x="2527600" y="296256"/>
                  <a:pt x="2523814" y="313420"/>
                  <a:pt x="2523814" y="334623"/>
                </a:cubicBezTo>
                <a:cubicBezTo>
                  <a:pt x="2523814" y="355826"/>
                  <a:pt x="2527937" y="372906"/>
                  <a:pt x="2536182" y="385863"/>
                </a:cubicBezTo>
                <a:cubicBezTo>
                  <a:pt x="2544428" y="398820"/>
                  <a:pt x="2556628" y="405299"/>
                  <a:pt x="2572782" y="405299"/>
                </a:cubicBezTo>
                <a:close/>
                <a:moveTo>
                  <a:pt x="1810782" y="405299"/>
                </a:moveTo>
                <a:cubicBezTo>
                  <a:pt x="1827610" y="405299"/>
                  <a:pt x="1839810" y="398820"/>
                  <a:pt x="1847382" y="385863"/>
                </a:cubicBezTo>
                <a:cubicBezTo>
                  <a:pt x="1854954" y="372906"/>
                  <a:pt x="1858740" y="355826"/>
                  <a:pt x="1858740" y="334623"/>
                </a:cubicBezTo>
                <a:cubicBezTo>
                  <a:pt x="1858740" y="313420"/>
                  <a:pt x="1854618" y="296256"/>
                  <a:pt x="1846372" y="283131"/>
                </a:cubicBezTo>
                <a:cubicBezTo>
                  <a:pt x="1838127" y="270006"/>
                  <a:pt x="1825927" y="263443"/>
                  <a:pt x="1809772" y="263443"/>
                </a:cubicBezTo>
                <a:cubicBezTo>
                  <a:pt x="1792945" y="263443"/>
                  <a:pt x="1780745" y="270006"/>
                  <a:pt x="1773173" y="283131"/>
                </a:cubicBezTo>
                <a:cubicBezTo>
                  <a:pt x="1765600" y="296256"/>
                  <a:pt x="1761814" y="313420"/>
                  <a:pt x="1761814" y="334623"/>
                </a:cubicBezTo>
                <a:cubicBezTo>
                  <a:pt x="1761814" y="355826"/>
                  <a:pt x="1765937" y="372906"/>
                  <a:pt x="1774182" y="385863"/>
                </a:cubicBezTo>
                <a:cubicBezTo>
                  <a:pt x="1782428" y="398820"/>
                  <a:pt x="1794628" y="405299"/>
                  <a:pt x="1810782" y="405299"/>
                </a:cubicBezTo>
                <a:close/>
                <a:moveTo>
                  <a:pt x="810657" y="405299"/>
                </a:moveTo>
                <a:cubicBezTo>
                  <a:pt x="827485" y="405299"/>
                  <a:pt x="839684" y="398820"/>
                  <a:pt x="847257" y="385863"/>
                </a:cubicBezTo>
                <a:cubicBezTo>
                  <a:pt x="854829" y="372906"/>
                  <a:pt x="858615" y="355826"/>
                  <a:pt x="858616" y="334623"/>
                </a:cubicBezTo>
                <a:cubicBezTo>
                  <a:pt x="858615" y="313420"/>
                  <a:pt x="854493" y="296256"/>
                  <a:pt x="846247" y="283131"/>
                </a:cubicBezTo>
                <a:cubicBezTo>
                  <a:pt x="838002" y="270006"/>
                  <a:pt x="825802" y="263443"/>
                  <a:pt x="809647" y="263443"/>
                </a:cubicBezTo>
                <a:cubicBezTo>
                  <a:pt x="792820" y="263443"/>
                  <a:pt x="780620" y="270006"/>
                  <a:pt x="773048" y="283131"/>
                </a:cubicBezTo>
                <a:cubicBezTo>
                  <a:pt x="765475" y="296256"/>
                  <a:pt x="761689" y="313420"/>
                  <a:pt x="761689" y="334623"/>
                </a:cubicBezTo>
                <a:cubicBezTo>
                  <a:pt x="761689" y="355826"/>
                  <a:pt x="765812" y="372906"/>
                  <a:pt x="774057" y="385863"/>
                </a:cubicBezTo>
                <a:cubicBezTo>
                  <a:pt x="782303" y="398820"/>
                  <a:pt x="794503" y="405299"/>
                  <a:pt x="810657" y="405299"/>
                </a:cubicBezTo>
                <a:close/>
                <a:moveTo>
                  <a:pt x="3325256" y="411861"/>
                </a:moveTo>
                <a:cubicBezTo>
                  <a:pt x="3316506" y="411861"/>
                  <a:pt x="3309608" y="408496"/>
                  <a:pt x="3304560" y="401765"/>
                </a:cubicBezTo>
                <a:cubicBezTo>
                  <a:pt x="3299512" y="395034"/>
                  <a:pt x="3296988" y="387125"/>
                  <a:pt x="3296988" y="378038"/>
                </a:cubicBezTo>
                <a:cubicBezTo>
                  <a:pt x="3296988" y="368951"/>
                  <a:pt x="3299512" y="361126"/>
                  <a:pt x="3304560" y="354564"/>
                </a:cubicBezTo>
                <a:cubicBezTo>
                  <a:pt x="3309608" y="348001"/>
                  <a:pt x="3316506" y="344720"/>
                  <a:pt x="3325256" y="344720"/>
                </a:cubicBezTo>
                <a:cubicBezTo>
                  <a:pt x="3333334" y="344720"/>
                  <a:pt x="3339980" y="348001"/>
                  <a:pt x="3345198" y="354564"/>
                </a:cubicBezTo>
                <a:cubicBezTo>
                  <a:pt x="3350414" y="361126"/>
                  <a:pt x="3353022" y="368951"/>
                  <a:pt x="3353022" y="378038"/>
                </a:cubicBezTo>
                <a:cubicBezTo>
                  <a:pt x="3353022" y="387125"/>
                  <a:pt x="3350414" y="395034"/>
                  <a:pt x="3345198" y="401765"/>
                </a:cubicBezTo>
                <a:cubicBezTo>
                  <a:pt x="3339980" y="408496"/>
                  <a:pt x="3333334" y="411861"/>
                  <a:pt x="3325256" y="411861"/>
                </a:cubicBezTo>
                <a:close/>
                <a:moveTo>
                  <a:pt x="2207070" y="453257"/>
                </a:moveTo>
                <a:lnTo>
                  <a:pt x="2207070" y="401765"/>
                </a:lnTo>
                <a:lnTo>
                  <a:pt x="2272697" y="401765"/>
                </a:lnTo>
                <a:lnTo>
                  <a:pt x="2272697" y="314430"/>
                </a:lnTo>
                <a:cubicBezTo>
                  <a:pt x="2272697" y="297939"/>
                  <a:pt x="2274043" y="283299"/>
                  <a:pt x="2276735" y="270510"/>
                </a:cubicBezTo>
                <a:cubicBezTo>
                  <a:pt x="2279428" y="257721"/>
                  <a:pt x="2284055" y="246868"/>
                  <a:pt x="2290618" y="237949"/>
                </a:cubicBezTo>
                <a:cubicBezTo>
                  <a:pt x="2297181" y="229031"/>
                  <a:pt x="2305931" y="222215"/>
                  <a:pt x="2316869" y="217504"/>
                </a:cubicBezTo>
                <a:cubicBezTo>
                  <a:pt x="2327807" y="212792"/>
                  <a:pt x="2341353" y="210436"/>
                  <a:pt x="2357508" y="210436"/>
                </a:cubicBezTo>
                <a:cubicBezTo>
                  <a:pt x="2366931" y="210436"/>
                  <a:pt x="2377280" y="211530"/>
                  <a:pt x="2388554" y="213718"/>
                </a:cubicBezTo>
                <a:cubicBezTo>
                  <a:pt x="2399829" y="215905"/>
                  <a:pt x="2411860" y="220028"/>
                  <a:pt x="2424649" y="226086"/>
                </a:cubicBezTo>
                <a:lnTo>
                  <a:pt x="2416572" y="276063"/>
                </a:lnTo>
                <a:cubicBezTo>
                  <a:pt x="2406475" y="271352"/>
                  <a:pt x="2397388" y="268239"/>
                  <a:pt x="2389312" y="266724"/>
                </a:cubicBezTo>
                <a:cubicBezTo>
                  <a:pt x="2381234" y="265210"/>
                  <a:pt x="2374335" y="264452"/>
                  <a:pt x="2368614" y="264452"/>
                </a:cubicBezTo>
                <a:cubicBezTo>
                  <a:pt x="2356498" y="264452"/>
                  <a:pt x="2347832" y="267902"/>
                  <a:pt x="2342615" y="274801"/>
                </a:cubicBezTo>
                <a:cubicBezTo>
                  <a:pt x="2337398" y="281701"/>
                  <a:pt x="2334790" y="292218"/>
                  <a:pt x="2334790" y="306353"/>
                </a:cubicBezTo>
                <a:lnTo>
                  <a:pt x="2334790" y="453257"/>
                </a:lnTo>
                <a:close/>
                <a:moveTo>
                  <a:pt x="1088092" y="457800"/>
                </a:moveTo>
                <a:cubicBezTo>
                  <a:pt x="1064870" y="457800"/>
                  <a:pt x="1044593" y="455949"/>
                  <a:pt x="1027260" y="452247"/>
                </a:cubicBezTo>
                <a:cubicBezTo>
                  <a:pt x="1009928" y="448545"/>
                  <a:pt x="993016" y="443665"/>
                  <a:pt x="976526" y="437607"/>
                </a:cubicBezTo>
                <a:lnTo>
                  <a:pt x="976526" y="215989"/>
                </a:lnTo>
                <a:lnTo>
                  <a:pt x="1039124" y="215989"/>
                </a:lnTo>
                <a:lnTo>
                  <a:pt x="1039124" y="392173"/>
                </a:lnTo>
                <a:cubicBezTo>
                  <a:pt x="1047874" y="394529"/>
                  <a:pt x="1056456" y="396128"/>
                  <a:pt x="1064870" y="396969"/>
                </a:cubicBezTo>
                <a:cubicBezTo>
                  <a:pt x="1073284" y="397810"/>
                  <a:pt x="1081866" y="398231"/>
                  <a:pt x="1090616" y="398231"/>
                </a:cubicBezTo>
                <a:cubicBezTo>
                  <a:pt x="1094318" y="398231"/>
                  <a:pt x="1098861" y="398063"/>
                  <a:pt x="1104246" y="397726"/>
                </a:cubicBezTo>
                <a:cubicBezTo>
                  <a:pt x="1109631" y="397390"/>
                  <a:pt x="1115184" y="396801"/>
                  <a:pt x="1120905" y="395959"/>
                </a:cubicBezTo>
                <a:cubicBezTo>
                  <a:pt x="1126627" y="395118"/>
                  <a:pt x="1132264" y="394192"/>
                  <a:pt x="1137817" y="393183"/>
                </a:cubicBezTo>
                <a:cubicBezTo>
                  <a:pt x="1143370" y="392173"/>
                  <a:pt x="1148166" y="391164"/>
                  <a:pt x="1152205" y="390154"/>
                </a:cubicBezTo>
                <a:lnTo>
                  <a:pt x="1163311" y="447704"/>
                </a:lnTo>
                <a:cubicBezTo>
                  <a:pt x="1157589" y="449723"/>
                  <a:pt x="1151111" y="451322"/>
                  <a:pt x="1143875" y="452500"/>
                </a:cubicBezTo>
                <a:cubicBezTo>
                  <a:pt x="1136639" y="453678"/>
                  <a:pt x="1129487" y="454687"/>
                  <a:pt x="1122420" y="455529"/>
                </a:cubicBezTo>
                <a:cubicBezTo>
                  <a:pt x="1115352" y="456370"/>
                  <a:pt x="1108706" y="456959"/>
                  <a:pt x="1102479" y="457296"/>
                </a:cubicBezTo>
                <a:cubicBezTo>
                  <a:pt x="1096253" y="457632"/>
                  <a:pt x="1091457" y="457800"/>
                  <a:pt x="1088092" y="457800"/>
                </a:cubicBezTo>
                <a:close/>
                <a:moveTo>
                  <a:pt x="2572782" y="459315"/>
                </a:moveTo>
                <a:cubicBezTo>
                  <a:pt x="2556628" y="459315"/>
                  <a:pt x="2541651" y="456370"/>
                  <a:pt x="2527852" y="450480"/>
                </a:cubicBezTo>
                <a:cubicBezTo>
                  <a:pt x="2514054" y="444591"/>
                  <a:pt x="2502190" y="436177"/>
                  <a:pt x="2492262" y="425239"/>
                </a:cubicBezTo>
                <a:cubicBezTo>
                  <a:pt x="2482334" y="414301"/>
                  <a:pt x="2474594" y="401176"/>
                  <a:pt x="2469040" y="385863"/>
                </a:cubicBezTo>
                <a:cubicBezTo>
                  <a:pt x="2463487" y="370550"/>
                  <a:pt x="2460711" y="353638"/>
                  <a:pt x="2460711" y="335128"/>
                </a:cubicBezTo>
                <a:cubicBezTo>
                  <a:pt x="2460711" y="316281"/>
                  <a:pt x="2463403" y="299201"/>
                  <a:pt x="2468788" y="283888"/>
                </a:cubicBezTo>
                <a:cubicBezTo>
                  <a:pt x="2474173" y="268575"/>
                  <a:pt x="2481829" y="255366"/>
                  <a:pt x="2491758" y="244259"/>
                </a:cubicBezTo>
                <a:cubicBezTo>
                  <a:pt x="2501686" y="233153"/>
                  <a:pt x="2513465" y="224571"/>
                  <a:pt x="2527095" y="218513"/>
                </a:cubicBezTo>
                <a:cubicBezTo>
                  <a:pt x="2540726" y="212455"/>
                  <a:pt x="2555954" y="209427"/>
                  <a:pt x="2572782" y="209427"/>
                </a:cubicBezTo>
                <a:cubicBezTo>
                  <a:pt x="2589609" y="209427"/>
                  <a:pt x="2604838" y="212455"/>
                  <a:pt x="2618468" y="218513"/>
                </a:cubicBezTo>
                <a:cubicBezTo>
                  <a:pt x="2632098" y="224571"/>
                  <a:pt x="2643794" y="233153"/>
                  <a:pt x="2653554" y="244259"/>
                </a:cubicBezTo>
                <a:cubicBezTo>
                  <a:pt x="2663314" y="255366"/>
                  <a:pt x="2670886" y="268575"/>
                  <a:pt x="2676271" y="283888"/>
                </a:cubicBezTo>
                <a:cubicBezTo>
                  <a:pt x="2681656" y="299201"/>
                  <a:pt x="2684348" y="316281"/>
                  <a:pt x="2684348" y="335128"/>
                </a:cubicBezTo>
                <a:cubicBezTo>
                  <a:pt x="2684348" y="353638"/>
                  <a:pt x="2681656" y="370550"/>
                  <a:pt x="2676271" y="385863"/>
                </a:cubicBezTo>
                <a:cubicBezTo>
                  <a:pt x="2670886" y="401176"/>
                  <a:pt x="2663230" y="414301"/>
                  <a:pt x="2653302" y="425239"/>
                </a:cubicBezTo>
                <a:cubicBezTo>
                  <a:pt x="2643373" y="436177"/>
                  <a:pt x="2631594" y="444591"/>
                  <a:pt x="2617964" y="450480"/>
                </a:cubicBezTo>
                <a:cubicBezTo>
                  <a:pt x="2604334" y="456370"/>
                  <a:pt x="2589273" y="459315"/>
                  <a:pt x="2572782" y="459315"/>
                </a:cubicBezTo>
                <a:close/>
                <a:moveTo>
                  <a:pt x="1810782" y="459315"/>
                </a:moveTo>
                <a:cubicBezTo>
                  <a:pt x="1794628" y="459315"/>
                  <a:pt x="1779651" y="456370"/>
                  <a:pt x="1765853" y="450480"/>
                </a:cubicBezTo>
                <a:cubicBezTo>
                  <a:pt x="1752054" y="444591"/>
                  <a:pt x="1740191" y="436177"/>
                  <a:pt x="1730262" y="425239"/>
                </a:cubicBezTo>
                <a:cubicBezTo>
                  <a:pt x="1720334" y="414301"/>
                  <a:pt x="1712594" y="401176"/>
                  <a:pt x="1707040" y="385863"/>
                </a:cubicBezTo>
                <a:cubicBezTo>
                  <a:pt x="1701488" y="370550"/>
                  <a:pt x="1698711" y="353638"/>
                  <a:pt x="1698711" y="335128"/>
                </a:cubicBezTo>
                <a:cubicBezTo>
                  <a:pt x="1698711" y="316281"/>
                  <a:pt x="1701403" y="299201"/>
                  <a:pt x="1706788" y="283888"/>
                </a:cubicBezTo>
                <a:cubicBezTo>
                  <a:pt x="1712173" y="268575"/>
                  <a:pt x="1719829" y="255366"/>
                  <a:pt x="1729758" y="244259"/>
                </a:cubicBezTo>
                <a:cubicBezTo>
                  <a:pt x="1739686" y="233153"/>
                  <a:pt x="1751465" y="224571"/>
                  <a:pt x="1765095" y="218513"/>
                </a:cubicBezTo>
                <a:cubicBezTo>
                  <a:pt x="1778726" y="212455"/>
                  <a:pt x="1793954" y="209427"/>
                  <a:pt x="1810782" y="209427"/>
                </a:cubicBezTo>
                <a:cubicBezTo>
                  <a:pt x="1827610" y="209427"/>
                  <a:pt x="1842838" y="212455"/>
                  <a:pt x="1856469" y="218513"/>
                </a:cubicBezTo>
                <a:cubicBezTo>
                  <a:pt x="1870099" y="224571"/>
                  <a:pt x="1881794" y="233153"/>
                  <a:pt x="1891554" y="244259"/>
                </a:cubicBezTo>
                <a:cubicBezTo>
                  <a:pt x="1901314" y="255366"/>
                  <a:pt x="1908886" y="268575"/>
                  <a:pt x="1914271" y="283888"/>
                </a:cubicBezTo>
                <a:cubicBezTo>
                  <a:pt x="1919656" y="299201"/>
                  <a:pt x="1922348" y="316281"/>
                  <a:pt x="1922348" y="335128"/>
                </a:cubicBezTo>
                <a:cubicBezTo>
                  <a:pt x="1922348" y="353638"/>
                  <a:pt x="1919656" y="370550"/>
                  <a:pt x="1914271" y="385863"/>
                </a:cubicBezTo>
                <a:cubicBezTo>
                  <a:pt x="1908886" y="401176"/>
                  <a:pt x="1901230" y="414301"/>
                  <a:pt x="1891302" y="425239"/>
                </a:cubicBezTo>
                <a:cubicBezTo>
                  <a:pt x="1881374" y="436177"/>
                  <a:pt x="1869594" y="444591"/>
                  <a:pt x="1855964" y="450480"/>
                </a:cubicBezTo>
                <a:cubicBezTo>
                  <a:pt x="1842334" y="456370"/>
                  <a:pt x="1827273" y="459315"/>
                  <a:pt x="1810782" y="459315"/>
                </a:cubicBezTo>
                <a:close/>
                <a:moveTo>
                  <a:pt x="810657" y="459315"/>
                </a:moveTo>
                <a:cubicBezTo>
                  <a:pt x="794503" y="459315"/>
                  <a:pt x="779526" y="456370"/>
                  <a:pt x="765728" y="450480"/>
                </a:cubicBezTo>
                <a:cubicBezTo>
                  <a:pt x="751929" y="444591"/>
                  <a:pt x="740066" y="436177"/>
                  <a:pt x="730138" y="425239"/>
                </a:cubicBezTo>
                <a:cubicBezTo>
                  <a:pt x="720209" y="414301"/>
                  <a:pt x="712469" y="401176"/>
                  <a:pt x="706916" y="385863"/>
                </a:cubicBezTo>
                <a:cubicBezTo>
                  <a:pt x="701362" y="370550"/>
                  <a:pt x="698586" y="353638"/>
                  <a:pt x="698586" y="335128"/>
                </a:cubicBezTo>
                <a:cubicBezTo>
                  <a:pt x="698586" y="316281"/>
                  <a:pt x="701278" y="299201"/>
                  <a:pt x="706663" y="283888"/>
                </a:cubicBezTo>
                <a:cubicBezTo>
                  <a:pt x="712048" y="268575"/>
                  <a:pt x="719704" y="255366"/>
                  <a:pt x="729633" y="244259"/>
                </a:cubicBezTo>
                <a:cubicBezTo>
                  <a:pt x="739561" y="233153"/>
                  <a:pt x="751340" y="224571"/>
                  <a:pt x="764970" y="218513"/>
                </a:cubicBezTo>
                <a:cubicBezTo>
                  <a:pt x="778601" y="212455"/>
                  <a:pt x="793830" y="209427"/>
                  <a:pt x="810657" y="209427"/>
                </a:cubicBezTo>
                <a:cubicBezTo>
                  <a:pt x="827485" y="209427"/>
                  <a:pt x="842713" y="212455"/>
                  <a:pt x="856344" y="218513"/>
                </a:cubicBezTo>
                <a:cubicBezTo>
                  <a:pt x="869974" y="224571"/>
                  <a:pt x="881669" y="233153"/>
                  <a:pt x="891429" y="244259"/>
                </a:cubicBezTo>
                <a:cubicBezTo>
                  <a:pt x="901189" y="255366"/>
                  <a:pt x="908761" y="268575"/>
                  <a:pt x="914146" y="283888"/>
                </a:cubicBezTo>
                <a:cubicBezTo>
                  <a:pt x="919531" y="299201"/>
                  <a:pt x="922223" y="316281"/>
                  <a:pt x="922223" y="335128"/>
                </a:cubicBezTo>
                <a:cubicBezTo>
                  <a:pt x="922223" y="353638"/>
                  <a:pt x="919531" y="370550"/>
                  <a:pt x="914146" y="385863"/>
                </a:cubicBezTo>
                <a:cubicBezTo>
                  <a:pt x="908761" y="401176"/>
                  <a:pt x="901105" y="414301"/>
                  <a:pt x="891177" y="425239"/>
                </a:cubicBezTo>
                <a:cubicBezTo>
                  <a:pt x="881248" y="436177"/>
                  <a:pt x="869469" y="444591"/>
                  <a:pt x="855839" y="450480"/>
                </a:cubicBezTo>
                <a:cubicBezTo>
                  <a:pt x="842209" y="456370"/>
                  <a:pt x="827148" y="459315"/>
                  <a:pt x="810657" y="459315"/>
                </a:cubicBezTo>
                <a:close/>
                <a:moveTo>
                  <a:pt x="546919" y="477993"/>
                </a:moveTo>
                <a:cubicBezTo>
                  <a:pt x="563410" y="477993"/>
                  <a:pt x="576620" y="474207"/>
                  <a:pt x="586548" y="466635"/>
                </a:cubicBezTo>
                <a:cubicBezTo>
                  <a:pt x="596476" y="459062"/>
                  <a:pt x="601441" y="446189"/>
                  <a:pt x="601441" y="428016"/>
                </a:cubicBezTo>
                <a:cubicBezTo>
                  <a:pt x="601441" y="408832"/>
                  <a:pt x="596392" y="395286"/>
                  <a:pt x="586296" y="387377"/>
                </a:cubicBezTo>
                <a:cubicBezTo>
                  <a:pt x="576199" y="379468"/>
                  <a:pt x="561223" y="375514"/>
                  <a:pt x="541366" y="375514"/>
                </a:cubicBezTo>
                <a:lnTo>
                  <a:pt x="516125" y="375514"/>
                </a:lnTo>
                <a:lnTo>
                  <a:pt x="516125" y="476479"/>
                </a:lnTo>
                <a:cubicBezTo>
                  <a:pt x="519827" y="477152"/>
                  <a:pt x="524960" y="477573"/>
                  <a:pt x="531522" y="477741"/>
                </a:cubicBezTo>
                <a:cubicBezTo>
                  <a:pt x="538085" y="477909"/>
                  <a:pt x="543217" y="477993"/>
                  <a:pt x="546919" y="477993"/>
                </a:cubicBezTo>
                <a:close/>
                <a:moveTo>
                  <a:pt x="3324752" y="482537"/>
                </a:moveTo>
                <a:cubicBezTo>
                  <a:pt x="3341916" y="482537"/>
                  <a:pt x="3354958" y="473198"/>
                  <a:pt x="3363876" y="454519"/>
                </a:cubicBezTo>
                <a:cubicBezTo>
                  <a:pt x="3372794" y="435841"/>
                  <a:pt x="3377254" y="408664"/>
                  <a:pt x="3377254" y="372990"/>
                </a:cubicBezTo>
                <a:cubicBezTo>
                  <a:pt x="3377254" y="336979"/>
                  <a:pt x="3372794" y="309634"/>
                  <a:pt x="3363876" y="290956"/>
                </a:cubicBezTo>
                <a:cubicBezTo>
                  <a:pt x="3354958" y="272277"/>
                  <a:pt x="3341916" y="262938"/>
                  <a:pt x="3324752" y="262938"/>
                </a:cubicBezTo>
                <a:cubicBezTo>
                  <a:pt x="3307924" y="262938"/>
                  <a:pt x="3294968" y="272277"/>
                  <a:pt x="3285880" y="290956"/>
                </a:cubicBezTo>
                <a:cubicBezTo>
                  <a:pt x="3276794" y="309634"/>
                  <a:pt x="3272250" y="336979"/>
                  <a:pt x="3272250" y="372990"/>
                </a:cubicBezTo>
                <a:cubicBezTo>
                  <a:pt x="3272250" y="408664"/>
                  <a:pt x="3276794" y="435841"/>
                  <a:pt x="3285880" y="454519"/>
                </a:cubicBezTo>
                <a:cubicBezTo>
                  <a:pt x="3294968" y="473198"/>
                  <a:pt x="3307924" y="482537"/>
                  <a:pt x="3324752" y="482537"/>
                </a:cubicBezTo>
                <a:close/>
                <a:moveTo>
                  <a:pt x="1323054" y="522923"/>
                </a:moveTo>
                <a:lnTo>
                  <a:pt x="1260961" y="512826"/>
                </a:lnTo>
                <a:lnTo>
                  <a:pt x="1260961" y="453257"/>
                </a:lnTo>
                <a:lnTo>
                  <a:pt x="1206945" y="453257"/>
                </a:lnTo>
                <a:lnTo>
                  <a:pt x="1206945" y="401765"/>
                </a:lnTo>
                <a:lnTo>
                  <a:pt x="1260961" y="401765"/>
                </a:lnTo>
                <a:lnTo>
                  <a:pt x="1260961" y="304334"/>
                </a:lnTo>
                <a:cubicBezTo>
                  <a:pt x="1260961" y="284477"/>
                  <a:pt x="1262980" y="268407"/>
                  <a:pt x="1267019" y="256123"/>
                </a:cubicBezTo>
                <a:cubicBezTo>
                  <a:pt x="1271057" y="243839"/>
                  <a:pt x="1276947" y="234331"/>
                  <a:pt x="1284688" y="227600"/>
                </a:cubicBezTo>
                <a:cubicBezTo>
                  <a:pt x="1292428" y="220869"/>
                  <a:pt x="1301852" y="216326"/>
                  <a:pt x="1312958" y="213970"/>
                </a:cubicBezTo>
                <a:cubicBezTo>
                  <a:pt x="1324064" y="211614"/>
                  <a:pt x="1336853" y="210436"/>
                  <a:pt x="1351325" y="210436"/>
                </a:cubicBezTo>
                <a:cubicBezTo>
                  <a:pt x="1363777" y="210436"/>
                  <a:pt x="1376650" y="211446"/>
                  <a:pt x="1389944" y="213465"/>
                </a:cubicBezTo>
                <a:cubicBezTo>
                  <a:pt x="1403238" y="215484"/>
                  <a:pt x="1415606" y="218850"/>
                  <a:pt x="1427048" y="223562"/>
                </a:cubicBezTo>
                <a:lnTo>
                  <a:pt x="1418466" y="277073"/>
                </a:lnTo>
                <a:cubicBezTo>
                  <a:pt x="1412745" y="274381"/>
                  <a:pt x="1407444" y="272193"/>
                  <a:pt x="1402564" y="270510"/>
                </a:cubicBezTo>
                <a:cubicBezTo>
                  <a:pt x="1397684" y="268828"/>
                  <a:pt x="1392973" y="267566"/>
                  <a:pt x="1388429" y="266724"/>
                </a:cubicBezTo>
                <a:cubicBezTo>
                  <a:pt x="1383886" y="265883"/>
                  <a:pt x="1379174" y="265294"/>
                  <a:pt x="1374294" y="264957"/>
                </a:cubicBezTo>
                <a:cubicBezTo>
                  <a:pt x="1369414" y="264621"/>
                  <a:pt x="1364114" y="264452"/>
                  <a:pt x="1358392" y="264452"/>
                </a:cubicBezTo>
                <a:cubicBezTo>
                  <a:pt x="1353007" y="264452"/>
                  <a:pt x="1348127" y="264957"/>
                  <a:pt x="1343752" y="265967"/>
                </a:cubicBezTo>
                <a:cubicBezTo>
                  <a:pt x="1339377" y="266977"/>
                  <a:pt x="1335675" y="268996"/>
                  <a:pt x="1332646" y="272025"/>
                </a:cubicBezTo>
                <a:cubicBezTo>
                  <a:pt x="1329617" y="275054"/>
                  <a:pt x="1327261" y="279261"/>
                  <a:pt x="1325579" y="284645"/>
                </a:cubicBezTo>
                <a:cubicBezTo>
                  <a:pt x="1323896" y="290030"/>
                  <a:pt x="1323054" y="297098"/>
                  <a:pt x="1323054" y="305848"/>
                </a:cubicBezTo>
                <a:lnTo>
                  <a:pt x="1323054" y="401765"/>
                </a:lnTo>
                <a:lnTo>
                  <a:pt x="1422505" y="401765"/>
                </a:lnTo>
                <a:lnTo>
                  <a:pt x="1422505" y="453257"/>
                </a:lnTo>
                <a:lnTo>
                  <a:pt x="1323054" y="453257"/>
                </a:lnTo>
                <a:close/>
                <a:moveTo>
                  <a:pt x="539852" y="532010"/>
                </a:moveTo>
                <a:cubicBezTo>
                  <a:pt x="534131" y="532010"/>
                  <a:pt x="527568" y="531841"/>
                  <a:pt x="520164" y="531505"/>
                </a:cubicBezTo>
                <a:cubicBezTo>
                  <a:pt x="512760" y="531168"/>
                  <a:pt x="505187" y="530748"/>
                  <a:pt x="497447" y="530243"/>
                </a:cubicBezTo>
                <a:cubicBezTo>
                  <a:pt x="489706" y="529738"/>
                  <a:pt x="482049" y="528981"/>
                  <a:pt x="474477" y="527971"/>
                </a:cubicBezTo>
                <a:cubicBezTo>
                  <a:pt x="466905" y="526961"/>
                  <a:pt x="460090" y="525784"/>
                  <a:pt x="454032" y="524437"/>
                </a:cubicBezTo>
                <a:lnTo>
                  <a:pt x="454032" y="215989"/>
                </a:lnTo>
                <a:lnTo>
                  <a:pt x="516125" y="215989"/>
                </a:lnTo>
                <a:lnTo>
                  <a:pt x="516125" y="321498"/>
                </a:lnTo>
                <a:lnTo>
                  <a:pt x="538337" y="321498"/>
                </a:lnTo>
                <a:cubicBezTo>
                  <a:pt x="578723" y="321498"/>
                  <a:pt x="609938" y="329827"/>
                  <a:pt x="631982" y="346486"/>
                </a:cubicBezTo>
                <a:cubicBezTo>
                  <a:pt x="654026" y="363146"/>
                  <a:pt x="665048" y="390154"/>
                  <a:pt x="665048" y="427511"/>
                </a:cubicBezTo>
                <a:cubicBezTo>
                  <a:pt x="665048" y="464531"/>
                  <a:pt x="654111" y="491203"/>
                  <a:pt x="632235" y="507526"/>
                </a:cubicBezTo>
                <a:cubicBezTo>
                  <a:pt x="610359" y="523848"/>
                  <a:pt x="579565" y="532010"/>
                  <a:pt x="539852" y="532010"/>
                </a:cubicBezTo>
                <a:close/>
                <a:moveTo>
                  <a:pt x="3816452" y="535544"/>
                </a:moveTo>
                <a:cubicBezTo>
                  <a:pt x="3797604" y="535544"/>
                  <a:pt x="3780694" y="532430"/>
                  <a:pt x="3765716" y="526204"/>
                </a:cubicBezTo>
                <a:cubicBezTo>
                  <a:pt x="3750740" y="519978"/>
                  <a:pt x="3738708" y="513836"/>
                  <a:pt x="3729622" y="507778"/>
                </a:cubicBezTo>
                <a:lnTo>
                  <a:pt x="3751834" y="462344"/>
                </a:lnTo>
                <a:cubicBezTo>
                  <a:pt x="3760248" y="468065"/>
                  <a:pt x="3770260" y="472861"/>
                  <a:pt x="3781872" y="476731"/>
                </a:cubicBezTo>
                <a:cubicBezTo>
                  <a:pt x="3793482" y="480602"/>
                  <a:pt x="3805178" y="482537"/>
                  <a:pt x="3816956" y="482537"/>
                </a:cubicBezTo>
                <a:cubicBezTo>
                  <a:pt x="3829072" y="482537"/>
                  <a:pt x="3838580" y="479255"/>
                  <a:pt x="3845480" y="472693"/>
                </a:cubicBezTo>
                <a:cubicBezTo>
                  <a:pt x="3852378" y="466130"/>
                  <a:pt x="3855828" y="457127"/>
                  <a:pt x="3855828" y="445685"/>
                </a:cubicBezTo>
                <a:cubicBezTo>
                  <a:pt x="3855828" y="437944"/>
                  <a:pt x="3854230" y="431550"/>
                  <a:pt x="3851032" y="426501"/>
                </a:cubicBezTo>
                <a:cubicBezTo>
                  <a:pt x="3847836" y="421453"/>
                  <a:pt x="3843712" y="417414"/>
                  <a:pt x="3838664" y="414385"/>
                </a:cubicBezTo>
                <a:cubicBezTo>
                  <a:pt x="3833616" y="411357"/>
                  <a:pt x="3827894" y="409169"/>
                  <a:pt x="3821500" y="407823"/>
                </a:cubicBezTo>
                <a:cubicBezTo>
                  <a:pt x="3815106" y="406477"/>
                  <a:pt x="3808712" y="405803"/>
                  <a:pt x="3802316" y="405803"/>
                </a:cubicBezTo>
                <a:lnTo>
                  <a:pt x="3779094" y="405803"/>
                </a:lnTo>
                <a:lnTo>
                  <a:pt x="3779094" y="354311"/>
                </a:lnTo>
                <a:lnTo>
                  <a:pt x="3798278" y="354311"/>
                </a:lnTo>
                <a:cubicBezTo>
                  <a:pt x="3818470" y="354311"/>
                  <a:pt x="3835130" y="351030"/>
                  <a:pt x="3848256" y="344467"/>
                </a:cubicBezTo>
                <a:cubicBezTo>
                  <a:pt x="3861380" y="337904"/>
                  <a:pt x="3867944" y="326378"/>
                  <a:pt x="3867944" y="309887"/>
                </a:cubicBezTo>
                <a:cubicBezTo>
                  <a:pt x="3867944" y="296425"/>
                  <a:pt x="3863652" y="285150"/>
                  <a:pt x="3855072" y="276063"/>
                </a:cubicBezTo>
                <a:cubicBezTo>
                  <a:pt x="3846488" y="266977"/>
                  <a:pt x="3831596" y="262433"/>
                  <a:pt x="3810394" y="262433"/>
                </a:cubicBezTo>
                <a:cubicBezTo>
                  <a:pt x="3793230" y="262433"/>
                  <a:pt x="3778506" y="264284"/>
                  <a:pt x="3766222" y="267986"/>
                </a:cubicBezTo>
                <a:cubicBezTo>
                  <a:pt x="3753938" y="271688"/>
                  <a:pt x="3743924" y="275222"/>
                  <a:pt x="3736184" y="278588"/>
                </a:cubicBezTo>
                <a:lnTo>
                  <a:pt x="3724068" y="226591"/>
                </a:lnTo>
                <a:cubicBezTo>
                  <a:pt x="3727770" y="224908"/>
                  <a:pt x="3732988" y="223057"/>
                  <a:pt x="3739718" y="221037"/>
                </a:cubicBezTo>
                <a:cubicBezTo>
                  <a:pt x="3746450" y="219018"/>
                  <a:pt x="3753770" y="217167"/>
                  <a:pt x="3761678" y="215484"/>
                </a:cubicBezTo>
                <a:cubicBezTo>
                  <a:pt x="3769588" y="213802"/>
                  <a:pt x="3777832" y="212371"/>
                  <a:pt x="3786414" y="211193"/>
                </a:cubicBezTo>
                <a:cubicBezTo>
                  <a:pt x="3794996" y="210015"/>
                  <a:pt x="3803158" y="209427"/>
                  <a:pt x="3810898" y="209427"/>
                </a:cubicBezTo>
                <a:cubicBezTo>
                  <a:pt x="3831764" y="209427"/>
                  <a:pt x="3849770" y="211867"/>
                  <a:pt x="3864916" y="216746"/>
                </a:cubicBezTo>
                <a:cubicBezTo>
                  <a:pt x="3880060" y="221626"/>
                  <a:pt x="3892512" y="228526"/>
                  <a:pt x="3902272" y="237444"/>
                </a:cubicBezTo>
                <a:cubicBezTo>
                  <a:pt x="3912032" y="246363"/>
                  <a:pt x="3919268" y="256880"/>
                  <a:pt x="3923980" y="268996"/>
                </a:cubicBezTo>
                <a:cubicBezTo>
                  <a:pt x="3928692" y="281112"/>
                  <a:pt x="3931048" y="294405"/>
                  <a:pt x="3931048" y="308877"/>
                </a:cubicBezTo>
                <a:cubicBezTo>
                  <a:pt x="3931048" y="327051"/>
                  <a:pt x="3926588" y="342700"/>
                  <a:pt x="3917668" y="355826"/>
                </a:cubicBezTo>
                <a:cubicBezTo>
                  <a:pt x="3908750" y="368951"/>
                  <a:pt x="3896214" y="378879"/>
                  <a:pt x="3880060" y="385610"/>
                </a:cubicBezTo>
                <a:cubicBezTo>
                  <a:pt x="3891840" y="391668"/>
                  <a:pt x="3901262" y="400419"/>
                  <a:pt x="3908330" y="411861"/>
                </a:cubicBezTo>
                <a:cubicBezTo>
                  <a:pt x="3915398" y="423304"/>
                  <a:pt x="3918932" y="435252"/>
                  <a:pt x="3918932" y="447704"/>
                </a:cubicBezTo>
                <a:cubicBezTo>
                  <a:pt x="3918932" y="460156"/>
                  <a:pt x="3916912" y="471767"/>
                  <a:pt x="3912874" y="482537"/>
                </a:cubicBezTo>
                <a:cubicBezTo>
                  <a:pt x="3908834" y="493306"/>
                  <a:pt x="3902608" y="502646"/>
                  <a:pt x="3894196" y="510555"/>
                </a:cubicBezTo>
                <a:cubicBezTo>
                  <a:pt x="3885780" y="518464"/>
                  <a:pt x="3875096" y="524606"/>
                  <a:pt x="3862138" y="528981"/>
                </a:cubicBezTo>
                <a:cubicBezTo>
                  <a:pt x="3849180" y="533356"/>
                  <a:pt x="3833952" y="535544"/>
                  <a:pt x="3816452" y="535544"/>
                </a:cubicBezTo>
                <a:close/>
                <a:moveTo>
                  <a:pt x="3567354" y="535544"/>
                </a:moveTo>
                <a:cubicBezTo>
                  <a:pt x="3549854" y="535544"/>
                  <a:pt x="3532268" y="532178"/>
                  <a:pt x="3514600" y="525447"/>
                </a:cubicBezTo>
                <a:cubicBezTo>
                  <a:pt x="3496930" y="518716"/>
                  <a:pt x="3481366" y="508283"/>
                  <a:pt x="3467904" y="494148"/>
                </a:cubicBezTo>
                <a:lnTo>
                  <a:pt x="3498698" y="450733"/>
                </a:lnTo>
                <a:cubicBezTo>
                  <a:pt x="3509130" y="461839"/>
                  <a:pt x="3519732" y="469748"/>
                  <a:pt x="3530502" y="474460"/>
                </a:cubicBezTo>
                <a:cubicBezTo>
                  <a:pt x="3541272" y="479171"/>
                  <a:pt x="3551536" y="481527"/>
                  <a:pt x="3561296" y="481527"/>
                </a:cubicBezTo>
                <a:cubicBezTo>
                  <a:pt x="3573076" y="481527"/>
                  <a:pt x="3582836" y="478078"/>
                  <a:pt x="3590576" y="471178"/>
                </a:cubicBezTo>
                <a:cubicBezTo>
                  <a:pt x="3598316" y="464279"/>
                  <a:pt x="3602186" y="454435"/>
                  <a:pt x="3602188" y="441646"/>
                </a:cubicBezTo>
                <a:cubicBezTo>
                  <a:pt x="3602186" y="432559"/>
                  <a:pt x="3599074" y="423641"/>
                  <a:pt x="3592848" y="414890"/>
                </a:cubicBezTo>
                <a:cubicBezTo>
                  <a:pt x="3586622" y="406140"/>
                  <a:pt x="3578712" y="397053"/>
                  <a:pt x="3569120" y="387630"/>
                </a:cubicBezTo>
                <a:cubicBezTo>
                  <a:pt x="3559528" y="378206"/>
                  <a:pt x="3549264" y="368362"/>
                  <a:pt x="3538326" y="358097"/>
                </a:cubicBezTo>
                <a:cubicBezTo>
                  <a:pt x="3527388" y="347833"/>
                  <a:pt x="3517124" y="336727"/>
                  <a:pt x="3507532" y="324779"/>
                </a:cubicBezTo>
                <a:cubicBezTo>
                  <a:pt x="3497940" y="312831"/>
                  <a:pt x="3490032" y="299790"/>
                  <a:pt x="3483806" y="285655"/>
                </a:cubicBezTo>
                <a:cubicBezTo>
                  <a:pt x="3477580" y="271520"/>
                  <a:pt x="3474466" y="256039"/>
                  <a:pt x="3474466" y="239211"/>
                </a:cubicBezTo>
                <a:cubicBezTo>
                  <a:pt x="3474466" y="237192"/>
                  <a:pt x="3474382" y="233658"/>
                  <a:pt x="3474214" y="228610"/>
                </a:cubicBezTo>
                <a:cubicBezTo>
                  <a:pt x="3474046" y="223562"/>
                  <a:pt x="3474466" y="219355"/>
                  <a:pt x="3475476" y="215989"/>
                </a:cubicBezTo>
                <a:lnTo>
                  <a:pt x="3679426" y="215989"/>
                </a:lnTo>
                <a:lnTo>
                  <a:pt x="3679426" y="267481"/>
                </a:lnTo>
                <a:lnTo>
                  <a:pt x="3545142" y="267481"/>
                </a:lnTo>
                <a:cubicBezTo>
                  <a:pt x="3545142" y="272530"/>
                  <a:pt x="3546908" y="278083"/>
                  <a:pt x="3550442" y="284141"/>
                </a:cubicBezTo>
                <a:cubicBezTo>
                  <a:pt x="3553976" y="290198"/>
                  <a:pt x="3558268" y="296172"/>
                  <a:pt x="3563316" y="302062"/>
                </a:cubicBezTo>
                <a:cubicBezTo>
                  <a:pt x="3568364" y="307952"/>
                  <a:pt x="3573748" y="313673"/>
                  <a:pt x="3579470" y="319226"/>
                </a:cubicBezTo>
                <a:cubicBezTo>
                  <a:pt x="3585190" y="324779"/>
                  <a:pt x="3590240" y="329575"/>
                  <a:pt x="3594614" y="333613"/>
                </a:cubicBezTo>
                <a:cubicBezTo>
                  <a:pt x="3603364" y="341691"/>
                  <a:pt x="3611946" y="350104"/>
                  <a:pt x="3620360" y="358855"/>
                </a:cubicBezTo>
                <a:cubicBezTo>
                  <a:pt x="3628774" y="367605"/>
                  <a:pt x="3636346" y="376692"/>
                  <a:pt x="3643078" y="386115"/>
                </a:cubicBezTo>
                <a:cubicBezTo>
                  <a:pt x="3649808" y="395539"/>
                  <a:pt x="3655194" y="405214"/>
                  <a:pt x="3659232" y="415143"/>
                </a:cubicBezTo>
                <a:cubicBezTo>
                  <a:pt x="3663270" y="425071"/>
                  <a:pt x="3665290" y="435420"/>
                  <a:pt x="3665290" y="446189"/>
                </a:cubicBezTo>
                <a:cubicBezTo>
                  <a:pt x="3665290" y="460998"/>
                  <a:pt x="3662598" y="474039"/>
                  <a:pt x="3657212" y="485313"/>
                </a:cubicBezTo>
                <a:cubicBezTo>
                  <a:pt x="3651828" y="496588"/>
                  <a:pt x="3644592" y="505927"/>
                  <a:pt x="3635506" y="513331"/>
                </a:cubicBezTo>
                <a:cubicBezTo>
                  <a:pt x="3626418" y="520735"/>
                  <a:pt x="3615986" y="526288"/>
                  <a:pt x="3604206" y="529990"/>
                </a:cubicBezTo>
                <a:cubicBezTo>
                  <a:pt x="3592426" y="533692"/>
                  <a:pt x="3580142" y="535544"/>
                  <a:pt x="3567354" y="535544"/>
                </a:cubicBezTo>
                <a:close/>
                <a:moveTo>
                  <a:pt x="3324752" y="535544"/>
                </a:moveTo>
                <a:cubicBezTo>
                  <a:pt x="3290088" y="535544"/>
                  <a:pt x="3263332" y="522081"/>
                  <a:pt x="3244486" y="495157"/>
                </a:cubicBezTo>
                <a:cubicBezTo>
                  <a:pt x="3225638" y="468233"/>
                  <a:pt x="3216214" y="427511"/>
                  <a:pt x="3216214" y="372990"/>
                </a:cubicBezTo>
                <a:cubicBezTo>
                  <a:pt x="3216214" y="317796"/>
                  <a:pt x="3225470" y="276737"/>
                  <a:pt x="3243980" y="249813"/>
                </a:cubicBezTo>
                <a:cubicBezTo>
                  <a:pt x="3262490" y="222889"/>
                  <a:pt x="3289414" y="209427"/>
                  <a:pt x="3324752" y="209427"/>
                </a:cubicBezTo>
                <a:cubicBezTo>
                  <a:pt x="3360090" y="209427"/>
                  <a:pt x="3387014" y="222889"/>
                  <a:pt x="3405524" y="249813"/>
                </a:cubicBezTo>
                <a:cubicBezTo>
                  <a:pt x="3424034" y="276737"/>
                  <a:pt x="3433290" y="317796"/>
                  <a:pt x="3433290" y="372990"/>
                </a:cubicBezTo>
                <a:cubicBezTo>
                  <a:pt x="3433290" y="427847"/>
                  <a:pt x="3424034" y="468654"/>
                  <a:pt x="3405524" y="495410"/>
                </a:cubicBezTo>
                <a:cubicBezTo>
                  <a:pt x="3387014" y="522166"/>
                  <a:pt x="3360090" y="535544"/>
                  <a:pt x="3324752" y="535544"/>
                </a:cubicBezTo>
                <a:close/>
                <a:moveTo>
                  <a:pt x="3062528" y="535544"/>
                </a:moveTo>
                <a:cubicBezTo>
                  <a:pt x="3045028" y="535544"/>
                  <a:pt x="3027444" y="532178"/>
                  <a:pt x="3009774" y="525447"/>
                </a:cubicBezTo>
                <a:cubicBezTo>
                  <a:pt x="2992106" y="518716"/>
                  <a:pt x="2976540" y="508283"/>
                  <a:pt x="2963078" y="494148"/>
                </a:cubicBezTo>
                <a:lnTo>
                  <a:pt x="2993872" y="450733"/>
                </a:lnTo>
                <a:cubicBezTo>
                  <a:pt x="3004306" y="461839"/>
                  <a:pt x="3014908" y="469748"/>
                  <a:pt x="3025676" y="474460"/>
                </a:cubicBezTo>
                <a:cubicBezTo>
                  <a:pt x="3036446" y="479171"/>
                  <a:pt x="3046712" y="481527"/>
                  <a:pt x="3056472" y="481527"/>
                </a:cubicBezTo>
                <a:cubicBezTo>
                  <a:pt x="3068250" y="481527"/>
                  <a:pt x="3078010" y="478078"/>
                  <a:pt x="3085752" y="471178"/>
                </a:cubicBezTo>
                <a:cubicBezTo>
                  <a:pt x="3093492" y="464279"/>
                  <a:pt x="3097362" y="454435"/>
                  <a:pt x="3097362" y="441646"/>
                </a:cubicBezTo>
                <a:cubicBezTo>
                  <a:pt x="3097362" y="432559"/>
                  <a:pt x="3094248" y="423641"/>
                  <a:pt x="3088022" y="414890"/>
                </a:cubicBezTo>
                <a:cubicBezTo>
                  <a:pt x="3081796" y="406140"/>
                  <a:pt x="3073888" y="397053"/>
                  <a:pt x="3064296" y="387630"/>
                </a:cubicBezTo>
                <a:cubicBezTo>
                  <a:pt x="3054704" y="378206"/>
                  <a:pt x="3044440" y="368362"/>
                  <a:pt x="3033502" y="358097"/>
                </a:cubicBezTo>
                <a:cubicBezTo>
                  <a:pt x="3022564" y="347833"/>
                  <a:pt x="3012298" y="336727"/>
                  <a:pt x="3002708" y="324779"/>
                </a:cubicBezTo>
                <a:cubicBezTo>
                  <a:pt x="2993116" y="312831"/>
                  <a:pt x="2985206" y="299790"/>
                  <a:pt x="2978980" y="285655"/>
                </a:cubicBezTo>
                <a:cubicBezTo>
                  <a:pt x="2972754" y="271520"/>
                  <a:pt x="2969642" y="256039"/>
                  <a:pt x="2969642" y="239211"/>
                </a:cubicBezTo>
                <a:cubicBezTo>
                  <a:pt x="2969642" y="237192"/>
                  <a:pt x="2969558" y="233658"/>
                  <a:pt x="2969388" y="228610"/>
                </a:cubicBezTo>
                <a:cubicBezTo>
                  <a:pt x="2969220" y="223562"/>
                  <a:pt x="2969640" y="219355"/>
                  <a:pt x="2970650" y="215989"/>
                </a:cubicBezTo>
                <a:lnTo>
                  <a:pt x="3174600" y="215989"/>
                </a:lnTo>
                <a:lnTo>
                  <a:pt x="3174600" y="267481"/>
                </a:lnTo>
                <a:lnTo>
                  <a:pt x="3040316" y="267481"/>
                </a:lnTo>
                <a:cubicBezTo>
                  <a:pt x="3040316" y="272530"/>
                  <a:pt x="3042084" y="278083"/>
                  <a:pt x="3045618" y="284141"/>
                </a:cubicBezTo>
                <a:cubicBezTo>
                  <a:pt x="3049152" y="290198"/>
                  <a:pt x="3053442" y="296172"/>
                  <a:pt x="3058490" y="302062"/>
                </a:cubicBezTo>
                <a:cubicBezTo>
                  <a:pt x="3063538" y="307952"/>
                  <a:pt x="3068924" y="313673"/>
                  <a:pt x="3074644" y="319226"/>
                </a:cubicBezTo>
                <a:cubicBezTo>
                  <a:pt x="3080366" y="324779"/>
                  <a:pt x="3085414" y="329575"/>
                  <a:pt x="3089790" y="333613"/>
                </a:cubicBezTo>
                <a:cubicBezTo>
                  <a:pt x="3098540" y="341691"/>
                  <a:pt x="3107122" y="350104"/>
                  <a:pt x="3115536" y="358855"/>
                </a:cubicBezTo>
                <a:cubicBezTo>
                  <a:pt x="3123950" y="367605"/>
                  <a:pt x="3131522" y="376692"/>
                  <a:pt x="3138252" y="386115"/>
                </a:cubicBezTo>
                <a:cubicBezTo>
                  <a:pt x="3144984" y="395539"/>
                  <a:pt x="3150368" y="405214"/>
                  <a:pt x="3154408" y="415143"/>
                </a:cubicBezTo>
                <a:cubicBezTo>
                  <a:pt x="3158446" y="425071"/>
                  <a:pt x="3160464" y="435420"/>
                  <a:pt x="3160464" y="446189"/>
                </a:cubicBezTo>
                <a:cubicBezTo>
                  <a:pt x="3160464" y="460998"/>
                  <a:pt x="3157772" y="474039"/>
                  <a:pt x="3152388" y="485313"/>
                </a:cubicBezTo>
                <a:cubicBezTo>
                  <a:pt x="3147002" y="496588"/>
                  <a:pt x="3139766" y="505927"/>
                  <a:pt x="3130680" y="513331"/>
                </a:cubicBezTo>
                <a:cubicBezTo>
                  <a:pt x="3121594" y="520735"/>
                  <a:pt x="3111160" y="526288"/>
                  <a:pt x="3099382" y="529990"/>
                </a:cubicBezTo>
                <a:cubicBezTo>
                  <a:pt x="3087602" y="533692"/>
                  <a:pt x="3075318" y="535544"/>
                  <a:pt x="3062528" y="535544"/>
                </a:cubicBezTo>
                <a:close/>
                <a:moveTo>
                  <a:pt x="2292890" y="561290"/>
                </a:moveTo>
                <a:cubicBezTo>
                  <a:pt x="2282120" y="561290"/>
                  <a:pt x="2272949" y="557756"/>
                  <a:pt x="2265377" y="550688"/>
                </a:cubicBezTo>
                <a:cubicBezTo>
                  <a:pt x="2257805" y="543621"/>
                  <a:pt x="2254018" y="533861"/>
                  <a:pt x="2254018" y="521408"/>
                </a:cubicBezTo>
                <a:cubicBezTo>
                  <a:pt x="2254018" y="509293"/>
                  <a:pt x="2257805" y="499701"/>
                  <a:pt x="2265377" y="492633"/>
                </a:cubicBezTo>
                <a:cubicBezTo>
                  <a:pt x="2272949" y="485566"/>
                  <a:pt x="2282120" y="482032"/>
                  <a:pt x="2292890" y="482032"/>
                </a:cubicBezTo>
                <a:cubicBezTo>
                  <a:pt x="2303660" y="482032"/>
                  <a:pt x="2312914" y="485566"/>
                  <a:pt x="2320655" y="492633"/>
                </a:cubicBezTo>
                <a:cubicBezTo>
                  <a:pt x="2328396" y="499701"/>
                  <a:pt x="2332266" y="509293"/>
                  <a:pt x="2332266" y="521408"/>
                </a:cubicBezTo>
                <a:cubicBezTo>
                  <a:pt x="2332266" y="533861"/>
                  <a:pt x="2328396" y="543621"/>
                  <a:pt x="2320655" y="550688"/>
                </a:cubicBezTo>
                <a:cubicBezTo>
                  <a:pt x="2312914" y="557756"/>
                  <a:pt x="2303660" y="561290"/>
                  <a:pt x="2292890" y="561290"/>
                </a:cubicBezTo>
                <a:close/>
                <a:moveTo>
                  <a:pt x="1959420" y="563309"/>
                </a:moveTo>
                <a:lnTo>
                  <a:pt x="1959420" y="511817"/>
                </a:lnTo>
                <a:lnTo>
                  <a:pt x="2025047" y="511817"/>
                </a:lnTo>
                <a:lnTo>
                  <a:pt x="2025047" y="310392"/>
                </a:lnTo>
                <a:cubicBezTo>
                  <a:pt x="2025047" y="277746"/>
                  <a:pt x="2031610" y="252926"/>
                  <a:pt x="2044735" y="235930"/>
                </a:cubicBezTo>
                <a:cubicBezTo>
                  <a:pt x="2057860" y="218934"/>
                  <a:pt x="2078727" y="210436"/>
                  <a:pt x="2107333" y="210436"/>
                </a:cubicBezTo>
                <a:cubicBezTo>
                  <a:pt x="2117767" y="210436"/>
                  <a:pt x="2127106" y="211109"/>
                  <a:pt x="2135351" y="212455"/>
                </a:cubicBezTo>
                <a:cubicBezTo>
                  <a:pt x="2143597" y="213802"/>
                  <a:pt x="2150580" y="215400"/>
                  <a:pt x="2156302" y="217251"/>
                </a:cubicBezTo>
                <a:cubicBezTo>
                  <a:pt x="2162023" y="219102"/>
                  <a:pt x="2166650" y="220869"/>
                  <a:pt x="2170184" y="222552"/>
                </a:cubicBezTo>
                <a:cubicBezTo>
                  <a:pt x="2173718" y="224235"/>
                  <a:pt x="2175990" y="225413"/>
                  <a:pt x="2176999" y="226086"/>
                </a:cubicBezTo>
                <a:lnTo>
                  <a:pt x="2168922" y="276063"/>
                </a:lnTo>
                <a:cubicBezTo>
                  <a:pt x="2166230" y="275054"/>
                  <a:pt x="2160677" y="272866"/>
                  <a:pt x="2152263" y="269501"/>
                </a:cubicBezTo>
                <a:cubicBezTo>
                  <a:pt x="2143849" y="266135"/>
                  <a:pt x="2133416" y="264452"/>
                  <a:pt x="2120964" y="264452"/>
                </a:cubicBezTo>
                <a:cubicBezTo>
                  <a:pt x="2111204" y="264452"/>
                  <a:pt x="2103126" y="267313"/>
                  <a:pt x="2096732" y="273034"/>
                </a:cubicBezTo>
                <a:cubicBezTo>
                  <a:pt x="2090338" y="278756"/>
                  <a:pt x="2087140" y="289694"/>
                  <a:pt x="2087140" y="305848"/>
                </a:cubicBezTo>
                <a:lnTo>
                  <a:pt x="2087140" y="563309"/>
                </a:lnTo>
                <a:close/>
                <a:moveTo>
                  <a:pt x="1607052" y="565833"/>
                </a:moveTo>
                <a:cubicBezTo>
                  <a:pt x="1594263" y="565833"/>
                  <a:pt x="1581811" y="564234"/>
                  <a:pt x="1569695" y="561037"/>
                </a:cubicBezTo>
                <a:cubicBezTo>
                  <a:pt x="1557579" y="557840"/>
                  <a:pt x="1546810" y="552455"/>
                  <a:pt x="1537386" y="544883"/>
                </a:cubicBezTo>
                <a:cubicBezTo>
                  <a:pt x="1527963" y="537310"/>
                  <a:pt x="1520474" y="527214"/>
                  <a:pt x="1514921" y="514593"/>
                </a:cubicBezTo>
                <a:cubicBezTo>
                  <a:pt x="1509368" y="501973"/>
                  <a:pt x="1506592" y="486071"/>
                  <a:pt x="1506592" y="466887"/>
                </a:cubicBezTo>
                <a:lnTo>
                  <a:pt x="1506592" y="453257"/>
                </a:lnTo>
                <a:lnTo>
                  <a:pt x="1454595" y="453257"/>
                </a:lnTo>
                <a:lnTo>
                  <a:pt x="1454595" y="401765"/>
                </a:lnTo>
                <a:lnTo>
                  <a:pt x="1506592" y="401765"/>
                </a:lnTo>
                <a:lnTo>
                  <a:pt x="1506592" y="215989"/>
                </a:lnTo>
                <a:lnTo>
                  <a:pt x="1569190" y="215989"/>
                </a:lnTo>
                <a:lnTo>
                  <a:pt x="1569190" y="401765"/>
                </a:lnTo>
                <a:lnTo>
                  <a:pt x="1666621" y="401765"/>
                </a:lnTo>
                <a:lnTo>
                  <a:pt x="1666621" y="453257"/>
                </a:lnTo>
                <a:lnTo>
                  <a:pt x="1569190" y="453257"/>
                </a:lnTo>
                <a:lnTo>
                  <a:pt x="1569190" y="465878"/>
                </a:lnTo>
                <a:cubicBezTo>
                  <a:pt x="1569190" y="475974"/>
                  <a:pt x="1570368" y="484135"/>
                  <a:pt x="1572724" y="490362"/>
                </a:cubicBezTo>
                <a:cubicBezTo>
                  <a:pt x="1575080" y="496588"/>
                  <a:pt x="1578193" y="501384"/>
                  <a:pt x="1582063" y="504749"/>
                </a:cubicBezTo>
                <a:cubicBezTo>
                  <a:pt x="1585933" y="508115"/>
                  <a:pt x="1590477" y="510302"/>
                  <a:pt x="1595693" y="511312"/>
                </a:cubicBezTo>
                <a:cubicBezTo>
                  <a:pt x="1600910" y="512322"/>
                  <a:pt x="1606379" y="512826"/>
                  <a:pt x="1612100" y="512826"/>
                </a:cubicBezTo>
                <a:cubicBezTo>
                  <a:pt x="1622533" y="512826"/>
                  <a:pt x="1633555" y="511396"/>
                  <a:pt x="1645166" y="508535"/>
                </a:cubicBezTo>
                <a:cubicBezTo>
                  <a:pt x="1656777" y="505675"/>
                  <a:pt x="1666453" y="502898"/>
                  <a:pt x="1674194" y="500206"/>
                </a:cubicBezTo>
                <a:lnTo>
                  <a:pt x="1684795" y="550688"/>
                </a:lnTo>
                <a:cubicBezTo>
                  <a:pt x="1673689" y="556073"/>
                  <a:pt x="1661236" y="559943"/>
                  <a:pt x="1647438" y="562299"/>
                </a:cubicBezTo>
                <a:cubicBezTo>
                  <a:pt x="1633639" y="564655"/>
                  <a:pt x="1620178" y="565833"/>
                  <a:pt x="1607052" y="565833"/>
                </a:cubicBezTo>
                <a:close/>
                <a:moveTo>
                  <a:pt x="0" y="796029"/>
                </a:moveTo>
                <a:lnTo>
                  <a:pt x="4876802" y="796029"/>
                </a:lnTo>
                <a:lnTo>
                  <a:pt x="4824822" y="344498"/>
                </a:lnTo>
                <a:cubicBezTo>
                  <a:pt x="4801968" y="145891"/>
                  <a:pt x="4682292" y="207"/>
                  <a:pt x="4541980" y="155"/>
                </a:cubicBezTo>
                <a:lnTo>
                  <a:pt x="0" y="0"/>
                </a:lnTo>
                <a:close/>
              </a:path>
            </a:pathLst>
          </a:custGeom>
          <a:solidFill>
            <a:schemeClr val="tx2"/>
          </a:solidFill>
          <a:ln w="2834" cap="flat">
            <a:noFill/>
            <a:prstDash val="solid"/>
            <a:miter/>
          </a:ln>
        </p:spPr>
        <p:txBody>
          <a:bodyPr wrap="square" rtlCol="0" anchor="ctr">
            <a:noAutofit/>
          </a:bodyPr>
          <a:lstStyle/>
          <a:p>
            <a:endParaRPr lang="en-US" dirty="0"/>
          </a:p>
        </p:txBody>
      </p:sp>
    </p:spTree>
    <p:extLst>
      <p:ext uri="{BB962C8B-B14F-4D97-AF65-F5344CB8AC3E}">
        <p14:creationId xmlns:p14="http://schemas.microsoft.com/office/powerpoint/2010/main" val="1039547981"/>
      </p:ext>
    </p:extLst>
  </p:cSld>
  <p:clrMap bg1="lt1" tx1="dk1" bg2="lt2" tx2="dk2" accent1="accent1" accent2="accent2" accent3="accent3" accent4="accent4" accent5="accent5" accent6="accent6" hlink="hlink" folHlink="folHlink"/>
  <p:sldLayoutIdLst>
    <p:sldLayoutId id="2147484028" r:id="rId1"/>
    <p:sldLayoutId id="2147484029" r:id="rId2"/>
    <p:sldLayoutId id="2147484030" r:id="rId3"/>
    <p:sldLayoutId id="2147484031" r:id="rId4"/>
    <p:sldLayoutId id="2147484032" r:id="rId5"/>
    <p:sldLayoutId id="2147484033" r:id="rId6"/>
    <p:sldLayoutId id="2147484034" r:id="rId7"/>
    <p:sldLayoutId id="2147484035" r:id="rId8"/>
    <p:sldLayoutId id="2147484036" r:id="rId9"/>
    <p:sldLayoutId id="2147484037" r:id="rId10"/>
    <p:sldLayoutId id="2147484038" r:id="rId11"/>
    <p:sldLayoutId id="2147484039" r:id="rId12"/>
    <p:sldLayoutId id="2147484040" r:id="rId13"/>
    <p:sldLayoutId id="2147484041" r:id="rId14"/>
    <p:sldLayoutId id="2147484042" r:id="rId15"/>
    <p:sldLayoutId id="2147484043" r:id="rId16"/>
    <p:sldLayoutId id="2147484044" r:id="rId17"/>
    <p:sldLayoutId id="2147484045" r:id="rId18"/>
    <p:sldLayoutId id="2147484046" r:id="rId19"/>
    <p:sldLayoutId id="2147484047" r:id="rId20"/>
    <p:sldLayoutId id="2147484048" r:id="rId21"/>
    <p:sldLayoutId id="2147484049" r:id="rId22"/>
    <p:sldLayoutId id="2147484050" r:id="rId23"/>
    <p:sldLayoutId id="2147484051" r:id="rId24"/>
    <p:sldLayoutId id="2147484052" r:id="rId25"/>
    <p:sldLayoutId id="2147484053" r:id="rId26"/>
    <p:sldLayoutId id="2147484054" r:id="rId27"/>
    <p:sldLayoutId id="2147484055" r:id="rId28"/>
    <p:sldLayoutId id="2147484056" r:id="rId29"/>
    <p:sldLayoutId id="2147484057" r:id="rId30"/>
    <p:sldLayoutId id="2147484058" r:id="rId31"/>
    <p:sldLayoutId id="2147484059" r:id="rId32"/>
    <p:sldLayoutId id="2147484060" r:id="rId33"/>
    <p:sldLayoutId id="2147484061" r:id="rId34"/>
    <p:sldLayoutId id="2147484062" r:id="rId35"/>
    <p:sldLayoutId id="2147484063" r:id="rId36"/>
    <p:sldLayoutId id="2147484064" r:id="rId37"/>
    <p:sldLayoutId id="2147484065" r:id="rId38"/>
    <p:sldLayoutId id="2147484066" r:id="rId39"/>
    <p:sldLayoutId id="2147484067" r:id="rId40"/>
  </p:sldLayoutIdLst>
  <p:hf hdr="0" dt="0"/>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672755" y="668692"/>
            <a:ext cx="18165921" cy="1426541"/>
          </a:xfrm>
          <a:prstGeom prst="rect">
            <a:avLst/>
          </a:prstGeom>
        </p:spPr>
        <p:txBody>
          <a:bodyPr vert="horz" lIns="0" tIns="0" rIns="0" bIns="0" rtlCol="0" anchor="t">
            <a:normAutofit/>
          </a:bodyPr>
          <a:lstStyle/>
          <a:p>
            <a:pPr lvl="0">
              <a:lnSpc>
                <a:spcPts val="4947"/>
              </a:lnSpc>
            </a:pPr>
            <a:r>
              <a:rPr lang="en-US"/>
              <a:t>Click to edit Master title style</a:t>
            </a:r>
            <a:endParaRPr lang="pt-PT"/>
          </a:p>
        </p:txBody>
      </p:sp>
      <p:grpSp>
        <p:nvGrpSpPr>
          <p:cNvPr id="3" name="Group 2"/>
          <p:cNvGrpSpPr/>
          <p:nvPr userDrawn="1"/>
        </p:nvGrpSpPr>
        <p:grpSpPr>
          <a:xfrm rot="5400000">
            <a:off x="19596582" y="1462569"/>
            <a:ext cx="2847325" cy="567789"/>
            <a:chOff x="12496801" y="706628"/>
            <a:chExt cx="2975350" cy="594360"/>
          </a:xfrm>
        </p:grpSpPr>
        <p:sp>
          <p:nvSpPr>
            <p:cNvPr id="5" name="Rectangle 4"/>
            <p:cNvSpPr/>
            <p:nvPr userDrawn="1"/>
          </p:nvSpPr>
          <p:spPr>
            <a:xfrm>
              <a:off x="12496801" y="706628"/>
              <a:ext cx="595070" cy="5943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660"/>
                </a:spcAft>
              </a:pPr>
              <a:endParaRPr lang="en-US" sz="989"/>
            </a:p>
          </p:txBody>
        </p:sp>
        <p:sp>
          <p:nvSpPr>
            <p:cNvPr id="6" name="Rectangle 5"/>
            <p:cNvSpPr/>
            <p:nvPr userDrawn="1"/>
          </p:nvSpPr>
          <p:spPr>
            <a:xfrm>
              <a:off x="13091871" y="706628"/>
              <a:ext cx="595070" cy="5943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660"/>
                </a:spcAft>
              </a:pPr>
              <a:endParaRPr lang="en-US" sz="989"/>
            </a:p>
          </p:txBody>
        </p:sp>
        <p:sp>
          <p:nvSpPr>
            <p:cNvPr id="7" name="Rectangle 6"/>
            <p:cNvSpPr/>
            <p:nvPr userDrawn="1"/>
          </p:nvSpPr>
          <p:spPr>
            <a:xfrm>
              <a:off x="13686941" y="706628"/>
              <a:ext cx="595070" cy="5943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660"/>
                </a:spcAft>
              </a:pPr>
              <a:endParaRPr lang="en-US" sz="989"/>
            </a:p>
          </p:txBody>
        </p:sp>
        <p:sp>
          <p:nvSpPr>
            <p:cNvPr id="8" name="Rectangle 7"/>
            <p:cNvSpPr/>
            <p:nvPr userDrawn="1"/>
          </p:nvSpPr>
          <p:spPr>
            <a:xfrm>
              <a:off x="14282011" y="706628"/>
              <a:ext cx="595070" cy="5943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660"/>
                </a:spcAft>
              </a:pPr>
              <a:endParaRPr lang="en-US" sz="989"/>
            </a:p>
          </p:txBody>
        </p:sp>
        <p:sp>
          <p:nvSpPr>
            <p:cNvPr id="10" name="Rectangle 9"/>
            <p:cNvSpPr/>
            <p:nvPr userDrawn="1"/>
          </p:nvSpPr>
          <p:spPr>
            <a:xfrm>
              <a:off x="14877081" y="706628"/>
              <a:ext cx="595070" cy="5943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660"/>
                </a:spcAft>
              </a:pPr>
              <a:endParaRPr lang="en-US" sz="989"/>
            </a:p>
          </p:txBody>
        </p:sp>
      </p:grpSp>
      <p:sp>
        <p:nvSpPr>
          <p:cNvPr id="26" name="Rectangle 25"/>
          <p:cNvSpPr/>
          <p:nvPr userDrawn="1"/>
        </p:nvSpPr>
        <p:spPr>
          <a:xfrm rot="16200000">
            <a:off x="19326465" y="7184615"/>
            <a:ext cx="2306722" cy="2537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marL="0" marR="0" lvl="0" indent="0" algn="l" defTabSz="1507846" rtl="0" eaLnBrk="1" fontAlgn="auto" latinLnBrk="0" hangingPunct="1">
              <a:lnSpc>
                <a:spcPct val="100000"/>
              </a:lnSpc>
              <a:spcBef>
                <a:spcPts val="0"/>
              </a:spcBef>
              <a:spcAft>
                <a:spcPts val="0"/>
              </a:spcAft>
              <a:buClrTx/>
              <a:buSzTx/>
              <a:buFontTx/>
              <a:buNone/>
              <a:tabLst/>
              <a:defRPr/>
            </a:pPr>
            <a:r>
              <a:rPr lang="en-US" sz="1649" b="1">
                <a:solidFill>
                  <a:schemeClr val="tx2"/>
                </a:solidFill>
              </a:rPr>
              <a:t>Infographic Palette</a:t>
            </a:r>
          </a:p>
        </p:txBody>
      </p:sp>
      <p:grpSp>
        <p:nvGrpSpPr>
          <p:cNvPr id="64" name="Group 63"/>
          <p:cNvGrpSpPr/>
          <p:nvPr userDrawn="1"/>
        </p:nvGrpSpPr>
        <p:grpSpPr>
          <a:xfrm>
            <a:off x="20736348" y="3329516"/>
            <a:ext cx="572967" cy="7963984"/>
            <a:chOff x="12575423" y="2604463"/>
            <a:chExt cx="347472" cy="4821246"/>
          </a:xfrm>
        </p:grpSpPr>
        <p:sp>
          <p:nvSpPr>
            <p:cNvPr id="11" name="Rectangle 10"/>
            <p:cNvSpPr/>
            <p:nvPr userDrawn="1"/>
          </p:nvSpPr>
          <p:spPr>
            <a:xfrm>
              <a:off x="12575423" y="2604463"/>
              <a:ext cx="347472" cy="347472"/>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96859">
                <a:spcAft>
                  <a:spcPts val="660"/>
                </a:spcAft>
              </a:pPr>
              <a:endParaRPr lang="en-US" sz="989"/>
            </a:p>
          </p:txBody>
        </p:sp>
        <p:sp>
          <p:nvSpPr>
            <p:cNvPr id="12" name="Rectangle 11"/>
            <p:cNvSpPr/>
            <p:nvPr userDrawn="1"/>
          </p:nvSpPr>
          <p:spPr>
            <a:xfrm>
              <a:off x="12575423" y="2951375"/>
              <a:ext cx="347472" cy="347472"/>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96859">
                <a:spcAft>
                  <a:spcPts val="660"/>
                </a:spcAft>
              </a:pPr>
              <a:endParaRPr lang="en-US" sz="989"/>
            </a:p>
          </p:txBody>
        </p:sp>
        <p:sp>
          <p:nvSpPr>
            <p:cNvPr id="15" name="Rectangle 14"/>
            <p:cNvSpPr/>
            <p:nvPr userDrawn="1"/>
          </p:nvSpPr>
          <p:spPr>
            <a:xfrm>
              <a:off x="12575423" y="4334164"/>
              <a:ext cx="347472" cy="347472"/>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660"/>
                </a:spcAft>
              </a:pPr>
              <a:endParaRPr lang="en-US" sz="989"/>
            </a:p>
          </p:txBody>
        </p:sp>
        <p:sp>
          <p:nvSpPr>
            <p:cNvPr id="16" name="Rectangle 15"/>
            <p:cNvSpPr/>
            <p:nvPr userDrawn="1"/>
          </p:nvSpPr>
          <p:spPr>
            <a:xfrm>
              <a:off x="12575423" y="5710816"/>
              <a:ext cx="347472" cy="347472"/>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660"/>
                </a:spcAft>
              </a:pPr>
              <a:endParaRPr lang="en-US" sz="989"/>
            </a:p>
          </p:txBody>
        </p:sp>
        <p:sp>
          <p:nvSpPr>
            <p:cNvPr id="18" name="Rectangle 17"/>
            <p:cNvSpPr/>
            <p:nvPr userDrawn="1"/>
          </p:nvSpPr>
          <p:spPr>
            <a:xfrm>
              <a:off x="12575423" y="6048324"/>
              <a:ext cx="347472" cy="347472"/>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660"/>
                </a:spcAft>
              </a:pPr>
              <a:endParaRPr lang="en-US" sz="989"/>
            </a:p>
          </p:txBody>
        </p:sp>
        <p:sp>
          <p:nvSpPr>
            <p:cNvPr id="19" name="Rectangle 18"/>
            <p:cNvSpPr/>
            <p:nvPr userDrawn="1"/>
          </p:nvSpPr>
          <p:spPr>
            <a:xfrm>
              <a:off x="12575423" y="7078237"/>
              <a:ext cx="347472" cy="347472"/>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660"/>
                </a:spcAft>
              </a:pPr>
              <a:endParaRPr lang="en-US" sz="989"/>
            </a:p>
          </p:txBody>
        </p:sp>
        <p:sp>
          <p:nvSpPr>
            <p:cNvPr id="20" name="Rectangle 19"/>
            <p:cNvSpPr/>
            <p:nvPr userDrawn="1"/>
          </p:nvSpPr>
          <p:spPr>
            <a:xfrm>
              <a:off x="12575423" y="6735214"/>
              <a:ext cx="347472" cy="347472"/>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660"/>
                </a:spcAft>
              </a:pPr>
              <a:endParaRPr lang="en-US" sz="989"/>
            </a:p>
          </p:txBody>
        </p:sp>
        <p:sp>
          <p:nvSpPr>
            <p:cNvPr id="21" name="Rectangle 20"/>
            <p:cNvSpPr/>
            <p:nvPr userDrawn="1"/>
          </p:nvSpPr>
          <p:spPr>
            <a:xfrm>
              <a:off x="12575423" y="6391347"/>
              <a:ext cx="347472" cy="347472"/>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660"/>
                </a:spcAft>
              </a:pPr>
              <a:endParaRPr lang="en-US" sz="989"/>
            </a:p>
          </p:txBody>
        </p:sp>
        <p:sp>
          <p:nvSpPr>
            <p:cNvPr id="22" name="Rectangle 21"/>
            <p:cNvSpPr/>
            <p:nvPr userDrawn="1"/>
          </p:nvSpPr>
          <p:spPr>
            <a:xfrm>
              <a:off x="12575423" y="4679467"/>
              <a:ext cx="347472" cy="347472"/>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660"/>
                </a:spcAft>
              </a:pPr>
              <a:endParaRPr lang="en-US" sz="989"/>
            </a:p>
          </p:txBody>
        </p:sp>
        <p:sp>
          <p:nvSpPr>
            <p:cNvPr id="23" name="Rectangle 22"/>
            <p:cNvSpPr/>
            <p:nvPr userDrawn="1"/>
          </p:nvSpPr>
          <p:spPr>
            <a:xfrm>
              <a:off x="12575423" y="5022490"/>
              <a:ext cx="347472" cy="347472"/>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660"/>
                </a:spcAft>
              </a:pPr>
              <a:endParaRPr lang="en-US" sz="989"/>
            </a:p>
          </p:txBody>
        </p:sp>
        <p:sp>
          <p:nvSpPr>
            <p:cNvPr id="24" name="Rectangle 23"/>
            <p:cNvSpPr/>
            <p:nvPr userDrawn="1"/>
          </p:nvSpPr>
          <p:spPr>
            <a:xfrm>
              <a:off x="12575423" y="5367793"/>
              <a:ext cx="347472" cy="34747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660"/>
                </a:spcAft>
              </a:pPr>
              <a:endParaRPr lang="en-US" sz="989"/>
            </a:p>
          </p:txBody>
        </p:sp>
        <p:sp>
          <p:nvSpPr>
            <p:cNvPr id="14" name="Rectangle 13"/>
            <p:cNvSpPr/>
            <p:nvPr userDrawn="1"/>
          </p:nvSpPr>
          <p:spPr>
            <a:xfrm>
              <a:off x="12575423" y="3298847"/>
              <a:ext cx="347472" cy="347472"/>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660"/>
                </a:spcAft>
              </a:pPr>
              <a:endParaRPr lang="en-US" sz="989"/>
            </a:p>
          </p:txBody>
        </p:sp>
        <p:sp>
          <p:nvSpPr>
            <p:cNvPr id="17" name="Rectangle 16"/>
            <p:cNvSpPr/>
            <p:nvPr userDrawn="1"/>
          </p:nvSpPr>
          <p:spPr>
            <a:xfrm>
              <a:off x="12575423" y="3644150"/>
              <a:ext cx="347472" cy="347472"/>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660"/>
                </a:spcAft>
              </a:pPr>
              <a:endParaRPr lang="en-US" sz="989"/>
            </a:p>
          </p:txBody>
        </p:sp>
        <p:sp>
          <p:nvSpPr>
            <p:cNvPr id="28" name="Rectangle 27"/>
            <p:cNvSpPr/>
            <p:nvPr userDrawn="1"/>
          </p:nvSpPr>
          <p:spPr>
            <a:xfrm>
              <a:off x="12575423" y="3987173"/>
              <a:ext cx="347472" cy="347472"/>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660"/>
                </a:spcAft>
              </a:pPr>
              <a:endParaRPr lang="en-US" sz="989"/>
            </a:p>
          </p:txBody>
        </p:sp>
      </p:grpSp>
      <p:sp>
        <p:nvSpPr>
          <p:cNvPr id="60" name="Rectangle 59"/>
          <p:cNvSpPr/>
          <p:nvPr userDrawn="1"/>
        </p:nvSpPr>
        <p:spPr>
          <a:xfrm rot="16200000">
            <a:off x="20008543" y="1538226"/>
            <a:ext cx="942566" cy="2537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649" b="1">
                <a:solidFill>
                  <a:schemeClr val="tx2"/>
                </a:solidFill>
              </a:rPr>
              <a:t>Primary</a:t>
            </a:r>
          </a:p>
        </p:txBody>
      </p:sp>
    </p:spTree>
    <p:extLst>
      <p:ext uri="{BB962C8B-B14F-4D97-AF65-F5344CB8AC3E}">
        <p14:creationId xmlns:p14="http://schemas.microsoft.com/office/powerpoint/2010/main" val="1037535031"/>
      </p:ext>
    </p:extLst>
  </p:cSld>
  <p:clrMap bg1="lt1" tx1="dk1" bg2="lt2" tx2="dk2" accent1="accent1" accent2="accent2" accent3="accent3" accent4="accent4" accent5="accent5" accent6="accent6" hlink="hlink" folHlink="folHlink"/>
  <p:sldLayoutIdLst>
    <p:sldLayoutId id="2147484069" r:id="rId1"/>
    <p:sldLayoutId id="2147484070" r:id="rId2"/>
    <p:sldLayoutId id="2147484071" r:id="rId3"/>
    <p:sldLayoutId id="2147484072" r:id="rId4"/>
    <p:sldLayoutId id="2147484073" r:id="rId5"/>
    <p:sldLayoutId id="2147484074" r:id="rId6"/>
    <p:sldLayoutId id="2147484075" r:id="rId7"/>
    <p:sldLayoutId id="2147484076" r:id="rId8"/>
    <p:sldLayoutId id="2147484077" r:id="rId9"/>
    <p:sldLayoutId id="2147484078" r:id="rId10"/>
    <p:sldLayoutId id="2147484079" r:id="rId11"/>
    <p:sldLayoutId id="2147484080" r:id="rId12"/>
    <p:sldLayoutId id="2147484081" r:id="rId13"/>
    <p:sldLayoutId id="2147484082" r:id="rId14"/>
    <p:sldLayoutId id="2147484083" r:id="rId15"/>
    <p:sldLayoutId id="2147484084" r:id="rId16"/>
    <p:sldLayoutId id="2147484085" r:id="rId17"/>
    <p:sldLayoutId id="2147484086" r:id="rId18"/>
    <p:sldLayoutId id="2147484087" r:id="rId19"/>
  </p:sldLayoutIdLst>
  <p:txStyles>
    <p:titleStyle>
      <a:lvl1pPr algn="l" defTabSz="1507846" rtl="0" eaLnBrk="1" latinLnBrk="0" hangingPunct="1">
        <a:lnSpc>
          <a:spcPct val="90000"/>
        </a:lnSpc>
        <a:spcBef>
          <a:spcPct val="0"/>
        </a:spcBef>
        <a:buNone/>
        <a:defRPr lang="pt-PT" sz="4287" b="1" i="0" kern="1200">
          <a:solidFill>
            <a:schemeClr val="tx2"/>
          </a:solidFill>
          <a:latin typeface="Ubuntu" panose="020B0504030602030204" pitchFamily="34" charset="0"/>
          <a:ea typeface="Verdana" panose="020B0604030504040204" pitchFamily="34" charset="0"/>
          <a:cs typeface="Verdana" panose="020B0604030504040204" pitchFamily="34" charset="0"/>
        </a:defRPr>
      </a:lvl1pPr>
    </p:titleStyle>
    <p:bodyStyle>
      <a:lvl1pPr marL="0" indent="0" algn="l" defTabSz="1507846" rtl="0" eaLnBrk="1" latinLnBrk="0" hangingPunct="1">
        <a:lnSpc>
          <a:spcPts val="3628"/>
        </a:lnSpc>
        <a:spcBef>
          <a:spcPts val="0"/>
        </a:spcBef>
        <a:spcAft>
          <a:spcPts val="989"/>
        </a:spcAft>
        <a:buFont typeface="Arial" panose="020B0604020202020204" pitchFamily="34" charset="0"/>
        <a:buNone/>
        <a:defRPr sz="2968" kern="1200">
          <a:solidFill>
            <a:schemeClr val="tx1"/>
          </a:solidFill>
          <a:latin typeface="+mn-lt"/>
          <a:ea typeface="+mn-ea"/>
          <a:cs typeface="+mn-cs"/>
        </a:defRPr>
      </a:lvl1pPr>
      <a:lvl2pPr marL="384816" indent="-376961" algn="l" defTabSz="1507846" rtl="0" eaLnBrk="1" latinLnBrk="0" hangingPunct="1">
        <a:lnSpc>
          <a:spcPts val="3298"/>
        </a:lnSpc>
        <a:spcBef>
          <a:spcPts val="0"/>
        </a:spcBef>
        <a:spcAft>
          <a:spcPts val="989"/>
        </a:spcAft>
        <a:buClr>
          <a:schemeClr val="accent1"/>
        </a:buClr>
        <a:buFont typeface="Wingdings" panose="05000000000000000000" pitchFamily="2" charset="2"/>
        <a:buChar char="§"/>
        <a:defRPr sz="2638" kern="1200">
          <a:solidFill>
            <a:schemeClr val="tx1"/>
          </a:solidFill>
          <a:latin typeface="+mn-lt"/>
          <a:ea typeface="+mn-ea"/>
          <a:cs typeface="+mn-cs"/>
        </a:defRPr>
      </a:lvl2pPr>
      <a:lvl3pPr marL="753923" indent="-369109" algn="l" defTabSz="1507846" rtl="0" eaLnBrk="1" latinLnBrk="0" hangingPunct="1">
        <a:lnSpc>
          <a:spcPts val="2638"/>
        </a:lnSpc>
        <a:spcBef>
          <a:spcPts val="0"/>
        </a:spcBef>
        <a:spcAft>
          <a:spcPts val="989"/>
        </a:spcAft>
        <a:buClr>
          <a:schemeClr val="accent1"/>
        </a:buClr>
        <a:buFont typeface="Arial" panose="020B0604020202020204" pitchFamily="34" charset="0"/>
        <a:buChar char="•"/>
        <a:defRPr sz="2309" kern="1200">
          <a:solidFill>
            <a:schemeClr val="tx1"/>
          </a:solidFill>
          <a:latin typeface="+mn-lt"/>
          <a:ea typeface="+mn-ea"/>
          <a:cs typeface="+mn-cs"/>
        </a:defRPr>
      </a:lvl3pPr>
      <a:lvl4pPr marL="1138738" indent="-384816" algn="l" defTabSz="1507846" rtl="0" eaLnBrk="1" latinLnBrk="0" hangingPunct="1">
        <a:lnSpc>
          <a:spcPct val="90000"/>
        </a:lnSpc>
        <a:spcBef>
          <a:spcPts val="0"/>
        </a:spcBef>
        <a:spcAft>
          <a:spcPts val="989"/>
        </a:spcAft>
        <a:buClr>
          <a:schemeClr val="accent1"/>
        </a:buClr>
        <a:buFont typeface="Arial" panose="020B0604020202020204" pitchFamily="34" charset="0"/>
        <a:buChar char="‒"/>
        <a:defRPr sz="1979" kern="1200">
          <a:solidFill>
            <a:schemeClr val="tx1"/>
          </a:solidFill>
          <a:latin typeface="+mn-lt"/>
          <a:ea typeface="+mn-ea"/>
          <a:cs typeface="+mn-cs"/>
        </a:defRPr>
      </a:lvl4pPr>
      <a:lvl5pPr marL="3392653" indent="-376961" algn="l" defTabSz="1507846" rtl="0" eaLnBrk="1" latinLnBrk="0" hangingPunct="1">
        <a:lnSpc>
          <a:spcPct val="90000"/>
        </a:lnSpc>
        <a:spcBef>
          <a:spcPts val="824"/>
        </a:spcBef>
        <a:buFont typeface="Arial" panose="020B0604020202020204" pitchFamily="34" charset="0"/>
        <a:buChar char="•"/>
        <a:defRPr sz="2309" kern="1200">
          <a:solidFill>
            <a:schemeClr val="tx1"/>
          </a:solidFill>
          <a:latin typeface="+mn-lt"/>
          <a:ea typeface="+mn-ea"/>
          <a:cs typeface="+mn-cs"/>
        </a:defRPr>
      </a:lvl5pPr>
      <a:lvl6pPr marL="4146575" indent="-376961" algn="l" defTabSz="1507846"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6pPr>
      <a:lvl7pPr marL="4900498" indent="-376961" algn="l" defTabSz="1507846"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7pPr>
      <a:lvl8pPr marL="5654421" indent="-376961" algn="l" defTabSz="1507846"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8pPr>
      <a:lvl9pPr marL="6408344" indent="-376961" algn="l" defTabSz="1507846"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9pPr>
    </p:bodyStyle>
    <p:otherStyle>
      <a:defPPr>
        <a:defRPr lang="pt-PT"/>
      </a:defPPr>
      <a:lvl1pPr marL="0" algn="l" defTabSz="1507846" rtl="0" eaLnBrk="1" latinLnBrk="0" hangingPunct="1">
        <a:defRPr sz="2968" kern="1200">
          <a:solidFill>
            <a:schemeClr val="tx1"/>
          </a:solidFill>
          <a:latin typeface="+mn-lt"/>
          <a:ea typeface="+mn-ea"/>
          <a:cs typeface="+mn-cs"/>
        </a:defRPr>
      </a:lvl1pPr>
      <a:lvl2pPr marL="753923" algn="l" defTabSz="1507846" rtl="0" eaLnBrk="1" latinLnBrk="0" hangingPunct="1">
        <a:defRPr sz="2968" kern="1200">
          <a:solidFill>
            <a:schemeClr val="tx1"/>
          </a:solidFill>
          <a:latin typeface="+mn-lt"/>
          <a:ea typeface="+mn-ea"/>
          <a:cs typeface="+mn-cs"/>
        </a:defRPr>
      </a:lvl2pPr>
      <a:lvl3pPr marL="1507846" algn="l" defTabSz="1507846" rtl="0" eaLnBrk="1" latinLnBrk="0" hangingPunct="1">
        <a:defRPr sz="2968" kern="1200">
          <a:solidFill>
            <a:schemeClr val="tx1"/>
          </a:solidFill>
          <a:latin typeface="+mn-lt"/>
          <a:ea typeface="+mn-ea"/>
          <a:cs typeface="+mn-cs"/>
        </a:defRPr>
      </a:lvl3pPr>
      <a:lvl4pPr marL="2261768" algn="l" defTabSz="1507846" rtl="0" eaLnBrk="1" latinLnBrk="0" hangingPunct="1">
        <a:defRPr sz="2968" kern="1200">
          <a:solidFill>
            <a:schemeClr val="tx1"/>
          </a:solidFill>
          <a:latin typeface="+mn-lt"/>
          <a:ea typeface="+mn-ea"/>
          <a:cs typeface="+mn-cs"/>
        </a:defRPr>
      </a:lvl4pPr>
      <a:lvl5pPr marL="3015691" algn="l" defTabSz="1507846" rtl="0" eaLnBrk="1" latinLnBrk="0" hangingPunct="1">
        <a:defRPr sz="2968" kern="1200">
          <a:solidFill>
            <a:schemeClr val="tx1"/>
          </a:solidFill>
          <a:latin typeface="+mn-lt"/>
          <a:ea typeface="+mn-ea"/>
          <a:cs typeface="+mn-cs"/>
        </a:defRPr>
      </a:lvl5pPr>
      <a:lvl6pPr marL="3769614" algn="l" defTabSz="1507846" rtl="0" eaLnBrk="1" latinLnBrk="0" hangingPunct="1">
        <a:defRPr sz="2968" kern="1200">
          <a:solidFill>
            <a:schemeClr val="tx1"/>
          </a:solidFill>
          <a:latin typeface="+mn-lt"/>
          <a:ea typeface="+mn-ea"/>
          <a:cs typeface="+mn-cs"/>
        </a:defRPr>
      </a:lvl6pPr>
      <a:lvl7pPr marL="4523537" algn="l" defTabSz="1507846" rtl="0" eaLnBrk="1" latinLnBrk="0" hangingPunct="1">
        <a:defRPr sz="2968" kern="1200">
          <a:solidFill>
            <a:schemeClr val="tx1"/>
          </a:solidFill>
          <a:latin typeface="+mn-lt"/>
          <a:ea typeface="+mn-ea"/>
          <a:cs typeface="+mn-cs"/>
        </a:defRPr>
      </a:lvl7pPr>
      <a:lvl8pPr marL="5277460" algn="l" defTabSz="1507846" rtl="0" eaLnBrk="1" latinLnBrk="0" hangingPunct="1">
        <a:defRPr sz="2968" kern="1200">
          <a:solidFill>
            <a:schemeClr val="tx1"/>
          </a:solidFill>
          <a:latin typeface="+mn-lt"/>
          <a:ea typeface="+mn-ea"/>
          <a:cs typeface="+mn-cs"/>
        </a:defRPr>
      </a:lvl8pPr>
      <a:lvl9pPr marL="6031382" algn="l" defTabSz="1507846" rtl="0" eaLnBrk="1" latinLnBrk="0" hangingPunct="1">
        <a:defRPr sz="296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2EB016D-CF9A-4584-982E-40465F70132F}"/>
              </a:ext>
            </a:extLst>
          </p:cNvPr>
          <p:cNvSpPr>
            <a:spLocks noGrp="1"/>
          </p:cNvSpPr>
          <p:nvPr>
            <p:ph type="title"/>
          </p:nvPr>
        </p:nvSpPr>
        <p:spPr>
          <a:xfrm>
            <a:off x="672755" y="668692"/>
            <a:ext cx="18165921" cy="1426541"/>
          </a:xfrm>
          <a:prstGeom prst="rect">
            <a:avLst/>
          </a:prstGeom>
        </p:spPr>
        <p:txBody>
          <a:bodyPr vert="horz" lIns="0" tIns="0" rIns="0" bIns="0" rtlCol="0" anchor="t">
            <a:normAutofit/>
          </a:bodyPr>
          <a:lstStyle/>
          <a:p>
            <a:pPr lvl="0">
              <a:lnSpc>
                <a:spcPts val="4947"/>
              </a:lnSpc>
            </a:pPr>
            <a:r>
              <a:rPr lang="en-US"/>
              <a:t>Click to edit Master title style</a:t>
            </a:r>
            <a:endParaRPr lang="pt-PT"/>
          </a:p>
        </p:txBody>
      </p:sp>
      <p:grpSp>
        <p:nvGrpSpPr>
          <p:cNvPr id="3" name="Group 2"/>
          <p:cNvGrpSpPr/>
          <p:nvPr userDrawn="1"/>
        </p:nvGrpSpPr>
        <p:grpSpPr>
          <a:xfrm rot="5400000">
            <a:off x="19596582" y="1462569"/>
            <a:ext cx="2847325" cy="567789"/>
            <a:chOff x="12496801" y="706628"/>
            <a:chExt cx="2975350" cy="594360"/>
          </a:xfrm>
        </p:grpSpPr>
        <p:sp>
          <p:nvSpPr>
            <p:cNvPr id="5" name="Rectangle 4"/>
            <p:cNvSpPr/>
            <p:nvPr userDrawn="1"/>
          </p:nvSpPr>
          <p:spPr>
            <a:xfrm>
              <a:off x="12496801" y="706628"/>
              <a:ext cx="595070" cy="5943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660"/>
                </a:spcAft>
              </a:pPr>
              <a:endParaRPr lang="en-US" sz="989"/>
            </a:p>
          </p:txBody>
        </p:sp>
        <p:sp>
          <p:nvSpPr>
            <p:cNvPr id="6" name="Rectangle 5"/>
            <p:cNvSpPr/>
            <p:nvPr userDrawn="1"/>
          </p:nvSpPr>
          <p:spPr>
            <a:xfrm>
              <a:off x="13091871" y="706628"/>
              <a:ext cx="595070" cy="5943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660"/>
                </a:spcAft>
              </a:pPr>
              <a:endParaRPr lang="en-US" sz="989"/>
            </a:p>
          </p:txBody>
        </p:sp>
        <p:sp>
          <p:nvSpPr>
            <p:cNvPr id="7" name="Rectangle 6"/>
            <p:cNvSpPr/>
            <p:nvPr userDrawn="1"/>
          </p:nvSpPr>
          <p:spPr>
            <a:xfrm>
              <a:off x="13686941" y="706628"/>
              <a:ext cx="595070" cy="5943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660"/>
                </a:spcAft>
              </a:pPr>
              <a:endParaRPr lang="en-US" sz="989"/>
            </a:p>
          </p:txBody>
        </p:sp>
        <p:sp>
          <p:nvSpPr>
            <p:cNvPr id="8" name="Rectangle 7"/>
            <p:cNvSpPr/>
            <p:nvPr userDrawn="1"/>
          </p:nvSpPr>
          <p:spPr>
            <a:xfrm>
              <a:off x="14282011" y="706628"/>
              <a:ext cx="595070" cy="5943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660"/>
                </a:spcAft>
              </a:pPr>
              <a:endParaRPr lang="en-US" sz="989"/>
            </a:p>
          </p:txBody>
        </p:sp>
        <p:sp>
          <p:nvSpPr>
            <p:cNvPr id="10" name="Rectangle 9"/>
            <p:cNvSpPr/>
            <p:nvPr userDrawn="1"/>
          </p:nvSpPr>
          <p:spPr>
            <a:xfrm>
              <a:off x="14877081" y="706628"/>
              <a:ext cx="595070" cy="5943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660"/>
                </a:spcAft>
              </a:pPr>
              <a:endParaRPr lang="en-US" sz="989"/>
            </a:p>
          </p:txBody>
        </p:sp>
      </p:grpSp>
      <p:sp>
        <p:nvSpPr>
          <p:cNvPr id="26" name="Rectangle 25"/>
          <p:cNvSpPr/>
          <p:nvPr userDrawn="1"/>
        </p:nvSpPr>
        <p:spPr>
          <a:xfrm rot="16200000">
            <a:off x="19326465" y="7184615"/>
            <a:ext cx="2306722" cy="2537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marL="0" marR="0" lvl="0" indent="0" algn="l" defTabSz="1507846" rtl="0" eaLnBrk="1" fontAlgn="auto" latinLnBrk="0" hangingPunct="1">
              <a:lnSpc>
                <a:spcPct val="100000"/>
              </a:lnSpc>
              <a:spcBef>
                <a:spcPts val="0"/>
              </a:spcBef>
              <a:spcAft>
                <a:spcPts val="0"/>
              </a:spcAft>
              <a:buClrTx/>
              <a:buSzTx/>
              <a:buFontTx/>
              <a:buNone/>
              <a:tabLst/>
              <a:defRPr/>
            </a:pPr>
            <a:r>
              <a:rPr lang="en-US" sz="1649" b="1">
                <a:solidFill>
                  <a:schemeClr val="tx2"/>
                </a:solidFill>
              </a:rPr>
              <a:t>Infographic Palette</a:t>
            </a:r>
          </a:p>
        </p:txBody>
      </p:sp>
      <p:grpSp>
        <p:nvGrpSpPr>
          <p:cNvPr id="64" name="Group 63"/>
          <p:cNvGrpSpPr/>
          <p:nvPr userDrawn="1"/>
        </p:nvGrpSpPr>
        <p:grpSpPr>
          <a:xfrm>
            <a:off x="20736348" y="3329516"/>
            <a:ext cx="572967" cy="7963984"/>
            <a:chOff x="12575423" y="2604463"/>
            <a:chExt cx="347472" cy="4821246"/>
          </a:xfrm>
        </p:grpSpPr>
        <p:sp>
          <p:nvSpPr>
            <p:cNvPr id="11" name="Rectangle 10"/>
            <p:cNvSpPr/>
            <p:nvPr userDrawn="1"/>
          </p:nvSpPr>
          <p:spPr>
            <a:xfrm>
              <a:off x="12575423" y="2604463"/>
              <a:ext cx="347472" cy="347472"/>
            </a:xfrm>
            <a:prstGeom prst="rect">
              <a:avLst/>
            </a:prstGeom>
            <a:solidFill>
              <a:srgbClr val="80B8D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96859">
                <a:spcAft>
                  <a:spcPts val="660"/>
                </a:spcAft>
              </a:pPr>
              <a:endParaRPr lang="en-US" sz="989"/>
            </a:p>
          </p:txBody>
        </p:sp>
        <p:sp>
          <p:nvSpPr>
            <p:cNvPr id="12" name="Rectangle 11"/>
            <p:cNvSpPr/>
            <p:nvPr userDrawn="1"/>
          </p:nvSpPr>
          <p:spPr>
            <a:xfrm>
              <a:off x="12575423" y="2951375"/>
              <a:ext cx="347472" cy="347472"/>
            </a:xfrm>
            <a:prstGeom prst="rect">
              <a:avLst/>
            </a:prstGeom>
            <a:solidFill>
              <a:srgbClr val="88D5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96859">
                <a:spcAft>
                  <a:spcPts val="660"/>
                </a:spcAft>
              </a:pPr>
              <a:endParaRPr lang="en-US" sz="989"/>
            </a:p>
          </p:txBody>
        </p:sp>
        <p:sp>
          <p:nvSpPr>
            <p:cNvPr id="15" name="Rectangle 14"/>
            <p:cNvSpPr/>
            <p:nvPr userDrawn="1"/>
          </p:nvSpPr>
          <p:spPr>
            <a:xfrm>
              <a:off x="12575423" y="4334164"/>
              <a:ext cx="347472" cy="347472"/>
            </a:xfrm>
            <a:prstGeom prst="rect">
              <a:avLst/>
            </a:prstGeom>
            <a:solidFill>
              <a:srgbClr val="FF632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660"/>
                </a:spcAft>
              </a:pPr>
              <a:endParaRPr lang="en-US" sz="989"/>
            </a:p>
          </p:txBody>
        </p:sp>
        <p:sp>
          <p:nvSpPr>
            <p:cNvPr id="16" name="Rectangle 15"/>
            <p:cNvSpPr/>
            <p:nvPr userDrawn="1"/>
          </p:nvSpPr>
          <p:spPr>
            <a:xfrm>
              <a:off x="12575423" y="5710816"/>
              <a:ext cx="347472" cy="347472"/>
            </a:xfrm>
            <a:prstGeom prst="rect">
              <a:avLst/>
            </a:prstGeom>
            <a:solidFill>
              <a:srgbClr val="C8FF1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660"/>
                </a:spcAft>
              </a:pPr>
              <a:endParaRPr lang="en-US" sz="989"/>
            </a:p>
          </p:txBody>
        </p:sp>
        <p:sp>
          <p:nvSpPr>
            <p:cNvPr id="18" name="Rectangle 17"/>
            <p:cNvSpPr/>
            <p:nvPr userDrawn="1"/>
          </p:nvSpPr>
          <p:spPr>
            <a:xfrm>
              <a:off x="12575423" y="6048324"/>
              <a:ext cx="347472" cy="347472"/>
            </a:xfrm>
            <a:prstGeom prst="rect">
              <a:avLst/>
            </a:prstGeom>
            <a:solidFill>
              <a:srgbClr val="00C37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660"/>
                </a:spcAft>
              </a:pPr>
              <a:endParaRPr lang="en-US" sz="989"/>
            </a:p>
          </p:txBody>
        </p:sp>
        <p:sp>
          <p:nvSpPr>
            <p:cNvPr id="19" name="Rectangle 18"/>
            <p:cNvSpPr/>
            <p:nvPr userDrawn="1"/>
          </p:nvSpPr>
          <p:spPr>
            <a:xfrm>
              <a:off x="12575423" y="7078237"/>
              <a:ext cx="347472" cy="347472"/>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660"/>
                </a:spcAft>
              </a:pPr>
              <a:endParaRPr lang="en-US" sz="989"/>
            </a:p>
          </p:txBody>
        </p:sp>
        <p:sp>
          <p:nvSpPr>
            <p:cNvPr id="20" name="Rectangle 19"/>
            <p:cNvSpPr/>
            <p:nvPr userDrawn="1"/>
          </p:nvSpPr>
          <p:spPr>
            <a:xfrm>
              <a:off x="12575423" y="6735214"/>
              <a:ext cx="347472" cy="347472"/>
            </a:xfrm>
            <a:prstGeom prst="rect">
              <a:avLst/>
            </a:prstGeom>
            <a:solidFill>
              <a:srgbClr val="0F999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660"/>
                </a:spcAft>
              </a:pPr>
              <a:endParaRPr lang="en-US" sz="989"/>
            </a:p>
          </p:txBody>
        </p:sp>
        <p:sp>
          <p:nvSpPr>
            <p:cNvPr id="21" name="Rectangle 20"/>
            <p:cNvSpPr/>
            <p:nvPr userDrawn="1"/>
          </p:nvSpPr>
          <p:spPr>
            <a:xfrm>
              <a:off x="12575423" y="6391347"/>
              <a:ext cx="347472" cy="347472"/>
            </a:xfrm>
            <a:prstGeom prst="rect">
              <a:avLst/>
            </a:prstGeom>
            <a:solidFill>
              <a:srgbClr val="01D1D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660"/>
                </a:spcAft>
              </a:pPr>
              <a:endParaRPr lang="en-US" sz="989"/>
            </a:p>
          </p:txBody>
        </p:sp>
        <p:sp>
          <p:nvSpPr>
            <p:cNvPr id="22" name="Rectangle 21"/>
            <p:cNvSpPr/>
            <p:nvPr userDrawn="1"/>
          </p:nvSpPr>
          <p:spPr>
            <a:xfrm>
              <a:off x="12575423" y="4679467"/>
              <a:ext cx="347472" cy="347472"/>
            </a:xfrm>
            <a:prstGeom prst="rect">
              <a:avLst/>
            </a:prstGeom>
            <a:solidFill>
              <a:srgbClr val="FF7E8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660"/>
                </a:spcAft>
              </a:pPr>
              <a:endParaRPr lang="en-US" sz="989"/>
            </a:p>
          </p:txBody>
        </p:sp>
        <p:sp>
          <p:nvSpPr>
            <p:cNvPr id="23" name="Rectangle 22"/>
            <p:cNvSpPr/>
            <p:nvPr userDrawn="1"/>
          </p:nvSpPr>
          <p:spPr>
            <a:xfrm>
              <a:off x="12575423" y="5022490"/>
              <a:ext cx="347472" cy="347472"/>
            </a:xfrm>
            <a:prstGeom prst="rect">
              <a:avLst/>
            </a:prstGeom>
            <a:solidFill>
              <a:srgbClr val="CB298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660"/>
                </a:spcAft>
              </a:pPr>
              <a:endParaRPr lang="en-US" sz="989"/>
            </a:p>
          </p:txBody>
        </p:sp>
        <p:sp>
          <p:nvSpPr>
            <p:cNvPr id="24" name="Rectangle 23"/>
            <p:cNvSpPr/>
            <p:nvPr userDrawn="1"/>
          </p:nvSpPr>
          <p:spPr>
            <a:xfrm>
              <a:off x="12575423" y="5367793"/>
              <a:ext cx="347472" cy="347472"/>
            </a:xfrm>
            <a:prstGeom prst="rect">
              <a:avLst/>
            </a:prstGeom>
            <a:solidFill>
              <a:srgbClr val="86086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660"/>
                </a:spcAft>
              </a:pPr>
              <a:endParaRPr lang="en-US" sz="989"/>
            </a:p>
          </p:txBody>
        </p:sp>
        <p:sp>
          <p:nvSpPr>
            <p:cNvPr id="14" name="Rectangle 13"/>
            <p:cNvSpPr/>
            <p:nvPr userDrawn="1"/>
          </p:nvSpPr>
          <p:spPr>
            <a:xfrm>
              <a:off x="12575423" y="3298847"/>
              <a:ext cx="347472" cy="347472"/>
            </a:xfrm>
            <a:prstGeom prst="rect">
              <a:avLst/>
            </a:prstGeom>
            <a:solidFill>
              <a:srgbClr val="6D64C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660"/>
                </a:spcAft>
              </a:pPr>
              <a:endParaRPr lang="en-US" sz="989"/>
            </a:p>
          </p:txBody>
        </p:sp>
        <p:sp>
          <p:nvSpPr>
            <p:cNvPr id="17" name="Rectangle 16"/>
            <p:cNvSpPr/>
            <p:nvPr userDrawn="1"/>
          </p:nvSpPr>
          <p:spPr>
            <a:xfrm>
              <a:off x="12575423" y="3644150"/>
              <a:ext cx="347472" cy="347472"/>
            </a:xfrm>
            <a:prstGeom prst="rect">
              <a:avLst/>
            </a:prstGeom>
            <a:solidFill>
              <a:srgbClr val="7E39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660"/>
                </a:spcAft>
              </a:pPr>
              <a:endParaRPr lang="en-US" sz="989"/>
            </a:p>
          </p:txBody>
        </p:sp>
        <p:sp>
          <p:nvSpPr>
            <p:cNvPr id="28" name="Rectangle 27"/>
            <p:cNvSpPr/>
            <p:nvPr userDrawn="1"/>
          </p:nvSpPr>
          <p:spPr>
            <a:xfrm>
              <a:off x="12575423" y="3987173"/>
              <a:ext cx="347472" cy="347472"/>
            </a:xfrm>
            <a:prstGeom prst="rect">
              <a:avLst/>
            </a:prstGeom>
            <a:solidFill>
              <a:srgbClr val="4701A7"/>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spcAft>
                  <a:spcPts val="660"/>
                </a:spcAft>
              </a:pPr>
              <a:endParaRPr lang="en-US" sz="989"/>
            </a:p>
          </p:txBody>
        </p:sp>
      </p:grpSp>
      <p:sp>
        <p:nvSpPr>
          <p:cNvPr id="60" name="Rectangle 59"/>
          <p:cNvSpPr/>
          <p:nvPr userDrawn="1"/>
        </p:nvSpPr>
        <p:spPr>
          <a:xfrm rot="16200000">
            <a:off x="20008543" y="1538226"/>
            <a:ext cx="942566" cy="2537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en-US" sz="1649" b="1">
                <a:solidFill>
                  <a:schemeClr val="tx2"/>
                </a:solidFill>
              </a:rPr>
              <a:t>Primary</a:t>
            </a:r>
          </a:p>
        </p:txBody>
      </p:sp>
      <p:sp>
        <p:nvSpPr>
          <p:cNvPr id="27" name="Retângulo 43">
            <a:extLst>
              <a:ext uri="{FF2B5EF4-FFF2-40B4-BE49-F238E27FC236}">
                <a16:creationId xmlns:a16="http://schemas.microsoft.com/office/drawing/2014/main" id="{56AD97A8-8CD7-44B9-9D00-E65EF559B97E}"/>
              </a:ext>
            </a:extLst>
          </p:cNvPr>
          <p:cNvSpPr/>
          <p:nvPr userDrawn="1"/>
        </p:nvSpPr>
        <p:spPr>
          <a:xfrm>
            <a:off x="17026032" y="10880178"/>
            <a:ext cx="2732780" cy="297498"/>
          </a:xfrm>
          <a:prstGeom prst="rect">
            <a:avLst/>
          </a:prstGeom>
        </p:spPr>
        <p:txBody>
          <a:bodyPr wrap="none" lIns="59363" tIns="59363" rIns="59363" bIns="59363"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1507846" rtl="0" eaLnBrk="1" fontAlgn="auto" latinLnBrk="0" hangingPunct="1">
              <a:lnSpc>
                <a:spcPct val="100000"/>
              </a:lnSpc>
              <a:spcBef>
                <a:spcPts val="0"/>
              </a:spcBef>
              <a:spcAft>
                <a:spcPts val="0"/>
              </a:spcAft>
              <a:buClrTx/>
              <a:buSzTx/>
              <a:buFontTx/>
              <a:buNone/>
              <a:tabLst/>
              <a:defRPr/>
            </a:pPr>
            <a:r>
              <a:rPr lang="en-US" sz="1154" dirty="0">
                <a:solidFill>
                  <a:schemeClr val="bg2">
                    <a:lumMod val="50000"/>
                  </a:schemeClr>
                </a:solidFill>
                <a:cs typeface="Arial" panose="020B0604020202020204" pitchFamily="34" charset="0"/>
              </a:rPr>
              <a:t>© 2021 Sogeti. All rights reserved.</a:t>
            </a:r>
            <a:endParaRPr lang="en-US" sz="1154" dirty="0">
              <a:solidFill>
                <a:schemeClr val="bg2">
                  <a:lumMod val="50000"/>
                </a:schemeClr>
              </a:solidFill>
            </a:endParaRPr>
          </a:p>
        </p:txBody>
      </p:sp>
    </p:spTree>
    <p:extLst>
      <p:ext uri="{BB962C8B-B14F-4D97-AF65-F5344CB8AC3E}">
        <p14:creationId xmlns:p14="http://schemas.microsoft.com/office/powerpoint/2010/main" val="2016334994"/>
      </p:ext>
    </p:extLst>
  </p:cSld>
  <p:clrMap bg1="lt1" tx1="dk1" bg2="lt2" tx2="dk2" accent1="accent1" accent2="accent2" accent3="accent3" accent4="accent4" accent5="accent5" accent6="accent6" hlink="hlink" folHlink="folHlink"/>
  <p:sldLayoutIdLst>
    <p:sldLayoutId id="2147484091" r:id="rId1"/>
    <p:sldLayoutId id="2147484092" r:id="rId2"/>
    <p:sldLayoutId id="2147484093" r:id="rId3"/>
    <p:sldLayoutId id="2147484094" r:id="rId4"/>
    <p:sldLayoutId id="2147484095" r:id="rId5"/>
    <p:sldLayoutId id="2147484096" r:id="rId6"/>
    <p:sldLayoutId id="2147484097" r:id="rId7"/>
    <p:sldLayoutId id="2147484098" r:id="rId8"/>
  </p:sldLayoutIdLst>
  <p:txStyles>
    <p:titleStyle>
      <a:lvl1pPr algn="l" defTabSz="1507846" rtl="0" eaLnBrk="1" latinLnBrk="0" hangingPunct="1">
        <a:lnSpc>
          <a:spcPct val="90000"/>
        </a:lnSpc>
        <a:spcBef>
          <a:spcPct val="0"/>
        </a:spcBef>
        <a:buNone/>
        <a:defRPr lang="pt-PT" sz="4287" b="1" i="0" kern="1200">
          <a:solidFill>
            <a:schemeClr val="tx2"/>
          </a:solidFill>
          <a:latin typeface="Ubuntu" panose="020B0504030602030204" pitchFamily="34" charset="0"/>
          <a:ea typeface="Verdana" panose="020B0604030504040204" pitchFamily="34" charset="0"/>
          <a:cs typeface="Verdana" panose="020B0604030504040204" pitchFamily="34" charset="0"/>
        </a:defRPr>
      </a:lvl1pPr>
    </p:titleStyle>
    <p:bodyStyle>
      <a:lvl1pPr marL="0" indent="0" algn="l" defTabSz="1507846" rtl="0" eaLnBrk="1" latinLnBrk="0" hangingPunct="1">
        <a:lnSpc>
          <a:spcPts val="3628"/>
        </a:lnSpc>
        <a:spcBef>
          <a:spcPts val="0"/>
        </a:spcBef>
        <a:spcAft>
          <a:spcPts val="989"/>
        </a:spcAft>
        <a:buFont typeface="Arial" panose="020B0604020202020204" pitchFamily="34" charset="0"/>
        <a:buNone/>
        <a:defRPr sz="2968" kern="1200">
          <a:solidFill>
            <a:schemeClr val="tx1"/>
          </a:solidFill>
          <a:latin typeface="+mn-lt"/>
          <a:ea typeface="+mn-ea"/>
          <a:cs typeface="+mn-cs"/>
        </a:defRPr>
      </a:lvl1pPr>
      <a:lvl2pPr marL="384816" indent="-376961" algn="l" defTabSz="1507846" rtl="0" eaLnBrk="1" latinLnBrk="0" hangingPunct="1">
        <a:lnSpc>
          <a:spcPts val="3298"/>
        </a:lnSpc>
        <a:spcBef>
          <a:spcPts val="0"/>
        </a:spcBef>
        <a:spcAft>
          <a:spcPts val="989"/>
        </a:spcAft>
        <a:buClr>
          <a:schemeClr val="accent1"/>
        </a:buClr>
        <a:buFont typeface="Wingdings" panose="05000000000000000000" pitchFamily="2" charset="2"/>
        <a:buChar char="§"/>
        <a:defRPr sz="2638" kern="1200">
          <a:solidFill>
            <a:schemeClr val="tx1"/>
          </a:solidFill>
          <a:latin typeface="+mn-lt"/>
          <a:ea typeface="+mn-ea"/>
          <a:cs typeface="+mn-cs"/>
        </a:defRPr>
      </a:lvl2pPr>
      <a:lvl3pPr marL="753923" indent="-369109" algn="l" defTabSz="1507846" rtl="0" eaLnBrk="1" latinLnBrk="0" hangingPunct="1">
        <a:lnSpc>
          <a:spcPts val="2638"/>
        </a:lnSpc>
        <a:spcBef>
          <a:spcPts val="0"/>
        </a:spcBef>
        <a:spcAft>
          <a:spcPts val="989"/>
        </a:spcAft>
        <a:buClr>
          <a:schemeClr val="accent1"/>
        </a:buClr>
        <a:buFont typeface="Arial" panose="020B0604020202020204" pitchFamily="34" charset="0"/>
        <a:buChar char="•"/>
        <a:defRPr sz="2309" kern="1200">
          <a:solidFill>
            <a:schemeClr val="tx1"/>
          </a:solidFill>
          <a:latin typeface="+mn-lt"/>
          <a:ea typeface="+mn-ea"/>
          <a:cs typeface="+mn-cs"/>
        </a:defRPr>
      </a:lvl3pPr>
      <a:lvl4pPr marL="1138738" indent="-384816" algn="l" defTabSz="1507846" rtl="0" eaLnBrk="1" latinLnBrk="0" hangingPunct="1">
        <a:lnSpc>
          <a:spcPct val="90000"/>
        </a:lnSpc>
        <a:spcBef>
          <a:spcPts val="0"/>
        </a:spcBef>
        <a:spcAft>
          <a:spcPts val="989"/>
        </a:spcAft>
        <a:buClr>
          <a:schemeClr val="accent1"/>
        </a:buClr>
        <a:buFont typeface="Arial" panose="020B0604020202020204" pitchFamily="34" charset="0"/>
        <a:buChar char="‒"/>
        <a:defRPr sz="1979" kern="1200">
          <a:solidFill>
            <a:schemeClr val="tx1"/>
          </a:solidFill>
          <a:latin typeface="+mn-lt"/>
          <a:ea typeface="+mn-ea"/>
          <a:cs typeface="+mn-cs"/>
        </a:defRPr>
      </a:lvl4pPr>
      <a:lvl5pPr marL="3392653" indent="-376961" algn="l" defTabSz="1507846" rtl="0" eaLnBrk="1" latinLnBrk="0" hangingPunct="1">
        <a:lnSpc>
          <a:spcPct val="90000"/>
        </a:lnSpc>
        <a:spcBef>
          <a:spcPts val="824"/>
        </a:spcBef>
        <a:buFont typeface="Arial" panose="020B0604020202020204" pitchFamily="34" charset="0"/>
        <a:buChar char="•"/>
        <a:defRPr sz="2309" kern="1200">
          <a:solidFill>
            <a:schemeClr val="tx1"/>
          </a:solidFill>
          <a:latin typeface="+mn-lt"/>
          <a:ea typeface="+mn-ea"/>
          <a:cs typeface="+mn-cs"/>
        </a:defRPr>
      </a:lvl5pPr>
      <a:lvl6pPr marL="4146575" indent="-376961" algn="l" defTabSz="1507846"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6pPr>
      <a:lvl7pPr marL="4900498" indent="-376961" algn="l" defTabSz="1507846"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7pPr>
      <a:lvl8pPr marL="5654421" indent="-376961" algn="l" defTabSz="1507846"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8pPr>
      <a:lvl9pPr marL="6408344" indent="-376961" algn="l" defTabSz="1507846"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9pPr>
    </p:bodyStyle>
    <p:otherStyle>
      <a:defPPr>
        <a:defRPr lang="pt-PT"/>
      </a:defPPr>
      <a:lvl1pPr marL="0" algn="l" defTabSz="1507846" rtl="0" eaLnBrk="1" latinLnBrk="0" hangingPunct="1">
        <a:defRPr sz="2968" kern="1200">
          <a:solidFill>
            <a:schemeClr val="tx1"/>
          </a:solidFill>
          <a:latin typeface="+mn-lt"/>
          <a:ea typeface="+mn-ea"/>
          <a:cs typeface="+mn-cs"/>
        </a:defRPr>
      </a:lvl1pPr>
      <a:lvl2pPr marL="753923" algn="l" defTabSz="1507846" rtl="0" eaLnBrk="1" latinLnBrk="0" hangingPunct="1">
        <a:defRPr sz="2968" kern="1200">
          <a:solidFill>
            <a:schemeClr val="tx1"/>
          </a:solidFill>
          <a:latin typeface="+mn-lt"/>
          <a:ea typeface="+mn-ea"/>
          <a:cs typeface="+mn-cs"/>
        </a:defRPr>
      </a:lvl2pPr>
      <a:lvl3pPr marL="1507846" algn="l" defTabSz="1507846" rtl="0" eaLnBrk="1" latinLnBrk="0" hangingPunct="1">
        <a:defRPr sz="2968" kern="1200">
          <a:solidFill>
            <a:schemeClr val="tx1"/>
          </a:solidFill>
          <a:latin typeface="+mn-lt"/>
          <a:ea typeface="+mn-ea"/>
          <a:cs typeface="+mn-cs"/>
        </a:defRPr>
      </a:lvl3pPr>
      <a:lvl4pPr marL="2261768" algn="l" defTabSz="1507846" rtl="0" eaLnBrk="1" latinLnBrk="0" hangingPunct="1">
        <a:defRPr sz="2968" kern="1200">
          <a:solidFill>
            <a:schemeClr val="tx1"/>
          </a:solidFill>
          <a:latin typeface="+mn-lt"/>
          <a:ea typeface="+mn-ea"/>
          <a:cs typeface="+mn-cs"/>
        </a:defRPr>
      </a:lvl4pPr>
      <a:lvl5pPr marL="3015691" algn="l" defTabSz="1507846" rtl="0" eaLnBrk="1" latinLnBrk="0" hangingPunct="1">
        <a:defRPr sz="2968" kern="1200">
          <a:solidFill>
            <a:schemeClr val="tx1"/>
          </a:solidFill>
          <a:latin typeface="+mn-lt"/>
          <a:ea typeface="+mn-ea"/>
          <a:cs typeface="+mn-cs"/>
        </a:defRPr>
      </a:lvl5pPr>
      <a:lvl6pPr marL="3769614" algn="l" defTabSz="1507846" rtl="0" eaLnBrk="1" latinLnBrk="0" hangingPunct="1">
        <a:defRPr sz="2968" kern="1200">
          <a:solidFill>
            <a:schemeClr val="tx1"/>
          </a:solidFill>
          <a:latin typeface="+mn-lt"/>
          <a:ea typeface="+mn-ea"/>
          <a:cs typeface="+mn-cs"/>
        </a:defRPr>
      </a:lvl6pPr>
      <a:lvl7pPr marL="4523537" algn="l" defTabSz="1507846" rtl="0" eaLnBrk="1" latinLnBrk="0" hangingPunct="1">
        <a:defRPr sz="2968" kern="1200">
          <a:solidFill>
            <a:schemeClr val="tx1"/>
          </a:solidFill>
          <a:latin typeface="+mn-lt"/>
          <a:ea typeface="+mn-ea"/>
          <a:cs typeface="+mn-cs"/>
        </a:defRPr>
      </a:lvl7pPr>
      <a:lvl8pPr marL="5277460" algn="l" defTabSz="1507846" rtl="0" eaLnBrk="1" latinLnBrk="0" hangingPunct="1">
        <a:defRPr sz="2968" kern="1200">
          <a:solidFill>
            <a:schemeClr val="tx1"/>
          </a:solidFill>
          <a:latin typeface="+mn-lt"/>
          <a:ea typeface="+mn-ea"/>
          <a:cs typeface="+mn-cs"/>
        </a:defRPr>
      </a:lvl8pPr>
      <a:lvl9pPr marL="6031382" algn="l" defTabSz="1507846" rtl="0" eaLnBrk="1" latinLnBrk="0" hangingPunct="1">
        <a:defRPr sz="296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2" pos="7423">
          <p15:clr>
            <a:srgbClr val="F26B43"/>
          </p15:clr>
        </p15:guide>
        <p15:guide id="3" pos="257">
          <p15:clr>
            <a:srgbClr val="F26B43"/>
          </p15:clr>
        </p15:guide>
        <p15:guide id="4" orient="horz" pos="4065">
          <p15:clr>
            <a:srgbClr val="F26B43"/>
          </p15:clr>
        </p15:guide>
        <p15:guide id="5" orient="horz" pos="799">
          <p15:clr>
            <a:srgbClr val="F26B43"/>
          </p15:clr>
        </p15:guide>
        <p15:guide id="6" orient="horz" pos="890">
          <p15:clr>
            <a:srgbClr val="F26B43"/>
          </p15:clr>
        </p15:guide>
        <p15:guide id="7" pos="3840">
          <p15:clr>
            <a:srgbClr val="F26B43"/>
          </p15:clr>
        </p15:guide>
        <p15:guide id="8" pos="3749">
          <p15:clr>
            <a:srgbClr val="F26B43"/>
          </p15:clr>
        </p15:guide>
        <p15:guide id="9" pos="3931">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6D0EEC-80D3-466E-BAB2-60D38A71FF0A}"/>
              </a:ext>
            </a:extLst>
          </p:cNvPr>
          <p:cNvSpPr>
            <a:spLocks noGrp="1"/>
          </p:cNvSpPr>
          <p:nvPr>
            <p:ph type="title"/>
          </p:nvPr>
        </p:nvSpPr>
        <p:spPr>
          <a:xfrm>
            <a:off x="652986" y="654133"/>
            <a:ext cx="18996000" cy="1427200"/>
          </a:xfrm>
          <a:prstGeom prst="rect">
            <a:avLst/>
          </a:prstGeom>
        </p:spPr>
        <p:txBody>
          <a:bodyPr vert="horz" lIns="0" tIns="0" rIns="0" bIns="0" rtlCol="0" anchor="t">
            <a:normAutofit/>
          </a:bodyPr>
          <a:lstStyle/>
          <a:p>
            <a:r>
              <a:rPr lang="en-US" noProof="0" dirty="0"/>
              <a:t>Click to edit Master title style</a:t>
            </a:r>
          </a:p>
        </p:txBody>
      </p:sp>
      <p:sp>
        <p:nvSpPr>
          <p:cNvPr id="3" name="Espace réservé du texte 2">
            <a:extLst>
              <a:ext uri="{FF2B5EF4-FFF2-40B4-BE49-F238E27FC236}">
                <a16:creationId xmlns:a16="http://schemas.microsoft.com/office/drawing/2014/main" id="{CB99954D-20DC-4C08-8C6C-5DA7933E73D6}"/>
              </a:ext>
            </a:extLst>
          </p:cNvPr>
          <p:cNvSpPr>
            <a:spLocks noGrp="1"/>
          </p:cNvSpPr>
          <p:nvPr>
            <p:ph type="body" idx="1"/>
          </p:nvPr>
        </p:nvSpPr>
        <p:spPr>
          <a:xfrm>
            <a:off x="652988" y="2378667"/>
            <a:ext cx="18996803" cy="8146933"/>
          </a:xfrm>
          <a:prstGeom prst="rect">
            <a:avLst/>
          </a:prstGeom>
        </p:spPr>
        <p:txBody>
          <a:bodyPr vert="horz" lIns="0" tIns="0" rIns="0" bIns="0" rtlCol="0">
            <a:noAutofit/>
          </a:bodyPr>
          <a:lstStyle/>
          <a:p>
            <a:pPr lvl="0"/>
            <a:r>
              <a:rPr lang="en-US" noProof="0" dirty="0"/>
              <a:t>Modifier les styles du </a:t>
            </a:r>
            <a:r>
              <a:rPr lang="en-US" noProof="0" dirty="0" err="1"/>
              <a:t>texte</a:t>
            </a:r>
            <a:r>
              <a:rPr lang="en-US" noProof="0" dirty="0"/>
              <a:t> du masque</a:t>
            </a:r>
          </a:p>
          <a:p>
            <a:pPr lvl="1"/>
            <a:r>
              <a:rPr lang="en-US" noProof="0" dirty="0" err="1"/>
              <a:t>Deuxième</a:t>
            </a:r>
            <a:r>
              <a:rPr lang="en-US" noProof="0" dirty="0"/>
              <a:t> </a:t>
            </a:r>
            <a:r>
              <a:rPr lang="en-US" noProof="0" dirty="0" err="1"/>
              <a:t>niveau</a:t>
            </a:r>
            <a:endParaRPr lang="en-US" noProof="0" dirty="0"/>
          </a:p>
          <a:p>
            <a:pPr lvl="2"/>
            <a:r>
              <a:rPr lang="en-US" noProof="0" dirty="0" err="1"/>
              <a:t>Troisième</a:t>
            </a:r>
            <a:r>
              <a:rPr lang="en-US" noProof="0" dirty="0"/>
              <a:t> </a:t>
            </a:r>
            <a:r>
              <a:rPr lang="en-US" noProof="0" dirty="0" err="1"/>
              <a:t>niveau</a:t>
            </a:r>
            <a:endParaRPr lang="en-US" noProof="0" dirty="0"/>
          </a:p>
          <a:p>
            <a:pPr lvl="3"/>
            <a:r>
              <a:rPr lang="en-US" noProof="0" dirty="0" err="1"/>
              <a:t>Quatrième</a:t>
            </a:r>
            <a:r>
              <a:rPr lang="en-US" noProof="0" dirty="0"/>
              <a:t> </a:t>
            </a:r>
            <a:r>
              <a:rPr lang="en-US" noProof="0" dirty="0" err="1"/>
              <a:t>niveau</a:t>
            </a:r>
            <a:endParaRPr lang="en-US" noProof="0" dirty="0"/>
          </a:p>
          <a:p>
            <a:pPr lvl="4"/>
            <a:r>
              <a:rPr lang="en-US" noProof="0" dirty="0" err="1"/>
              <a:t>Cinquième</a:t>
            </a:r>
            <a:r>
              <a:rPr lang="en-US" noProof="0" dirty="0"/>
              <a:t> </a:t>
            </a:r>
            <a:r>
              <a:rPr lang="en-US" noProof="0" dirty="0" err="1"/>
              <a:t>niveau</a:t>
            </a:r>
            <a:endParaRPr lang="en-US" noProof="0" dirty="0"/>
          </a:p>
        </p:txBody>
      </p:sp>
      <p:sp>
        <p:nvSpPr>
          <p:cNvPr id="35" name="ZoneTexte 4">
            <a:extLst>
              <a:ext uri="{FF2B5EF4-FFF2-40B4-BE49-F238E27FC236}">
                <a16:creationId xmlns:a16="http://schemas.microsoft.com/office/drawing/2014/main" id="{5F58D8B5-63D0-4586-BED4-54FBF204F317}"/>
              </a:ext>
            </a:extLst>
          </p:cNvPr>
          <p:cNvSpPr txBox="1"/>
          <p:nvPr userDrawn="1"/>
        </p:nvSpPr>
        <p:spPr>
          <a:xfrm>
            <a:off x="483622" y="10834774"/>
            <a:ext cx="6786824" cy="29533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319" dirty="0">
                <a:solidFill>
                  <a:schemeClr val="bg2">
                    <a:lumMod val="50000"/>
                  </a:schemeClr>
                </a:solidFill>
              </a:rPr>
              <a:t>Sogeti - Digital Assurance &amp; Testing for Securitas | Feb 2021</a:t>
            </a:r>
          </a:p>
        </p:txBody>
      </p:sp>
      <p:sp>
        <p:nvSpPr>
          <p:cNvPr id="37" name="Retângulo 43">
            <a:extLst>
              <a:ext uri="{FF2B5EF4-FFF2-40B4-BE49-F238E27FC236}">
                <a16:creationId xmlns:a16="http://schemas.microsoft.com/office/drawing/2014/main" id="{14D5A975-9654-49E4-B024-5122F4C52F53}"/>
              </a:ext>
            </a:extLst>
          </p:cNvPr>
          <p:cNvSpPr/>
          <p:nvPr userDrawn="1"/>
        </p:nvSpPr>
        <p:spPr>
          <a:xfrm>
            <a:off x="14292014" y="10867484"/>
            <a:ext cx="5466797" cy="322890"/>
          </a:xfrm>
          <a:prstGeom prst="rect">
            <a:avLst/>
          </a:prstGeom>
        </p:spPr>
        <p:txBody>
          <a:bodyPr wrap="none" lIns="59363" tIns="59363" rIns="59363" bIns="59363"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1507846" rtl="0" eaLnBrk="1" fontAlgn="auto" latinLnBrk="0" hangingPunct="1">
              <a:lnSpc>
                <a:spcPct val="100000"/>
              </a:lnSpc>
              <a:spcBef>
                <a:spcPts val="0"/>
              </a:spcBef>
              <a:spcAft>
                <a:spcPts val="0"/>
              </a:spcAft>
              <a:buClrTx/>
              <a:buSzTx/>
              <a:buFontTx/>
              <a:buNone/>
              <a:tabLst/>
              <a:defRPr/>
            </a:pPr>
            <a:r>
              <a:rPr lang="en-US" sz="1319" dirty="0">
                <a:solidFill>
                  <a:schemeClr val="bg2">
                    <a:lumMod val="50000"/>
                  </a:schemeClr>
                </a:solidFill>
                <a:cs typeface="Arial" panose="020B0604020202020204" pitchFamily="34" charset="0"/>
              </a:rPr>
              <a:t>Security Classification © 2021 Sogeti. All rights reserved. </a:t>
            </a:r>
            <a:fld id="{0502E5A9-B53C-401E-A0E0-4A359BB0A9E5}" type="slidenum">
              <a:rPr lang="en-US" sz="1319" smtClean="0">
                <a:solidFill>
                  <a:schemeClr val="bg2">
                    <a:lumMod val="50000"/>
                  </a:schemeClr>
                </a:solidFill>
                <a:cs typeface="Arial" panose="020B0604020202020204" pitchFamily="34" charset="0"/>
              </a:rPr>
              <a:pPr marL="0" marR="0" lvl="0" indent="0" algn="r" defTabSz="1507846" rtl="0" eaLnBrk="1" fontAlgn="auto" latinLnBrk="0" hangingPunct="1">
                <a:lnSpc>
                  <a:spcPct val="100000"/>
                </a:lnSpc>
                <a:spcBef>
                  <a:spcPts val="0"/>
                </a:spcBef>
                <a:spcAft>
                  <a:spcPts val="0"/>
                </a:spcAft>
                <a:buClrTx/>
                <a:buSzTx/>
                <a:buFontTx/>
                <a:buNone/>
                <a:tabLst/>
                <a:defRPr/>
              </a:pPr>
              <a:t>‹#›</a:t>
            </a:fld>
            <a:endParaRPr lang="en-US" sz="1319" dirty="0">
              <a:solidFill>
                <a:schemeClr val="bg2">
                  <a:lumMod val="50000"/>
                </a:schemeClr>
              </a:solidFill>
            </a:endParaRPr>
          </a:p>
        </p:txBody>
      </p:sp>
    </p:spTree>
    <p:extLst>
      <p:ext uri="{BB962C8B-B14F-4D97-AF65-F5344CB8AC3E}">
        <p14:creationId xmlns:p14="http://schemas.microsoft.com/office/powerpoint/2010/main" val="4130076902"/>
      </p:ext>
    </p:extLst>
  </p:cSld>
  <p:clrMap bg1="lt1" tx1="dk1" bg2="lt2" tx2="dk2" accent1="accent1" accent2="accent2" accent3="accent3" accent4="accent4" accent5="accent5" accent6="accent6" hlink="hlink" folHlink="folHlink"/>
  <p:sldLayoutIdLst>
    <p:sldLayoutId id="2147484100" r:id="rId1"/>
    <p:sldLayoutId id="2147484101" r:id="rId2"/>
    <p:sldLayoutId id="2147484102" r:id="rId3"/>
    <p:sldLayoutId id="2147484103" r:id="rId4"/>
    <p:sldLayoutId id="2147484104" r:id="rId5"/>
    <p:sldLayoutId id="2147484105" r:id="rId6"/>
    <p:sldLayoutId id="2147484106" r:id="rId7"/>
    <p:sldLayoutId id="2147484107" r:id="rId8"/>
    <p:sldLayoutId id="2147484108" r:id="rId9"/>
    <p:sldLayoutId id="2147484109" r:id="rId10"/>
    <p:sldLayoutId id="2147484110" r:id="rId11"/>
    <p:sldLayoutId id="2147484111" r:id="rId12"/>
    <p:sldLayoutId id="2147484112" r:id="rId13"/>
    <p:sldLayoutId id="2147484113" r:id="rId14"/>
    <p:sldLayoutId id="2147484114" r:id="rId15"/>
    <p:sldLayoutId id="2147484115" r:id="rId16"/>
    <p:sldLayoutId id="2147484116" r:id="rId17"/>
    <p:sldLayoutId id="2147484117" r:id="rId18"/>
    <p:sldLayoutId id="2147484118" r:id="rId19"/>
    <p:sldLayoutId id="2147484119" r:id="rId20"/>
    <p:sldLayoutId id="2147484120" r:id="rId21"/>
    <p:sldLayoutId id="2147484121" r:id="rId22"/>
    <p:sldLayoutId id="2147484122" r:id="rId23"/>
    <p:sldLayoutId id="2147484123" r:id="rId24"/>
    <p:sldLayoutId id="2147484124" r:id="rId25"/>
  </p:sldLayoutIdLst>
  <p:txStyles>
    <p:titleStyle>
      <a:lvl1pPr algn="l" defTabSz="1507846" rtl="0" eaLnBrk="1" latinLnBrk="0" hangingPunct="1">
        <a:lnSpc>
          <a:spcPct val="90000"/>
        </a:lnSpc>
        <a:spcBef>
          <a:spcPct val="0"/>
        </a:spcBef>
        <a:buNone/>
        <a:defRPr sz="4287" kern="1200">
          <a:solidFill>
            <a:schemeClr val="accent1"/>
          </a:solidFill>
          <a:latin typeface="+mj-lt"/>
          <a:ea typeface="+mj-ea"/>
          <a:cs typeface="+mj-cs"/>
        </a:defRPr>
      </a:lvl1pPr>
    </p:titleStyle>
    <p:bodyStyle>
      <a:lvl1pPr marL="0" indent="0" algn="l" defTabSz="1507846" rtl="0" eaLnBrk="1" latinLnBrk="0" hangingPunct="1">
        <a:lnSpc>
          <a:spcPct val="90000"/>
        </a:lnSpc>
        <a:spcBef>
          <a:spcPts val="0"/>
        </a:spcBef>
        <a:spcAft>
          <a:spcPts val="495"/>
        </a:spcAft>
        <a:buClr>
          <a:schemeClr val="accent2"/>
        </a:buClr>
        <a:buFont typeface="Arial" panose="020B0604020202020204" pitchFamily="34" charset="0"/>
        <a:buNone/>
        <a:defRPr sz="2968" kern="1200">
          <a:solidFill>
            <a:schemeClr val="tx1"/>
          </a:solidFill>
          <a:latin typeface="+mn-lt"/>
          <a:ea typeface="+mn-ea"/>
          <a:cs typeface="+mn-cs"/>
        </a:defRPr>
      </a:lvl1pPr>
      <a:lvl2pPr marL="581149" indent="-319370" algn="l" defTabSz="1507846" rtl="0" eaLnBrk="1" latinLnBrk="0" hangingPunct="1">
        <a:lnSpc>
          <a:spcPct val="90000"/>
        </a:lnSpc>
        <a:spcBef>
          <a:spcPts val="0"/>
        </a:spcBef>
        <a:spcAft>
          <a:spcPts val="495"/>
        </a:spcAft>
        <a:buClr>
          <a:schemeClr val="accent1"/>
        </a:buClr>
        <a:buFont typeface="Wingdings" panose="05000000000000000000" pitchFamily="2" charset="2"/>
        <a:buChar char="§"/>
        <a:defRPr sz="2638" kern="1200">
          <a:solidFill>
            <a:schemeClr val="tx1"/>
          </a:solidFill>
          <a:latin typeface="+mn-lt"/>
          <a:ea typeface="+mn-ea"/>
          <a:cs typeface="+mn-cs"/>
        </a:defRPr>
      </a:lvl2pPr>
      <a:lvl3pPr marL="900519" indent="-290575" algn="l" defTabSz="1507846" rtl="0" eaLnBrk="1" latinLnBrk="0" hangingPunct="1">
        <a:lnSpc>
          <a:spcPct val="90000"/>
        </a:lnSpc>
        <a:spcBef>
          <a:spcPts val="0"/>
        </a:spcBef>
        <a:spcAft>
          <a:spcPts val="495"/>
        </a:spcAft>
        <a:buClr>
          <a:schemeClr val="accent4"/>
        </a:buClr>
        <a:buFont typeface="Arial" panose="020B0604020202020204" pitchFamily="34" charset="0"/>
        <a:buChar char="•"/>
        <a:defRPr sz="2309" kern="1200">
          <a:solidFill>
            <a:schemeClr val="tx1"/>
          </a:solidFill>
          <a:latin typeface="+mn-lt"/>
          <a:ea typeface="+mn-ea"/>
          <a:cs typeface="+mn-cs"/>
        </a:defRPr>
      </a:lvl3pPr>
      <a:lvl4pPr marL="1191094" indent="-246072" algn="l" defTabSz="1507846" rtl="0" eaLnBrk="1" latinLnBrk="0" hangingPunct="1">
        <a:lnSpc>
          <a:spcPct val="90000"/>
        </a:lnSpc>
        <a:spcBef>
          <a:spcPts val="0"/>
        </a:spcBef>
        <a:spcAft>
          <a:spcPts val="495"/>
        </a:spcAft>
        <a:buClr>
          <a:schemeClr val="tx2"/>
        </a:buClr>
        <a:buFont typeface="Verdana" panose="020B0604030504040204" pitchFamily="34" charset="0"/>
        <a:buChar char="–"/>
        <a:defRPr sz="1979" kern="1200">
          <a:solidFill>
            <a:schemeClr val="tx1"/>
          </a:solidFill>
          <a:latin typeface="+mn-lt"/>
          <a:ea typeface="+mn-ea"/>
          <a:cs typeface="+mn-cs"/>
        </a:defRPr>
      </a:lvl4pPr>
      <a:lvl5pPr marL="1481668" indent="-217277" algn="l" defTabSz="1507846" rtl="0" eaLnBrk="1" latinLnBrk="0" hangingPunct="1">
        <a:lnSpc>
          <a:spcPct val="90000"/>
        </a:lnSpc>
        <a:spcBef>
          <a:spcPts val="0"/>
        </a:spcBef>
        <a:spcAft>
          <a:spcPts val="495"/>
        </a:spcAft>
        <a:buClr>
          <a:schemeClr val="accent3"/>
        </a:buClr>
        <a:buFont typeface="Arial" panose="020B0604020202020204" pitchFamily="34" charset="0"/>
        <a:buChar char="•"/>
        <a:defRPr sz="1979" kern="1200">
          <a:solidFill>
            <a:schemeClr val="tx1"/>
          </a:solidFill>
          <a:latin typeface="+mn-lt"/>
          <a:ea typeface="+mn-ea"/>
          <a:cs typeface="+mn-cs"/>
        </a:defRPr>
      </a:lvl5pPr>
      <a:lvl6pPr marL="4146575" indent="-376961" algn="l" defTabSz="1507846"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6pPr>
      <a:lvl7pPr marL="4900498" indent="-376961" algn="l" defTabSz="1507846"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7pPr>
      <a:lvl8pPr marL="5654421" indent="-376961" algn="l" defTabSz="1507846"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8pPr>
      <a:lvl9pPr marL="6408344" indent="-376961" algn="l" defTabSz="1507846" rtl="0" eaLnBrk="1" latinLnBrk="0" hangingPunct="1">
        <a:lnSpc>
          <a:spcPct val="90000"/>
        </a:lnSpc>
        <a:spcBef>
          <a:spcPts val="824"/>
        </a:spcBef>
        <a:buFont typeface="Arial" panose="020B0604020202020204" pitchFamily="34" charset="0"/>
        <a:buChar char="•"/>
        <a:defRPr sz="2968" kern="1200">
          <a:solidFill>
            <a:schemeClr val="tx1"/>
          </a:solidFill>
          <a:latin typeface="+mn-lt"/>
          <a:ea typeface="+mn-ea"/>
          <a:cs typeface="+mn-cs"/>
        </a:defRPr>
      </a:lvl9pPr>
    </p:bodyStyle>
    <p:otherStyle>
      <a:defPPr>
        <a:defRPr lang="en-US"/>
      </a:defPPr>
      <a:lvl1pPr marL="0" algn="l" defTabSz="1507846" rtl="0" eaLnBrk="1" latinLnBrk="0" hangingPunct="1">
        <a:defRPr sz="2968" kern="1200">
          <a:solidFill>
            <a:schemeClr val="tx1"/>
          </a:solidFill>
          <a:latin typeface="+mn-lt"/>
          <a:ea typeface="+mn-ea"/>
          <a:cs typeface="+mn-cs"/>
        </a:defRPr>
      </a:lvl1pPr>
      <a:lvl2pPr marL="753923" algn="l" defTabSz="1507846" rtl="0" eaLnBrk="1" latinLnBrk="0" hangingPunct="1">
        <a:defRPr sz="2968" kern="1200">
          <a:solidFill>
            <a:schemeClr val="tx1"/>
          </a:solidFill>
          <a:latin typeface="+mn-lt"/>
          <a:ea typeface="+mn-ea"/>
          <a:cs typeface="+mn-cs"/>
        </a:defRPr>
      </a:lvl2pPr>
      <a:lvl3pPr marL="1507846" algn="l" defTabSz="1507846" rtl="0" eaLnBrk="1" latinLnBrk="0" hangingPunct="1">
        <a:defRPr sz="2968" kern="1200">
          <a:solidFill>
            <a:schemeClr val="tx1"/>
          </a:solidFill>
          <a:latin typeface="+mn-lt"/>
          <a:ea typeface="+mn-ea"/>
          <a:cs typeface="+mn-cs"/>
        </a:defRPr>
      </a:lvl3pPr>
      <a:lvl4pPr marL="2261768" algn="l" defTabSz="1507846" rtl="0" eaLnBrk="1" latinLnBrk="0" hangingPunct="1">
        <a:defRPr sz="2968" kern="1200">
          <a:solidFill>
            <a:schemeClr val="tx1"/>
          </a:solidFill>
          <a:latin typeface="+mn-lt"/>
          <a:ea typeface="+mn-ea"/>
          <a:cs typeface="+mn-cs"/>
        </a:defRPr>
      </a:lvl4pPr>
      <a:lvl5pPr marL="3015691" algn="l" defTabSz="1507846" rtl="0" eaLnBrk="1" latinLnBrk="0" hangingPunct="1">
        <a:defRPr sz="2968" kern="1200">
          <a:solidFill>
            <a:schemeClr val="tx1"/>
          </a:solidFill>
          <a:latin typeface="+mn-lt"/>
          <a:ea typeface="+mn-ea"/>
          <a:cs typeface="+mn-cs"/>
        </a:defRPr>
      </a:lvl5pPr>
      <a:lvl6pPr marL="3769614" algn="l" defTabSz="1507846" rtl="0" eaLnBrk="1" latinLnBrk="0" hangingPunct="1">
        <a:defRPr sz="2968" kern="1200">
          <a:solidFill>
            <a:schemeClr val="tx1"/>
          </a:solidFill>
          <a:latin typeface="+mn-lt"/>
          <a:ea typeface="+mn-ea"/>
          <a:cs typeface="+mn-cs"/>
        </a:defRPr>
      </a:lvl6pPr>
      <a:lvl7pPr marL="4523537" algn="l" defTabSz="1507846" rtl="0" eaLnBrk="1" latinLnBrk="0" hangingPunct="1">
        <a:defRPr sz="2968" kern="1200">
          <a:solidFill>
            <a:schemeClr val="tx1"/>
          </a:solidFill>
          <a:latin typeface="+mn-lt"/>
          <a:ea typeface="+mn-ea"/>
          <a:cs typeface="+mn-cs"/>
        </a:defRPr>
      </a:lvl7pPr>
      <a:lvl8pPr marL="5277460" algn="l" defTabSz="1507846" rtl="0" eaLnBrk="1" latinLnBrk="0" hangingPunct="1">
        <a:defRPr sz="2968" kern="1200">
          <a:solidFill>
            <a:schemeClr val="tx1"/>
          </a:solidFill>
          <a:latin typeface="+mn-lt"/>
          <a:ea typeface="+mn-ea"/>
          <a:cs typeface="+mn-cs"/>
        </a:defRPr>
      </a:lvl8pPr>
      <a:lvl9pPr marL="6031382" algn="l" defTabSz="1507846" rtl="0" eaLnBrk="1" latinLnBrk="0" hangingPunct="1">
        <a:defRPr sz="296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57">
          <p15:clr>
            <a:srgbClr val="F26B43"/>
          </p15:clr>
        </p15:guide>
        <p15:guide id="4" pos="7514">
          <p15:clr>
            <a:srgbClr val="F26B43"/>
          </p15:clr>
        </p15:guide>
        <p15:guide id="5" orient="horz" pos="255">
          <p15:clr>
            <a:srgbClr val="F26B43"/>
          </p15:clr>
        </p15:guide>
        <p15:guide id="6" orient="horz" pos="4020">
          <p15:clr>
            <a:srgbClr val="F26B43"/>
          </p15:clr>
        </p15:guide>
        <p15:guide id="7" orient="horz" pos="89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8" Type="http://schemas.openxmlformats.org/officeDocument/2006/relationships/image" Target="../media/image128.png"/><Relationship Id="rId13" Type="http://schemas.openxmlformats.org/officeDocument/2006/relationships/image" Target="../media/image133.png"/><Relationship Id="rId18" Type="http://schemas.openxmlformats.org/officeDocument/2006/relationships/image" Target="../media/image138.png"/><Relationship Id="rId3" Type="http://schemas.openxmlformats.org/officeDocument/2006/relationships/image" Target="../media/image49.png"/><Relationship Id="rId21" Type="http://schemas.openxmlformats.org/officeDocument/2006/relationships/image" Target="../media/image141.png"/><Relationship Id="rId7" Type="http://schemas.openxmlformats.org/officeDocument/2006/relationships/image" Target="../media/image127.png"/><Relationship Id="rId12" Type="http://schemas.openxmlformats.org/officeDocument/2006/relationships/image" Target="../media/image132.svg"/><Relationship Id="rId17" Type="http://schemas.openxmlformats.org/officeDocument/2006/relationships/image" Target="../media/image137.png"/><Relationship Id="rId2" Type="http://schemas.openxmlformats.org/officeDocument/2006/relationships/notesSlide" Target="../notesSlides/notesSlide2.xml"/><Relationship Id="rId16" Type="http://schemas.openxmlformats.org/officeDocument/2006/relationships/image" Target="../media/image136.png"/><Relationship Id="rId20" Type="http://schemas.openxmlformats.org/officeDocument/2006/relationships/image" Target="../media/image140.png"/><Relationship Id="rId1" Type="http://schemas.openxmlformats.org/officeDocument/2006/relationships/slideLayout" Target="../slideLayouts/slideLayout24.xml"/><Relationship Id="rId6" Type="http://schemas.openxmlformats.org/officeDocument/2006/relationships/image" Target="../media/image74.png"/><Relationship Id="rId11" Type="http://schemas.openxmlformats.org/officeDocument/2006/relationships/image" Target="../media/image131.png"/><Relationship Id="rId5" Type="http://schemas.openxmlformats.org/officeDocument/2006/relationships/image" Target="../media/image126.svg"/><Relationship Id="rId15" Type="http://schemas.openxmlformats.org/officeDocument/2006/relationships/image" Target="../media/image135.png"/><Relationship Id="rId10" Type="http://schemas.openxmlformats.org/officeDocument/2006/relationships/image" Target="../media/image130.png"/><Relationship Id="rId19" Type="http://schemas.openxmlformats.org/officeDocument/2006/relationships/image" Target="../media/image139.png"/><Relationship Id="rId4" Type="http://schemas.openxmlformats.org/officeDocument/2006/relationships/image" Target="../media/image125.png"/><Relationship Id="rId9" Type="http://schemas.openxmlformats.org/officeDocument/2006/relationships/image" Target="../media/image129.png"/><Relationship Id="rId14" Type="http://schemas.openxmlformats.org/officeDocument/2006/relationships/image" Target="../media/image134.png"/></Relationships>
</file>

<file path=ppt/slides/_rels/slide3.xml.rels><?xml version="1.0" encoding="UTF-8" standalone="yes"?>
<Relationships xmlns="http://schemas.openxmlformats.org/package/2006/relationships"><Relationship Id="rId8" Type="http://schemas.openxmlformats.org/officeDocument/2006/relationships/image" Target="../media/image147.png"/><Relationship Id="rId3" Type="http://schemas.openxmlformats.org/officeDocument/2006/relationships/image" Target="../media/image142.png"/><Relationship Id="rId7" Type="http://schemas.openxmlformats.org/officeDocument/2006/relationships/image" Target="../media/image146.png"/><Relationship Id="rId2" Type="http://schemas.openxmlformats.org/officeDocument/2006/relationships/notesSlide" Target="../notesSlides/notesSlide3.xml"/><Relationship Id="rId1" Type="http://schemas.openxmlformats.org/officeDocument/2006/relationships/slideLayout" Target="../slideLayouts/slideLayout76.xml"/><Relationship Id="rId6" Type="http://schemas.openxmlformats.org/officeDocument/2006/relationships/image" Target="../media/image145.png"/><Relationship Id="rId5" Type="http://schemas.openxmlformats.org/officeDocument/2006/relationships/image" Target="../media/image144.png"/><Relationship Id="rId4" Type="http://schemas.openxmlformats.org/officeDocument/2006/relationships/image" Target="../media/image143.png"/></Relationships>
</file>

<file path=ppt/slides/_rels/slide4.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4.xml"/><Relationship Id="rId1" Type="http://schemas.openxmlformats.org/officeDocument/2006/relationships/slideLayout" Target="../slideLayouts/slideLayout72.xml"/><Relationship Id="rId5" Type="http://schemas.openxmlformats.org/officeDocument/2006/relationships/image" Target="../media/image150.png"/><Relationship Id="rId4" Type="http://schemas.openxmlformats.org/officeDocument/2006/relationships/image" Target="../media/image149.png"/></Relationships>
</file>

<file path=ppt/slides/_rels/slide5.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5.xml"/><Relationship Id="rId1" Type="http://schemas.openxmlformats.org/officeDocument/2006/relationships/slideLayout" Target="../slideLayouts/slideLayout79.xml"/><Relationship Id="rId5" Type="http://schemas.openxmlformats.org/officeDocument/2006/relationships/image" Target="../media/image153.png"/><Relationship Id="rId4" Type="http://schemas.openxmlformats.org/officeDocument/2006/relationships/image" Target="../media/image152.png"/></Relationships>
</file>

<file path=ppt/slides/_rels/slide6.xml.rels><?xml version="1.0" encoding="UTF-8" standalone="yes"?>
<Relationships xmlns="http://schemas.openxmlformats.org/package/2006/relationships"><Relationship Id="rId8" Type="http://schemas.openxmlformats.org/officeDocument/2006/relationships/image" Target="../media/image159.png"/><Relationship Id="rId13" Type="http://schemas.openxmlformats.org/officeDocument/2006/relationships/image" Target="../media/image164.png"/><Relationship Id="rId3" Type="http://schemas.openxmlformats.org/officeDocument/2006/relationships/image" Target="../media/image154.png"/><Relationship Id="rId7" Type="http://schemas.openxmlformats.org/officeDocument/2006/relationships/image" Target="../media/image158.png"/><Relationship Id="rId12" Type="http://schemas.openxmlformats.org/officeDocument/2006/relationships/image" Target="../media/image163.png"/><Relationship Id="rId2" Type="http://schemas.openxmlformats.org/officeDocument/2006/relationships/notesSlide" Target="../notesSlides/notesSlide6.xml"/><Relationship Id="rId1" Type="http://schemas.openxmlformats.org/officeDocument/2006/relationships/slideLayout" Target="../slideLayouts/slideLayout76.xml"/><Relationship Id="rId6" Type="http://schemas.openxmlformats.org/officeDocument/2006/relationships/image" Target="../media/image157.tiff"/><Relationship Id="rId11" Type="http://schemas.openxmlformats.org/officeDocument/2006/relationships/image" Target="../media/image162.png"/><Relationship Id="rId5" Type="http://schemas.openxmlformats.org/officeDocument/2006/relationships/image" Target="../media/image156.png"/><Relationship Id="rId10" Type="http://schemas.openxmlformats.org/officeDocument/2006/relationships/image" Target="../media/image161.tiff"/><Relationship Id="rId4" Type="http://schemas.openxmlformats.org/officeDocument/2006/relationships/image" Target="../media/image155.png"/><Relationship Id="rId9" Type="http://schemas.openxmlformats.org/officeDocument/2006/relationships/image" Target="../media/image160.png"/><Relationship Id="rId14" Type="http://schemas.openxmlformats.org/officeDocument/2006/relationships/image" Target="../media/image165.png"/></Relationships>
</file>

<file path=ppt/slides/_rels/slide7.xml.rels><?xml version="1.0" encoding="UTF-8" standalone="yes"?>
<Relationships xmlns="http://schemas.openxmlformats.org/package/2006/relationships"><Relationship Id="rId3" Type="http://schemas.openxmlformats.org/officeDocument/2006/relationships/image" Target="../media/image167.png"/><Relationship Id="rId7" Type="http://schemas.openxmlformats.org/officeDocument/2006/relationships/image" Target="../media/image171.tiff"/><Relationship Id="rId2" Type="http://schemas.openxmlformats.org/officeDocument/2006/relationships/image" Target="../media/image166.png"/><Relationship Id="rId1" Type="http://schemas.openxmlformats.org/officeDocument/2006/relationships/slideLayout" Target="../slideLayouts/slideLayout91.xml"/><Relationship Id="rId6" Type="http://schemas.openxmlformats.org/officeDocument/2006/relationships/image" Target="../media/image170.png"/><Relationship Id="rId5" Type="http://schemas.openxmlformats.org/officeDocument/2006/relationships/image" Target="../media/image169.svg"/><Relationship Id="rId4" Type="http://schemas.openxmlformats.org/officeDocument/2006/relationships/image" Target="../media/image168.png"/></Relationships>
</file>

<file path=ppt/slides/_rels/slide8.xml.rels><?xml version="1.0" encoding="UTF-8" standalone="yes"?>
<Relationships xmlns="http://schemas.openxmlformats.org/package/2006/relationships"><Relationship Id="rId8" Type="http://schemas.openxmlformats.org/officeDocument/2006/relationships/image" Target="../media/image165.png"/><Relationship Id="rId13" Type="http://schemas.openxmlformats.org/officeDocument/2006/relationships/image" Target="../media/image177.png"/><Relationship Id="rId3" Type="http://schemas.openxmlformats.org/officeDocument/2006/relationships/image" Target="../media/image172.png"/><Relationship Id="rId7" Type="http://schemas.openxmlformats.org/officeDocument/2006/relationships/image" Target="../media/image173.png"/><Relationship Id="rId12" Type="http://schemas.openxmlformats.org/officeDocument/2006/relationships/image" Target="../media/image176.tiff"/><Relationship Id="rId2" Type="http://schemas.openxmlformats.org/officeDocument/2006/relationships/notesSlide" Target="../notesSlides/notesSlide7.xml"/><Relationship Id="rId1" Type="http://schemas.openxmlformats.org/officeDocument/2006/relationships/slideLayout" Target="../slideLayouts/slideLayout34.xml"/><Relationship Id="rId6" Type="http://schemas.openxmlformats.org/officeDocument/2006/relationships/image" Target="../media/image164.png"/><Relationship Id="rId11" Type="http://schemas.openxmlformats.org/officeDocument/2006/relationships/image" Target="../media/image175.tiff"/><Relationship Id="rId5" Type="http://schemas.openxmlformats.org/officeDocument/2006/relationships/image" Target="../media/image163.png"/><Relationship Id="rId10" Type="http://schemas.openxmlformats.org/officeDocument/2006/relationships/image" Target="../media/image174.tiff"/><Relationship Id="rId4" Type="http://schemas.openxmlformats.org/officeDocument/2006/relationships/image" Target="../media/image162.png"/><Relationship Id="rId9" Type="http://schemas.openxmlformats.org/officeDocument/2006/relationships/image" Target="../media/image148.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object 13"/>
          <p:cNvSpPr txBox="1">
            <a:spLocks noGrp="1"/>
          </p:cNvSpPr>
          <p:nvPr>
            <p:ph type="ftr" sz="quarter" idx="10"/>
          </p:nvPr>
        </p:nvSpPr>
        <p:spPr>
          <a:prstGeom prst="rect">
            <a:avLst/>
          </a:prstGeom>
        </p:spPr>
        <p:txBody>
          <a:bodyPr vert="horz" wrap="square" lIns="0" tIns="3810" rIns="0" bIns="0" rtlCol="0">
            <a:spAutoFit/>
          </a:bodyPr>
          <a:lstStyle/>
          <a:p>
            <a:pPr marL="26034">
              <a:lnSpc>
                <a:spcPct val="100000"/>
              </a:lnSpc>
              <a:spcBef>
                <a:spcPts val="30"/>
              </a:spcBef>
            </a:pPr>
            <a:r>
              <a:rPr>
                <a:solidFill>
                  <a:schemeClr val="bg1"/>
                </a:solidFill>
              </a:rPr>
              <a:t>Public</a:t>
            </a:r>
            <a:r>
              <a:rPr spc="-40">
                <a:solidFill>
                  <a:schemeClr val="bg1"/>
                </a:solidFill>
              </a:rPr>
              <a:t> </a:t>
            </a:r>
            <a:r>
              <a:rPr>
                <a:solidFill>
                  <a:schemeClr val="bg1"/>
                </a:solidFill>
              </a:rPr>
              <a:t>©</a:t>
            </a:r>
            <a:r>
              <a:rPr spc="-40">
                <a:solidFill>
                  <a:schemeClr val="bg1"/>
                </a:solidFill>
              </a:rPr>
              <a:t> </a:t>
            </a:r>
            <a:r>
              <a:rPr>
                <a:solidFill>
                  <a:schemeClr val="bg1"/>
                </a:solidFill>
              </a:rPr>
              <a:t>202</a:t>
            </a:r>
            <a:r>
              <a:rPr lang="es-ES">
                <a:solidFill>
                  <a:schemeClr val="bg1"/>
                </a:solidFill>
              </a:rPr>
              <a:t>3</a:t>
            </a:r>
            <a:r>
              <a:rPr spc="-40">
                <a:solidFill>
                  <a:schemeClr val="bg1"/>
                </a:solidFill>
              </a:rPr>
              <a:t> </a:t>
            </a:r>
            <a:r>
              <a:rPr spc="-10">
                <a:solidFill>
                  <a:schemeClr val="bg1"/>
                </a:solidFill>
              </a:rPr>
              <a:t>Sogeti.</a:t>
            </a:r>
            <a:r>
              <a:rPr spc="-35">
                <a:solidFill>
                  <a:schemeClr val="bg1"/>
                </a:solidFill>
              </a:rPr>
              <a:t> </a:t>
            </a:r>
            <a:r>
              <a:rPr>
                <a:solidFill>
                  <a:schemeClr val="bg1"/>
                </a:solidFill>
              </a:rPr>
              <a:t>All</a:t>
            </a:r>
            <a:r>
              <a:rPr spc="-40">
                <a:solidFill>
                  <a:schemeClr val="bg1"/>
                </a:solidFill>
              </a:rPr>
              <a:t> </a:t>
            </a:r>
            <a:r>
              <a:rPr>
                <a:solidFill>
                  <a:schemeClr val="bg1"/>
                </a:solidFill>
              </a:rPr>
              <a:t>rights</a:t>
            </a:r>
            <a:r>
              <a:rPr spc="-40">
                <a:solidFill>
                  <a:schemeClr val="bg1"/>
                </a:solidFill>
              </a:rPr>
              <a:t> </a:t>
            </a:r>
            <a:r>
              <a:rPr spc="-10">
                <a:solidFill>
                  <a:schemeClr val="bg1"/>
                </a:solidFill>
              </a:rPr>
              <a:t>reserved</a:t>
            </a:r>
          </a:p>
        </p:txBody>
      </p:sp>
      <p:sp>
        <p:nvSpPr>
          <p:cNvPr id="2" name="CuadroTexto 1">
            <a:extLst>
              <a:ext uri="{FF2B5EF4-FFF2-40B4-BE49-F238E27FC236}">
                <a16:creationId xmlns:a16="http://schemas.microsoft.com/office/drawing/2014/main" id="{233F09AA-3722-C72E-A352-D230B6C4253E}"/>
              </a:ext>
            </a:extLst>
          </p:cNvPr>
          <p:cNvSpPr txBox="1"/>
          <p:nvPr/>
        </p:nvSpPr>
        <p:spPr>
          <a:xfrm>
            <a:off x="16505695" y="1534332"/>
            <a:ext cx="184731" cy="369332"/>
          </a:xfrm>
          <a:prstGeom prst="rect">
            <a:avLst/>
          </a:prstGeom>
          <a:noFill/>
        </p:spPr>
        <p:txBody>
          <a:bodyPr wrap="none" rtlCol="0">
            <a:spAutoFit/>
          </a:bodyPr>
          <a:lstStyle/>
          <a:p>
            <a:endParaRPr lang="es-ES"/>
          </a:p>
        </p:txBody>
      </p:sp>
    </p:spTree>
    <p:extLst>
      <p:ext uri="{BB962C8B-B14F-4D97-AF65-F5344CB8AC3E}">
        <p14:creationId xmlns:p14="http://schemas.microsoft.com/office/powerpoint/2010/main" val="401207041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Forma libre 35">
            <a:extLst>
              <a:ext uri="{FF2B5EF4-FFF2-40B4-BE49-F238E27FC236}">
                <a16:creationId xmlns:a16="http://schemas.microsoft.com/office/drawing/2014/main" id="{89C88585-7850-5EAF-5E2D-CE838D026CBC}"/>
              </a:ext>
            </a:extLst>
          </p:cNvPr>
          <p:cNvSpPr/>
          <p:nvPr/>
        </p:nvSpPr>
        <p:spPr>
          <a:xfrm>
            <a:off x="4211442" y="7550068"/>
            <a:ext cx="15328628" cy="3757830"/>
          </a:xfrm>
          <a:custGeom>
            <a:avLst/>
            <a:gdLst>
              <a:gd name="connsiteX0" fmla="*/ 1957079 w 23672908"/>
              <a:gd name="connsiteY0" fmla="*/ 1351439 h 4738310"/>
              <a:gd name="connsiteX1" fmla="*/ 5331651 w 23672908"/>
              <a:gd name="connsiteY1" fmla="*/ 1307897 h 4738310"/>
              <a:gd name="connsiteX2" fmla="*/ 7770051 w 23672908"/>
              <a:gd name="connsiteY2" fmla="*/ 328182 h 4738310"/>
              <a:gd name="connsiteX3" fmla="*/ 10469708 w 23672908"/>
              <a:gd name="connsiteY3" fmla="*/ 219325 h 4738310"/>
              <a:gd name="connsiteX4" fmla="*/ 12755708 w 23672908"/>
              <a:gd name="connsiteY4" fmla="*/ 480582 h 4738310"/>
              <a:gd name="connsiteX5" fmla="*/ 16108508 w 23672908"/>
              <a:gd name="connsiteY5" fmla="*/ 1611 h 4738310"/>
              <a:gd name="connsiteX6" fmla="*/ 18568679 w 23672908"/>
              <a:gd name="connsiteY6" fmla="*/ 349954 h 4738310"/>
              <a:gd name="connsiteX7" fmla="*/ 19853194 w 23672908"/>
              <a:gd name="connsiteY7" fmla="*/ 1003097 h 4738310"/>
              <a:gd name="connsiteX8" fmla="*/ 21377194 w 23672908"/>
              <a:gd name="connsiteY8" fmla="*/ 1307897 h 4738310"/>
              <a:gd name="connsiteX9" fmla="*/ 22073879 w 23672908"/>
              <a:gd name="connsiteY9" fmla="*/ 1852182 h 4738310"/>
              <a:gd name="connsiteX10" fmla="*/ 22139194 w 23672908"/>
              <a:gd name="connsiteY10" fmla="*/ 4094639 h 4738310"/>
              <a:gd name="connsiteX11" fmla="*/ 1521651 w 23672908"/>
              <a:gd name="connsiteY11" fmla="*/ 4551839 h 4738310"/>
              <a:gd name="connsiteX12" fmla="*/ 1957079 w 23672908"/>
              <a:gd name="connsiteY12" fmla="*/ 1351439 h 4738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672908" h="4738310">
                <a:moveTo>
                  <a:pt x="1957079" y="1351439"/>
                </a:moveTo>
                <a:cubicBezTo>
                  <a:pt x="2592079" y="810782"/>
                  <a:pt x="4362822" y="1478440"/>
                  <a:pt x="5331651" y="1307897"/>
                </a:cubicBezTo>
                <a:cubicBezTo>
                  <a:pt x="6300480" y="1137354"/>
                  <a:pt x="6913708" y="509611"/>
                  <a:pt x="7770051" y="328182"/>
                </a:cubicBezTo>
                <a:cubicBezTo>
                  <a:pt x="8626394" y="146753"/>
                  <a:pt x="9638765" y="193925"/>
                  <a:pt x="10469708" y="219325"/>
                </a:cubicBezTo>
                <a:cubicBezTo>
                  <a:pt x="11300651" y="244725"/>
                  <a:pt x="11815908" y="516868"/>
                  <a:pt x="12755708" y="480582"/>
                </a:cubicBezTo>
                <a:cubicBezTo>
                  <a:pt x="13695508" y="444296"/>
                  <a:pt x="15139680" y="23382"/>
                  <a:pt x="16108508" y="1611"/>
                </a:cubicBezTo>
                <a:cubicBezTo>
                  <a:pt x="17077336" y="-20160"/>
                  <a:pt x="17944565" y="183040"/>
                  <a:pt x="18568679" y="349954"/>
                </a:cubicBezTo>
                <a:cubicBezTo>
                  <a:pt x="19192793" y="516868"/>
                  <a:pt x="19385108" y="843440"/>
                  <a:pt x="19853194" y="1003097"/>
                </a:cubicBezTo>
                <a:cubicBezTo>
                  <a:pt x="20321280" y="1162754"/>
                  <a:pt x="21007080" y="1166383"/>
                  <a:pt x="21377194" y="1307897"/>
                </a:cubicBezTo>
                <a:cubicBezTo>
                  <a:pt x="21747308" y="1449411"/>
                  <a:pt x="21946879" y="1387725"/>
                  <a:pt x="22073879" y="1852182"/>
                </a:cubicBezTo>
                <a:cubicBezTo>
                  <a:pt x="22200879" y="2316639"/>
                  <a:pt x="25564565" y="3644696"/>
                  <a:pt x="22139194" y="4094639"/>
                </a:cubicBezTo>
                <a:cubicBezTo>
                  <a:pt x="18713823" y="4544582"/>
                  <a:pt x="4881708" y="5005410"/>
                  <a:pt x="1521651" y="4551839"/>
                </a:cubicBezTo>
                <a:cubicBezTo>
                  <a:pt x="-1838406" y="4098268"/>
                  <a:pt x="1322079" y="1892096"/>
                  <a:pt x="1957079" y="1351439"/>
                </a:cubicBezTo>
                <a:close/>
              </a:path>
            </a:pathLst>
          </a:custGeom>
          <a:gradFill flip="none" rotWithShape="1">
            <a:gsLst>
              <a:gs pos="0">
                <a:srgbClr val="95E616">
                  <a:alpha val="22178"/>
                </a:srgbClr>
              </a:gs>
              <a:gs pos="50000">
                <a:srgbClr val="95E616">
                  <a:alpha val="3241"/>
                </a:srgbClr>
              </a:gs>
              <a:gs pos="100000">
                <a:srgbClr val="95E616">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0" name="object 30"/>
          <p:cNvSpPr txBox="1">
            <a:spLocks noGrp="1"/>
          </p:cNvSpPr>
          <p:nvPr>
            <p:ph type="title"/>
          </p:nvPr>
        </p:nvSpPr>
        <p:spPr>
          <a:xfrm>
            <a:off x="940325" y="1042050"/>
            <a:ext cx="5393621" cy="4012550"/>
          </a:xfrm>
          <a:prstGeom prst="rect">
            <a:avLst/>
          </a:prstGeom>
        </p:spPr>
        <p:txBody>
          <a:bodyPr vert="horz" wrap="square" lIns="0" tIns="201844" rIns="0" bIns="0" rtlCol="0">
            <a:spAutoFit/>
          </a:bodyPr>
          <a:lstStyle/>
          <a:p>
            <a:pPr>
              <a:lnSpc>
                <a:spcPct val="100000"/>
              </a:lnSpc>
              <a:spcBef>
                <a:spcPts val="95"/>
              </a:spcBef>
            </a:pPr>
            <a:r>
              <a:rPr lang="en-US" sz="4950"/>
              <a:t>Flourishing </a:t>
            </a:r>
            <a:r>
              <a:rPr lang="en-US" sz="4950" spc="-100">
                <a:solidFill>
                  <a:schemeClr val="tx1"/>
                </a:solidFill>
                <a:latin typeface="Ubuntu Light" panose="020B0304030602030204" pitchFamily="34" charset="0"/>
              </a:rPr>
              <a:t>digital </a:t>
            </a:r>
            <a:br>
              <a:rPr lang="en-US" sz="4950" spc="-100">
                <a:solidFill>
                  <a:schemeClr val="tx1"/>
                </a:solidFill>
                <a:latin typeface="Ubuntu Light" panose="020B0304030602030204" pitchFamily="34" charset="0"/>
              </a:rPr>
            </a:br>
            <a:r>
              <a:rPr lang="en-US" sz="4950" spc="-100">
                <a:solidFill>
                  <a:schemeClr val="tx1"/>
                </a:solidFill>
                <a:latin typeface="Ubuntu Light" panose="020B0304030602030204" pitchFamily="34" charset="0"/>
              </a:rPr>
              <a:t>business with</a:t>
            </a:r>
            <a:br>
              <a:rPr lang="en-US" sz="4950" spc="-100">
                <a:solidFill>
                  <a:srgbClr val="0070AD"/>
                </a:solidFill>
                <a:latin typeface="Ubuntu" panose="020B0504030602030204" pitchFamily="34" charset="0"/>
              </a:rPr>
            </a:br>
            <a:r>
              <a:rPr lang="en-US" sz="4950" b="1" spc="-100">
                <a:solidFill>
                  <a:srgbClr val="00B050"/>
                </a:solidFill>
                <a:latin typeface="Ubuntu" panose="020B0504030602030204" pitchFamily="34" charset="0"/>
              </a:rPr>
              <a:t>quality engineering </a:t>
            </a:r>
            <a:br>
              <a:rPr lang="en-US" sz="4950" b="1" spc="-100">
                <a:solidFill>
                  <a:srgbClr val="00B050"/>
                </a:solidFill>
                <a:latin typeface="Ubuntu" panose="020B0504030602030204" pitchFamily="34" charset="0"/>
              </a:rPr>
            </a:br>
            <a:r>
              <a:rPr lang="en-US" sz="4950" b="1" spc="-100">
                <a:solidFill>
                  <a:srgbClr val="00B050"/>
                </a:solidFill>
                <a:latin typeface="Ubuntu" panose="020B0504030602030204" pitchFamily="34" charset="0"/>
              </a:rPr>
              <a:t>&amp; testing</a:t>
            </a:r>
            <a:endParaRPr lang="en-US" sz="4950" b="1">
              <a:solidFill>
                <a:srgbClr val="00B050"/>
              </a:solidFill>
              <a:latin typeface="Ubuntu" panose="020B0504030602030204" pitchFamily="34" charset="0"/>
              <a:cs typeface="Ubuntu"/>
            </a:endParaRPr>
          </a:p>
        </p:txBody>
      </p:sp>
      <p:sp>
        <p:nvSpPr>
          <p:cNvPr id="21" name="CuadroTexto 20">
            <a:extLst>
              <a:ext uri="{FF2B5EF4-FFF2-40B4-BE49-F238E27FC236}">
                <a16:creationId xmlns:a16="http://schemas.microsoft.com/office/drawing/2014/main" id="{68CDE772-4319-7445-FB06-5D891D9C9128}"/>
              </a:ext>
            </a:extLst>
          </p:cNvPr>
          <p:cNvSpPr txBox="1"/>
          <p:nvPr/>
        </p:nvSpPr>
        <p:spPr>
          <a:xfrm>
            <a:off x="21210494" y="7028329"/>
            <a:ext cx="184731" cy="369332"/>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sysClr val="windowText" lastClr="000000"/>
              </a:solidFill>
              <a:effectLst/>
              <a:uLnTx/>
              <a:uFillTx/>
            </a:endParaRPr>
          </a:p>
        </p:txBody>
      </p:sp>
      <p:grpSp>
        <p:nvGrpSpPr>
          <p:cNvPr id="2" name="Grupo 1">
            <a:extLst>
              <a:ext uri="{FF2B5EF4-FFF2-40B4-BE49-F238E27FC236}">
                <a16:creationId xmlns:a16="http://schemas.microsoft.com/office/drawing/2014/main" id="{2180FB39-98BD-67DD-5007-82246D1E6893}"/>
              </a:ext>
            </a:extLst>
          </p:cNvPr>
          <p:cNvGrpSpPr/>
          <p:nvPr/>
        </p:nvGrpSpPr>
        <p:grpSpPr>
          <a:xfrm>
            <a:off x="4960020" y="923466"/>
            <a:ext cx="14045762" cy="13427534"/>
            <a:chOff x="6352460" y="2461279"/>
            <a:chExt cx="8190754" cy="8130880"/>
          </a:xfrm>
        </p:grpSpPr>
        <p:sp>
          <p:nvSpPr>
            <p:cNvPr id="12" name="Rectángulo 11">
              <a:extLst>
                <a:ext uri="{FF2B5EF4-FFF2-40B4-BE49-F238E27FC236}">
                  <a16:creationId xmlns:a16="http://schemas.microsoft.com/office/drawing/2014/main" id="{0032BDA8-8627-F505-636E-03EA0CA1D45E}"/>
                </a:ext>
              </a:extLst>
            </p:cNvPr>
            <p:cNvSpPr/>
            <p:nvPr/>
          </p:nvSpPr>
          <p:spPr>
            <a:xfrm>
              <a:off x="6352460" y="2461279"/>
              <a:ext cx="8190754" cy="7560851"/>
            </a:xfrm>
            <a:prstGeom prst="rect">
              <a:avLst/>
            </a:prstGeom>
            <a:noFill/>
          </p:spPr>
          <p:txBody>
            <a:bodyPr wrap="none" lIns="91440" tIns="45720" rIns="91440" bIns="45720">
              <a:prstTxWarp prst="textArchUp">
                <a:avLst>
                  <a:gd name="adj" fmla="val 10774961"/>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3200" b="1" i="0" u="none" strike="noStrike" kern="0" cap="none" spc="0" normalizeH="0" baseline="0" noProof="0">
                  <a:ln w="0"/>
                  <a:gradFill flip="none" rotWithShape="1">
                    <a:gsLst>
                      <a:gs pos="0">
                        <a:srgbClr val="00B050"/>
                      </a:gs>
                      <a:gs pos="50000">
                        <a:srgbClr val="95E616"/>
                      </a:gs>
                      <a:gs pos="100000">
                        <a:srgbClr val="00B050"/>
                      </a:gs>
                    </a:gsLst>
                    <a:path path="circle">
                      <a:fillToRect l="50000" t="50000" r="50000" b="50000"/>
                    </a:path>
                    <a:tileRect/>
                  </a:gradFill>
                  <a:effectLst/>
                  <a:uLnTx/>
                  <a:uFillTx/>
                  <a:latin typeface="Ubuntu Mono" panose="020B0509030602030204" pitchFamily="49" charset="0"/>
                </a:rPr>
                <a:t>CONTINUOUS QUALITY ENGINEERING &amp; TESTING</a:t>
              </a:r>
            </a:p>
          </p:txBody>
        </p:sp>
        <p:sp>
          <p:nvSpPr>
            <p:cNvPr id="26" name="Arco 25">
              <a:extLst>
                <a:ext uri="{FF2B5EF4-FFF2-40B4-BE49-F238E27FC236}">
                  <a16:creationId xmlns:a16="http://schemas.microsoft.com/office/drawing/2014/main" id="{A03F323D-E18A-463F-D374-F7440F70DBC5}"/>
                </a:ext>
              </a:extLst>
            </p:cNvPr>
            <p:cNvSpPr/>
            <p:nvPr/>
          </p:nvSpPr>
          <p:spPr>
            <a:xfrm>
              <a:off x="6475327" y="2611176"/>
              <a:ext cx="7970052" cy="7980983"/>
            </a:xfrm>
            <a:prstGeom prst="arc">
              <a:avLst>
                <a:gd name="adj1" fmla="val 10420902"/>
                <a:gd name="adj2" fmla="val 21155516"/>
              </a:avLst>
            </a:prstGeom>
            <a:gradFill>
              <a:gsLst>
                <a:gs pos="0">
                  <a:srgbClr val="95E616">
                    <a:alpha val="16000"/>
                  </a:srgbClr>
                </a:gs>
                <a:gs pos="42000">
                  <a:srgbClr val="00B050">
                    <a:alpha val="2000"/>
                  </a:srgbClr>
                </a:gs>
                <a:gs pos="99000">
                  <a:srgbClr val="95E616">
                    <a:alpha val="0"/>
                  </a:srgbClr>
                </a:gs>
              </a:gsLst>
              <a:lin ang="5400000" scaled="1"/>
            </a:gradFill>
            <a:ln w="76200">
              <a:gradFill>
                <a:gsLst>
                  <a:gs pos="0">
                    <a:srgbClr val="95E616"/>
                  </a:gs>
                  <a:gs pos="42000">
                    <a:srgbClr val="00B050"/>
                  </a:gs>
                  <a:gs pos="100000">
                    <a:srgbClr val="95E616"/>
                  </a:gs>
                </a:gsLst>
                <a:lin ang="5400000" scaled="1"/>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ES" sz="1600">
                <a:solidFill>
                  <a:prstClr val="black"/>
                </a:solidFill>
                <a:latin typeface="Calibri"/>
              </a:endParaRPr>
            </a:p>
          </p:txBody>
        </p:sp>
      </p:grpSp>
      <p:pic>
        <p:nvPicPr>
          <p:cNvPr id="34" name="Imagen 33" descr="Imagen que contiene fuegos artificiales, animal&#10;&#10;Descripción generada automáticamente">
            <a:extLst>
              <a:ext uri="{FF2B5EF4-FFF2-40B4-BE49-F238E27FC236}">
                <a16:creationId xmlns:a16="http://schemas.microsoft.com/office/drawing/2014/main" id="{15743FB9-F1F7-F698-44CC-CF2AAD4E14DA}"/>
              </a:ext>
            </a:extLst>
          </p:cNvPr>
          <p:cNvPicPr>
            <a:picLocks noChangeAspect="1"/>
          </p:cNvPicPr>
          <p:nvPr/>
        </p:nvPicPr>
        <p:blipFill rotWithShape="1">
          <a:blip r:embed="rId3">
            <a:extLst>
              <a:ext uri="{28A0092B-C50C-407E-A947-70E740481C1C}">
                <a14:useLocalDpi xmlns:a14="http://schemas.microsoft.com/office/drawing/2010/main"/>
              </a:ext>
            </a:extLst>
          </a:blip>
          <a:srcRect t="1" r="10399" b="22422"/>
          <a:stretch/>
        </p:blipFill>
        <p:spPr>
          <a:xfrm>
            <a:off x="9390888" y="3885586"/>
            <a:ext cx="4897396" cy="4167036"/>
          </a:xfrm>
          <a:prstGeom prst="rect">
            <a:avLst/>
          </a:prstGeom>
        </p:spPr>
      </p:pic>
      <p:sp>
        <p:nvSpPr>
          <p:cNvPr id="56" name="Rectángulo 55">
            <a:extLst>
              <a:ext uri="{FF2B5EF4-FFF2-40B4-BE49-F238E27FC236}">
                <a16:creationId xmlns:a16="http://schemas.microsoft.com/office/drawing/2014/main" id="{F98DC9C3-D965-3C5A-F4D8-311B6562B03C}"/>
              </a:ext>
            </a:extLst>
          </p:cNvPr>
          <p:cNvSpPr/>
          <p:nvPr/>
        </p:nvSpPr>
        <p:spPr>
          <a:xfrm>
            <a:off x="9475592" y="4407121"/>
            <a:ext cx="5098889" cy="4938495"/>
          </a:xfrm>
          <a:prstGeom prst="rect">
            <a:avLst/>
          </a:prstGeom>
          <a:noFill/>
        </p:spPr>
        <p:txBody>
          <a:bodyPr wrap="none" lIns="91440" tIns="45720" rIns="91440" bIns="45720">
            <a:prstTxWarp prst="textArchUp">
              <a:avLst>
                <a:gd name="adj" fmla="val 10774961"/>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s-ES" b="1">
                <a:ln w="0"/>
                <a:gradFill flip="none" rotWithShape="1">
                  <a:gsLst>
                    <a:gs pos="0">
                      <a:srgbClr val="12A9D8"/>
                    </a:gs>
                    <a:gs pos="50000">
                      <a:srgbClr val="4F81BD">
                        <a:shade val="67500"/>
                        <a:satMod val="115000"/>
                      </a:srgbClr>
                    </a:gs>
                    <a:gs pos="100000">
                      <a:srgbClr val="12A9D8"/>
                    </a:gs>
                  </a:gsLst>
                  <a:path path="circle">
                    <a:fillToRect l="100000" t="100000"/>
                  </a:path>
                  <a:tileRect r="-100000" b="-100000"/>
                </a:gradFill>
                <a:latin typeface="Ubuntu Mono" panose="020B0509030602030204" pitchFamily="49" charset="0"/>
              </a:rPr>
              <a:t>LEGACY, </a:t>
            </a:r>
            <a:r>
              <a:rPr kumimoji="0" lang="es-ES" b="1" i="0" u="none" strike="noStrike" kern="0" cap="none" spc="0" normalizeH="0" baseline="0" noProof="0">
                <a:ln w="0"/>
                <a:gradFill flip="none" rotWithShape="1">
                  <a:gsLst>
                    <a:gs pos="0">
                      <a:srgbClr val="12A9D8"/>
                    </a:gs>
                    <a:gs pos="50000">
                      <a:srgbClr val="4F81BD">
                        <a:shade val="67500"/>
                        <a:satMod val="115000"/>
                      </a:srgbClr>
                    </a:gs>
                    <a:gs pos="100000">
                      <a:srgbClr val="12A9D8"/>
                    </a:gs>
                  </a:gsLst>
                  <a:path path="circle">
                    <a:fillToRect l="100000" t="100000"/>
                  </a:path>
                  <a:tileRect r="-100000" b="-100000"/>
                </a:gradFill>
                <a:effectLst/>
                <a:uLnTx/>
                <a:uFillTx/>
                <a:latin typeface="Ubuntu Mono" panose="020B0509030602030204" pitchFamily="49" charset="0"/>
              </a:rPr>
              <a:t>DIGITAL, MODERN AND CLOUD-BASED SOLUTIONS</a:t>
            </a:r>
          </a:p>
        </p:txBody>
      </p:sp>
      <p:sp>
        <p:nvSpPr>
          <p:cNvPr id="20" name="object 29">
            <a:extLst>
              <a:ext uri="{FF2B5EF4-FFF2-40B4-BE49-F238E27FC236}">
                <a16:creationId xmlns:a16="http://schemas.microsoft.com/office/drawing/2014/main" id="{606D3870-8733-B618-9B38-BCA6982761BE}"/>
              </a:ext>
            </a:extLst>
          </p:cNvPr>
          <p:cNvSpPr txBox="1"/>
          <p:nvPr/>
        </p:nvSpPr>
        <p:spPr>
          <a:xfrm>
            <a:off x="11151329" y="1954788"/>
            <a:ext cx="3851924" cy="2187074"/>
          </a:xfrm>
          <a:prstGeom prst="rect">
            <a:avLst/>
          </a:prstGeom>
        </p:spPr>
        <p:txBody>
          <a:bodyPr vert="horz" wrap="square" lIns="0" tIns="12065" rIns="0" bIns="0" rtlCol="0">
            <a:spAutoFit/>
          </a:bodyPr>
          <a:lstStyle/>
          <a:p>
            <a:pPr marL="12700" marR="5080" lvl="0" indent="0" algn="l" defTabSz="914400" eaLnBrk="1" fontAlgn="auto" latinLnBrk="0" hangingPunct="1">
              <a:lnSpc>
                <a:spcPct val="100000"/>
              </a:lnSpc>
              <a:spcBef>
                <a:spcPts val="0"/>
              </a:spcBef>
              <a:spcAft>
                <a:spcPts val="0"/>
              </a:spcAft>
              <a:buClrTx/>
              <a:buSzTx/>
              <a:buFontTx/>
              <a:buNone/>
              <a:tabLst/>
              <a:defRPr/>
            </a:pPr>
            <a:r>
              <a:rPr kumimoji="0" lang="es-ES" sz="2400" b="1" i="0" u="none" strike="noStrike" kern="0" cap="none" spc="-10" normalizeH="0" baseline="0" noProof="0">
                <a:ln>
                  <a:noFill/>
                </a:ln>
                <a:solidFill>
                  <a:srgbClr val="00B050"/>
                </a:solidFill>
                <a:effectLst/>
                <a:uLnTx/>
                <a:uFillTx/>
                <a:latin typeface="Ubuntu" panose="020B0504030602030204" pitchFamily="34" charset="0"/>
                <a:cs typeface="Ubuntu Light"/>
              </a:rPr>
              <a:t>SMART</a:t>
            </a:r>
          </a:p>
          <a:p>
            <a:pPr marL="12700" marR="5080" lvl="0" indent="0" algn="l" defTabSz="914400" eaLnBrk="1" fontAlgn="auto" latinLnBrk="0" hangingPunct="1">
              <a:lnSpc>
                <a:spcPct val="100000"/>
              </a:lnSpc>
              <a:spcBef>
                <a:spcPts val="0"/>
              </a:spcBef>
              <a:spcAft>
                <a:spcPts val="0"/>
              </a:spcAft>
              <a:buClrTx/>
              <a:buSzTx/>
              <a:buFontTx/>
              <a:buNone/>
              <a:tabLst/>
              <a:defRPr/>
            </a:pPr>
            <a:r>
              <a:rPr kumimoji="0" lang="es-ES" sz="2400" b="1" i="0" u="none" strike="noStrike" kern="0" cap="none" spc="-10" normalizeH="0" baseline="0" noProof="0">
                <a:ln>
                  <a:noFill/>
                </a:ln>
                <a:solidFill>
                  <a:srgbClr val="00B050"/>
                </a:solidFill>
                <a:effectLst/>
                <a:uLnTx/>
                <a:uFillTx/>
                <a:latin typeface="Ubuntu" panose="020B0504030602030204" pitchFamily="34" charset="0"/>
                <a:cs typeface="Ubuntu Light"/>
              </a:rPr>
              <a:t>&amp; AUTOMATED</a:t>
            </a:r>
            <a:r>
              <a:rPr kumimoji="0" lang="es-ES" sz="1600" b="1" i="0" u="none" strike="noStrike" kern="0" cap="none" spc="-10" normalizeH="0" baseline="0" noProof="0">
                <a:ln>
                  <a:noFill/>
                </a:ln>
                <a:solidFill>
                  <a:srgbClr val="00B050"/>
                </a:solidFill>
                <a:effectLst/>
                <a:uLnTx/>
                <a:uFillTx/>
                <a:latin typeface="Ubuntu" panose="020B0504030602030204" pitchFamily="34" charset="0"/>
                <a:cs typeface="Ubuntu Light"/>
              </a:rPr>
              <a:t> </a:t>
            </a:r>
          </a:p>
          <a:p>
            <a:pPr marL="12700" marR="5080" lvl="0" indent="0" algn="l" defTabSz="914400" eaLnBrk="1" fontAlgn="auto" latinLnBrk="0" hangingPunct="1">
              <a:lnSpc>
                <a:spcPct val="100000"/>
              </a:lnSpc>
              <a:spcBef>
                <a:spcPts val="0"/>
              </a:spcBef>
              <a:spcAft>
                <a:spcPts val="0"/>
              </a:spcAft>
              <a:buClrTx/>
              <a:buSzTx/>
              <a:buFontTx/>
              <a:buNone/>
              <a:tabLst/>
              <a:defRPr/>
            </a:pPr>
            <a:r>
              <a:rPr kumimoji="0" lang="es-ES" sz="1600" b="1" i="0" u="none" strike="noStrike" kern="0" cap="none" spc="-10" normalizeH="0" baseline="0" noProof="0">
                <a:ln>
                  <a:noFill/>
                </a:ln>
                <a:solidFill>
                  <a:srgbClr val="00B050"/>
                </a:solidFill>
                <a:effectLst/>
                <a:uLnTx/>
                <a:uFillTx/>
                <a:latin typeface="Ubuntu" panose="020B0504030602030204" pitchFamily="34" charset="0"/>
                <a:cs typeface="Ubuntu Light"/>
              </a:rPr>
              <a:t>QE &amp; TESTING</a:t>
            </a:r>
          </a:p>
          <a:p>
            <a:pPr marL="184150" marR="5080" lvl="0" indent="-171450" algn="l" defTabSz="914400" eaLnBrk="1" fontAlgn="auto" latinLnBrk="0" hangingPunct="1">
              <a:lnSpc>
                <a:spcPct val="100000"/>
              </a:lnSpc>
              <a:spcBef>
                <a:spcPts val="95"/>
              </a:spcBef>
              <a:spcAft>
                <a:spcPts val="0"/>
              </a:spcAft>
              <a:buClrTx/>
              <a:buSzTx/>
              <a:buFont typeface="Wingdings" pitchFamily="2" charset="2"/>
              <a:buChar char="§"/>
              <a:tabLst/>
              <a:defRPr/>
            </a:pPr>
            <a:r>
              <a:rPr kumimoji="0" lang="en-US" sz="1600" b="0" i="0" u="none" strike="noStrike" kern="0" cap="none" spc="-10" normalizeH="0" baseline="0" noProof="0">
                <a:ln>
                  <a:noFill/>
                </a:ln>
                <a:solidFill>
                  <a:sysClr val="windowText" lastClr="000000"/>
                </a:solidFill>
                <a:effectLst/>
                <a:uLnTx/>
                <a:uFillTx/>
                <a:latin typeface="Ubuntu Light"/>
                <a:cs typeface="Ubuntu Light"/>
              </a:rPr>
              <a:t>Frameworks design, implementation, and integration (desktop, web, mobile)</a:t>
            </a:r>
          </a:p>
          <a:p>
            <a:pPr marL="184150" marR="5080" lvl="0" indent="-171450" algn="l" defTabSz="914400" eaLnBrk="1" fontAlgn="auto" latinLnBrk="0" hangingPunct="1">
              <a:lnSpc>
                <a:spcPct val="100000"/>
              </a:lnSpc>
              <a:spcBef>
                <a:spcPts val="95"/>
              </a:spcBef>
              <a:spcAft>
                <a:spcPts val="0"/>
              </a:spcAft>
              <a:buClrTx/>
              <a:buSzTx/>
              <a:buFont typeface="Wingdings" pitchFamily="2" charset="2"/>
              <a:buChar char="§"/>
              <a:tabLst/>
              <a:defRPr/>
            </a:pPr>
            <a:r>
              <a:rPr kumimoji="0" lang="en-US" sz="1600" b="0" i="0" u="none" strike="noStrike" kern="0" cap="none" spc="-10" normalizeH="0" baseline="0" noProof="0">
                <a:ln>
                  <a:noFill/>
                </a:ln>
                <a:solidFill>
                  <a:sysClr val="windowText" lastClr="000000"/>
                </a:solidFill>
                <a:effectLst/>
                <a:uLnTx/>
                <a:uFillTx/>
                <a:latin typeface="Ubuntu Light"/>
                <a:cs typeface="Ubuntu Light"/>
              </a:rPr>
              <a:t>Automation tests development, execution, and reporting</a:t>
            </a:r>
          </a:p>
          <a:p>
            <a:pPr marL="12700" marR="5080" lvl="0" indent="0" algn="ctr" defTabSz="914400" eaLnBrk="1" fontAlgn="auto" latinLnBrk="0" hangingPunct="1">
              <a:lnSpc>
                <a:spcPct val="114999"/>
              </a:lnSpc>
              <a:spcBef>
                <a:spcPts val="95"/>
              </a:spcBef>
              <a:spcAft>
                <a:spcPts val="0"/>
              </a:spcAft>
              <a:buClrTx/>
              <a:buSzTx/>
              <a:buFontTx/>
              <a:buNone/>
              <a:tabLst/>
              <a:defRPr/>
            </a:pPr>
            <a:endParaRPr kumimoji="0" lang="es-ES" sz="1050" b="0" i="0" u="none" strike="noStrike" kern="0" cap="none" spc="-10" normalizeH="0" baseline="0" noProof="0">
              <a:ln>
                <a:noFill/>
              </a:ln>
              <a:solidFill>
                <a:sysClr val="windowText" lastClr="000000"/>
              </a:solidFill>
              <a:effectLst/>
              <a:uLnTx/>
              <a:uFillTx/>
              <a:latin typeface="Ubuntu Light"/>
              <a:cs typeface="Ubuntu Light"/>
            </a:endParaRPr>
          </a:p>
        </p:txBody>
      </p:sp>
      <p:sp>
        <p:nvSpPr>
          <p:cNvPr id="23" name="object 29">
            <a:extLst>
              <a:ext uri="{FF2B5EF4-FFF2-40B4-BE49-F238E27FC236}">
                <a16:creationId xmlns:a16="http://schemas.microsoft.com/office/drawing/2014/main" id="{DE3FF74D-4CEA-A5AE-162D-8C5CF2BBC1A6}"/>
              </a:ext>
            </a:extLst>
          </p:cNvPr>
          <p:cNvSpPr txBox="1"/>
          <p:nvPr/>
        </p:nvSpPr>
        <p:spPr>
          <a:xfrm>
            <a:off x="15367360" y="3972117"/>
            <a:ext cx="2548488" cy="2525691"/>
          </a:xfrm>
          <a:prstGeom prst="rect">
            <a:avLst/>
          </a:prstGeom>
        </p:spPr>
        <p:txBody>
          <a:bodyPr vert="horz" wrap="square" lIns="0" tIns="12065" rIns="0" bIns="0" rtlCol="0">
            <a:spAutoFit/>
          </a:bodyPr>
          <a:lstStyle/>
          <a:p>
            <a:pPr marL="12700" marR="5080" lvl="0" indent="0" algn="l" defTabSz="914400" eaLnBrk="1" fontAlgn="auto" latinLnBrk="0" hangingPunct="1">
              <a:lnSpc>
                <a:spcPct val="100000"/>
              </a:lnSpc>
              <a:spcBef>
                <a:spcPts val="0"/>
              </a:spcBef>
              <a:spcAft>
                <a:spcPts val="0"/>
              </a:spcAft>
              <a:buClrTx/>
              <a:buSzTx/>
              <a:buFontTx/>
              <a:buNone/>
              <a:tabLst/>
              <a:defRPr/>
            </a:pPr>
            <a:r>
              <a:rPr kumimoji="0" lang="es-ES" sz="2400" b="1" i="0" u="none" strike="noStrike" kern="0" cap="none" spc="-10" normalizeH="0" baseline="0" noProof="0">
                <a:ln>
                  <a:noFill/>
                </a:ln>
                <a:solidFill>
                  <a:srgbClr val="00B050"/>
                </a:solidFill>
                <a:effectLst/>
                <a:uLnTx/>
                <a:uFillTx/>
                <a:latin typeface="Ubuntu" panose="020B0504030602030204" pitchFamily="34" charset="0"/>
                <a:cs typeface="Ubuntu Light"/>
              </a:rPr>
              <a:t>TEST </a:t>
            </a:r>
          </a:p>
          <a:p>
            <a:pPr marL="12700" marR="5080" lvl="0" indent="0" algn="l" defTabSz="914400" eaLnBrk="1" fontAlgn="auto" latinLnBrk="0" hangingPunct="1">
              <a:lnSpc>
                <a:spcPct val="100000"/>
              </a:lnSpc>
              <a:spcBef>
                <a:spcPts val="0"/>
              </a:spcBef>
              <a:spcAft>
                <a:spcPts val="0"/>
              </a:spcAft>
              <a:buClrTx/>
              <a:buSzTx/>
              <a:buFontTx/>
              <a:buNone/>
              <a:tabLst/>
              <a:defRPr/>
            </a:pPr>
            <a:r>
              <a:rPr kumimoji="0" lang="es-ES" sz="2400" b="1" i="0" u="none" strike="noStrike" kern="0" cap="none" spc="-10" normalizeH="0" baseline="0" noProof="0">
                <a:ln>
                  <a:noFill/>
                </a:ln>
                <a:solidFill>
                  <a:srgbClr val="00B050"/>
                </a:solidFill>
                <a:effectLst/>
                <a:uLnTx/>
                <a:uFillTx/>
                <a:latin typeface="Ubuntu" panose="020B0504030602030204" pitchFamily="34" charset="0"/>
                <a:cs typeface="Ubuntu Light"/>
              </a:rPr>
              <a:t>DATA</a:t>
            </a:r>
            <a:endParaRPr kumimoji="0" lang="es-ES" sz="1600" b="1" i="0" u="none" strike="noStrike" kern="0" cap="none" spc="-10" normalizeH="0" baseline="0" noProof="0">
              <a:ln>
                <a:noFill/>
              </a:ln>
              <a:solidFill>
                <a:srgbClr val="00B050"/>
              </a:solidFill>
              <a:effectLst/>
              <a:uLnTx/>
              <a:uFillTx/>
              <a:latin typeface="Ubuntu" panose="020B0504030602030204" pitchFamily="34" charset="0"/>
              <a:cs typeface="Ubuntu Light"/>
            </a:endParaRPr>
          </a:p>
          <a:p>
            <a:pPr marL="12700" marR="5080" lvl="0" indent="0" algn="l" defTabSz="914400" eaLnBrk="1" fontAlgn="auto" latinLnBrk="0" hangingPunct="1">
              <a:lnSpc>
                <a:spcPct val="100000"/>
              </a:lnSpc>
              <a:spcBef>
                <a:spcPts val="0"/>
              </a:spcBef>
              <a:spcAft>
                <a:spcPts val="0"/>
              </a:spcAft>
              <a:buClrTx/>
              <a:buSzTx/>
              <a:buFontTx/>
              <a:buNone/>
              <a:tabLst/>
              <a:defRPr/>
            </a:pPr>
            <a:r>
              <a:rPr kumimoji="0" lang="es-ES" sz="1600" b="1" i="0" u="none" strike="noStrike" kern="0" cap="none" spc="-10" normalizeH="0" baseline="0" noProof="0">
                <a:ln>
                  <a:noFill/>
                </a:ln>
                <a:solidFill>
                  <a:srgbClr val="00B050"/>
                </a:solidFill>
                <a:effectLst/>
                <a:uLnTx/>
                <a:uFillTx/>
                <a:latin typeface="Ubuntu" panose="020B0504030602030204" pitchFamily="34" charset="0"/>
                <a:cs typeface="Ubuntu Light"/>
              </a:rPr>
              <a:t>MANAGEMENT</a:t>
            </a:r>
          </a:p>
          <a:p>
            <a:pPr marL="184150" marR="5080" lvl="0" indent="-171450" algn="l" defTabSz="914400" eaLnBrk="1" fontAlgn="auto" latinLnBrk="0" hangingPunct="1">
              <a:lnSpc>
                <a:spcPct val="100000"/>
              </a:lnSpc>
              <a:spcBef>
                <a:spcPts val="95"/>
              </a:spcBef>
              <a:spcAft>
                <a:spcPts val="0"/>
              </a:spcAft>
              <a:buClrTx/>
              <a:buSzTx/>
              <a:buFont typeface="Wingdings" pitchFamily="2" charset="2"/>
              <a:buChar char="§"/>
              <a:tabLst/>
              <a:defRPr/>
            </a:pPr>
            <a:r>
              <a:rPr kumimoji="0" lang="en-US" sz="1600" b="0" i="0" u="none" strike="noStrike" kern="0" cap="none" spc="-10" normalizeH="0" baseline="0" noProof="0">
                <a:ln>
                  <a:noFill/>
                </a:ln>
                <a:solidFill>
                  <a:sysClr val="windowText" lastClr="000000"/>
                </a:solidFill>
                <a:effectLst/>
                <a:uLnTx/>
                <a:uFillTx/>
                <a:latin typeface="Ubuntu Light"/>
                <a:cs typeface="Ubuntu Light"/>
              </a:rPr>
              <a:t>Synthetic data generation</a:t>
            </a:r>
          </a:p>
          <a:p>
            <a:pPr marL="184150" marR="5080" lvl="0" indent="-171450" algn="l" defTabSz="914400" eaLnBrk="1" fontAlgn="auto" latinLnBrk="0" hangingPunct="1">
              <a:lnSpc>
                <a:spcPct val="100000"/>
              </a:lnSpc>
              <a:spcBef>
                <a:spcPts val="95"/>
              </a:spcBef>
              <a:spcAft>
                <a:spcPts val="0"/>
              </a:spcAft>
              <a:buClrTx/>
              <a:buSzTx/>
              <a:buFont typeface="Wingdings" pitchFamily="2" charset="2"/>
              <a:buChar char="§"/>
              <a:tabLst/>
              <a:defRPr/>
            </a:pPr>
            <a:r>
              <a:rPr kumimoji="0" lang="en-US" sz="1600" b="0" i="0" u="none" strike="noStrike" kern="0" cap="none" spc="-10" normalizeH="0" baseline="0" noProof="0">
                <a:ln>
                  <a:noFill/>
                </a:ln>
                <a:solidFill>
                  <a:sysClr val="windowText" lastClr="000000"/>
                </a:solidFill>
                <a:effectLst/>
                <a:uLnTx/>
                <a:uFillTx/>
                <a:latin typeface="Ubuntu Light"/>
                <a:cs typeface="Ubuntu Light"/>
              </a:rPr>
              <a:t>Subsetting/masking data generation</a:t>
            </a:r>
          </a:p>
          <a:p>
            <a:pPr marL="184150" marR="5080" lvl="0" indent="-171450" algn="l" defTabSz="914400" eaLnBrk="1" fontAlgn="auto" latinLnBrk="0" hangingPunct="1">
              <a:lnSpc>
                <a:spcPct val="100000"/>
              </a:lnSpc>
              <a:spcBef>
                <a:spcPts val="95"/>
              </a:spcBef>
              <a:spcAft>
                <a:spcPts val="0"/>
              </a:spcAft>
              <a:buClrTx/>
              <a:buSzTx/>
              <a:buFont typeface="Wingdings" pitchFamily="2" charset="2"/>
              <a:buChar char="§"/>
              <a:tabLst/>
              <a:defRPr/>
            </a:pPr>
            <a:r>
              <a:rPr kumimoji="0" lang="en-US" sz="1600" b="0" i="0" u="none" strike="noStrike" kern="0" cap="none" spc="-10" normalizeH="0" baseline="0" noProof="0">
                <a:ln>
                  <a:noFill/>
                </a:ln>
                <a:solidFill>
                  <a:sysClr val="windowText" lastClr="000000"/>
                </a:solidFill>
                <a:effectLst/>
                <a:uLnTx/>
                <a:uFillTx/>
                <a:latin typeface="Ubuntu Light"/>
                <a:cs typeface="Ubuntu Light"/>
              </a:rPr>
              <a:t>Data privacy services</a:t>
            </a:r>
          </a:p>
          <a:p>
            <a:pPr marL="184150" marR="5080" lvl="0" indent="-171450" algn="l" defTabSz="914400" eaLnBrk="1" fontAlgn="auto" latinLnBrk="0" hangingPunct="1">
              <a:lnSpc>
                <a:spcPct val="100000"/>
              </a:lnSpc>
              <a:spcBef>
                <a:spcPts val="95"/>
              </a:spcBef>
              <a:spcAft>
                <a:spcPts val="0"/>
              </a:spcAft>
              <a:buClrTx/>
              <a:buSzTx/>
              <a:buFont typeface="Wingdings" pitchFamily="2" charset="2"/>
              <a:buChar char="§"/>
              <a:tabLst/>
              <a:defRPr/>
            </a:pPr>
            <a:r>
              <a:rPr kumimoji="0" lang="en-US" sz="1600" b="0" i="0" u="none" strike="noStrike" kern="0" cap="none" spc="-10" normalizeH="0" baseline="0" noProof="0">
                <a:ln>
                  <a:noFill/>
                </a:ln>
                <a:solidFill>
                  <a:sysClr val="windowText" lastClr="000000"/>
                </a:solidFill>
                <a:effectLst/>
                <a:uLnTx/>
                <a:uFillTx/>
                <a:latin typeface="Ubuntu Light"/>
                <a:cs typeface="Ubuntu Light"/>
              </a:rPr>
              <a:t>Data information governance (DIG)</a:t>
            </a:r>
          </a:p>
        </p:txBody>
      </p:sp>
      <p:sp>
        <p:nvSpPr>
          <p:cNvPr id="24" name="object 29">
            <a:extLst>
              <a:ext uri="{FF2B5EF4-FFF2-40B4-BE49-F238E27FC236}">
                <a16:creationId xmlns:a16="http://schemas.microsoft.com/office/drawing/2014/main" id="{75B7960F-A685-40FD-BAD9-96F0FFBBE510}"/>
              </a:ext>
            </a:extLst>
          </p:cNvPr>
          <p:cNvSpPr txBox="1"/>
          <p:nvPr/>
        </p:nvSpPr>
        <p:spPr>
          <a:xfrm>
            <a:off x="7958143" y="3055411"/>
            <a:ext cx="2824202" cy="2361480"/>
          </a:xfrm>
          <a:prstGeom prst="rect">
            <a:avLst/>
          </a:prstGeom>
        </p:spPr>
        <p:txBody>
          <a:bodyPr vert="horz" wrap="square" lIns="0" tIns="12065" rIns="0" bIns="0" rtlCol="0">
            <a:spAutoFit/>
          </a:bodyPr>
          <a:lstStyle/>
          <a:p>
            <a:pPr marL="12700" marR="5080" lvl="0" indent="0" algn="l" defTabSz="914400" eaLnBrk="1" fontAlgn="auto" latinLnBrk="0" hangingPunct="1">
              <a:lnSpc>
                <a:spcPct val="100000"/>
              </a:lnSpc>
              <a:spcBef>
                <a:spcPts val="0"/>
              </a:spcBef>
              <a:spcAft>
                <a:spcPts val="0"/>
              </a:spcAft>
              <a:buClrTx/>
              <a:buSzTx/>
              <a:buFontTx/>
              <a:buNone/>
              <a:tabLst/>
              <a:defRPr/>
            </a:pPr>
            <a:r>
              <a:rPr kumimoji="0" lang="es-ES" sz="2400" b="1" i="0" u="none" strike="noStrike" kern="0" cap="none" spc="-10" normalizeH="0" baseline="0" noProof="0">
                <a:ln>
                  <a:noFill/>
                </a:ln>
                <a:solidFill>
                  <a:srgbClr val="00B050"/>
                </a:solidFill>
                <a:effectLst/>
                <a:uLnTx/>
                <a:uFillTx/>
                <a:latin typeface="Ubuntu" panose="020B0504030602030204" pitchFamily="34" charset="0"/>
                <a:cs typeface="Ubuntu Light"/>
              </a:rPr>
              <a:t>SPECIALIZED</a:t>
            </a:r>
            <a:endParaRPr kumimoji="0" lang="es-ES" sz="1600" b="1" i="0" u="none" strike="noStrike" kern="0" cap="none" spc="-10" normalizeH="0" baseline="0" noProof="0">
              <a:ln>
                <a:noFill/>
              </a:ln>
              <a:solidFill>
                <a:srgbClr val="00B050"/>
              </a:solidFill>
              <a:effectLst/>
              <a:uLnTx/>
              <a:uFillTx/>
              <a:latin typeface="Ubuntu" panose="020B0504030602030204" pitchFamily="34" charset="0"/>
              <a:cs typeface="Ubuntu Light"/>
            </a:endParaRPr>
          </a:p>
          <a:p>
            <a:pPr marL="12700" marR="5080" lvl="0" indent="0" algn="l" defTabSz="914400" eaLnBrk="1" fontAlgn="auto" latinLnBrk="0" hangingPunct="1">
              <a:lnSpc>
                <a:spcPct val="100000"/>
              </a:lnSpc>
              <a:spcBef>
                <a:spcPts val="0"/>
              </a:spcBef>
              <a:spcAft>
                <a:spcPts val="0"/>
              </a:spcAft>
              <a:buClrTx/>
              <a:buSzTx/>
              <a:buFontTx/>
              <a:buNone/>
              <a:tabLst/>
              <a:defRPr/>
            </a:pPr>
            <a:r>
              <a:rPr kumimoji="0" lang="es-ES" sz="1600" b="1" i="0" u="none" strike="noStrike" kern="0" cap="none" spc="-10" normalizeH="0" baseline="0" noProof="0">
                <a:ln>
                  <a:noFill/>
                </a:ln>
                <a:solidFill>
                  <a:srgbClr val="00B050"/>
                </a:solidFill>
                <a:effectLst/>
                <a:uLnTx/>
                <a:uFillTx/>
                <a:latin typeface="Ubuntu" panose="020B0504030602030204" pitchFamily="34" charset="0"/>
                <a:cs typeface="Ubuntu Light"/>
              </a:rPr>
              <a:t>QE &amp; TESTING</a:t>
            </a:r>
          </a:p>
          <a:p>
            <a:pPr marL="184150" marR="5080" lvl="0" indent="-171450" algn="l" defTabSz="914400" eaLnBrk="1" fontAlgn="auto" latinLnBrk="0" hangingPunct="1">
              <a:lnSpc>
                <a:spcPct val="100000"/>
              </a:lnSpc>
              <a:spcBef>
                <a:spcPts val="95"/>
              </a:spcBef>
              <a:spcAft>
                <a:spcPts val="0"/>
              </a:spcAft>
              <a:buClrTx/>
              <a:buSzTx/>
              <a:buFont typeface="Wingdings" pitchFamily="2" charset="2"/>
              <a:buChar char="§"/>
              <a:tabLst/>
              <a:defRPr/>
            </a:pPr>
            <a:r>
              <a:rPr kumimoji="0" lang="es-ES" sz="1600" b="0" i="0" u="none" strike="noStrike" kern="0" cap="none" spc="-10" normalizeH="0" baseline="0" noProof="0">
                <a:ln>
                  <a:noFill/>
                </a:ln>
                <a:solidFill>
                  <a:sysClr val="windowText" lastClr="000000"/>
                </a:solidFill>
                <a:effectLst/>
                <a:uLnTx/>
                <a:uFillTx/>
                <a:latin typeface="Ubuntu Light"/>
                <a:cs typeface="Ubuntu Light"/>
              </a:rPr>
              <a:t>Performance</a:t>
            </a:r>
          </a:p>
          <a:p>
            <a:pPr marL="184150" marR="5080" lvl="0" indent="-171450" algn="l" defTabSz="914400" eaLnBrk="1" fontAlgn="auto" latinLnBrk="0" hangingPunct="1">
              <a:lnSpc>
                <a:spcPct val="100000"/>
              </a:lnSpc>
              <a:spcBef>
                <a:spcPts val="95"/>
              </a:spcBef>
              <a:spcAft>
                <a:spcPts val="0"/>
              </a:spcAft>
              <a:buClrTx/>
              <a:buSzTx/>
              <a:buFont typeface="Wingdings" pitchFamily="2" charset="2"/>
              <a:buChar char="§"/>
              <a:tabLst/>
              <a:defRPr/>
            </a:pPr>
            <a:r>
              <a:rPr kumimoji="0" lang="es-ES" sz="1600" b="0" i="0" u="none" strike="noStrike" kern="0" cap="none" spc="-10" normalizeH="0" baseline="0" noProof="0">
                <a:ln>
                  <a:noFill/>
                </a:ln>
                <a:solidFill>
                  <a:sysClr val="windowText" lastClr="000000"/>
                </a:solidFill>
                <a:effectLst/>
                <a:uLnTx/>
                <a:uFillTx/>
                <a:latin typeface="Ubuntu Light"/>
                <a:cs typeface="Ubuntu Light"/>
              </a:rPr>
              <a:t>Accessibility</a:t>
            </a:r>
          </a:p>
          <a:p>
            <a:pPr marL="184150" marR="5080" lvl="0" indent="-171450" algn="l" defTabSz="914400" eaLnBrk="1" fontAlgn="auto" latinLnBrk="0" hangingPunct="1">
              <a:lnSpc>
                <a:spcPct val="100000"/>
              </a:lnSpc>
              <a:spcBef>
                <a:spcPts val="95"/>
              </a:spcBef>
              <a:spcAft>
                <a:spcPts val="0"/>
              </a:spcAft>
              <a:buClrTx/>
              <a:buSzTx/>
              <a:buFont typeface="Wingdings" pitchFamily="2" charset="2"/>
              <a:buChar char="§"/>
              <a:tabLst/>
              <a:defRPr/>
            </a:pPr>
            <a:r>
              <a:rPr kumimoji="0" lang="es-ES" sz="1600" b="0" i="0" u="none" strike="noStrike" kern="0" cap="none" spc="-10" normalizeH="0" baseline="0" noProof="0">
                <a:ln>
                  <a:noFill/>
                </a:ln>
                <a:solidFill>
                  <a:sysClr val="windowText" lastClr="000000"/>
                </a:solidFill>
                <a:effectLst/>
                <a:uLnTx/>
                <a:uFillTx/>
                <a:latin typeface="Ubuntu Light"/>
                <a:cs typeface="Ubuntu Light"/>
              </a:rPr>
              <a:t>Security</a:t>
            </a:r>
          </a:p>
          <a:p>
            <a:pPr marL="184150" marR="5080" lvl="0" indent="-171450" algn="l" defTabSz="914400" eaLnBrk="1" fontAlgn="auto" latinLnBrk="0" hangingPunct="1">
              <a:lnSpc>
                <a:spcPct val="100000"/>
              </a:lnSpc>
              <a:spcBef>
                <a:spcPts val="95"/>
              </a:spcBef>
              <a:spcAft>
                <a:spcPts val="0"/>
              </a:spcAft>
              <a:buClrTx/>
              <a:buSzTx/>
              <a:buFont typeface="Wingdings" pitchFamily="2" charset="2"/>
              <a:buChar char="§"/>
              <a:tabLst/>
              <a:defRPr/>
            </a:pPr>
            <a:r>
              <a:rPr kumimoji="0" lang="es-ES" sz="1600" b="0" i="0" u="none" strike="noStrike" kern="0" cap="none" spc="-10" normalizeH="0" baseline="0" noProof="0">
                <a:ln>
                  <a:noFill/>
                </a:ln>
                <a:solidFill>
                  <a:sysClr val="windowText" lastClr="000000"/>
                </a:solidFill>
                <a:effectLst/>
                <a:uLnTx/>
                <a:uFillTx/>
                <a:latin typeface="Ubuntu Light"/>
                <a:cs typeface="Ubuntu Light"/>
              </a:rPr>
              <a:t>Code analysis</a:t>
            </a:r>
          </a:p>
          <a:p>
            <a:pPr marL="184150" marR="5080" lvl="0" indent="-171450" algn="l" defTabSz="914400" eaLnBrk="1" fontAlgn="auto" latinLnBrk="0" hangingPunct="1">
              <a:lnSpc>
                <a:spcPct val="100000"/>
              </a:lnSpc>
              <a:spcBef>
                <a:spcPts val="95"/>
              </a:spcBef>
              <a:spcAft>
                <a:spcPts val="0"/>
              </a:spcAft>
              <a:buClrTx/>
              <a:buSzTx/>
              <a:buFont typeface="Wingdings" pitchFamily="2" charset="2"/>
              <a:buChar char="§"/>
              <a:tabLst/>
              <a:defRPr/>
            </a:pPr>
            <a:r>
              <a:rPr kumimoji="0" lang="es-ES" sz="1600" b="0" i="0" u="none" strike="noStrike" kern="0" cap="none" spc="-10" normalizeH="0" baseline="0" noProof="0">
                <a:ln>
                  <a:noFill/>
                </a:ln>
                <a:solidFill>
                  <a:sysClr val="windowText" lastClr="000000"/>
                </a:solidFill>
                <a:effectLst/>
                <a:uLnTx/>
                <a:uFillTx/>
                <a:latin typeface="Ubuntu Light"/>
                <a:cs typeface="Ubuntu Light"/>
              </a:rPr>
              <a:t>Mobile</a:t>
            </a:r>
          </a:p>
          <a:p>
            <a:pPr marL="184150" marR="5080" lvl="0" indent="-171450" algn="l" defTabSz="914400" eaLnBrk="1" fontAlgn="auto" latinLnBrk="0" hangingPunct="1">
              <a:lnSpc>
                <a:spcPct val="100000"/>
              </a:lnSpc>
              <a:spcBef>
                <a:spcPts val="95"/>
              </a:spcBef>
              <a:spcAft>
                <a:spcPts val="0"/>
              </a:spcAft>
              <a:buClrTx/>
              <a:buSzTx/>
              <a:buFont typeface="Wingdings" pitchFamily="2" charset="2"/>
              <a:buChar char="§"/>
              <a:tabLst/>
              <a:defRPr/>
            </a:pPr>
            <a:r>
              <a:rPr kumimoji="0" lang="es-ES" sz="1600" b="0" i="0" u="none" strike="noStrike" kern="0" cap="none" spc="-10" normalizeH="0" baseline="0" noProof="0">
                <a:ln>
                  <a:noFill/>
                </a:ln>
                <a:solidFill>
                  <a:sysClr val="windowText" lastClr="000000"/>
                </a:solidFill>
                <a:effectLst/>
                <a:uLnTx/>
                <a:uFillTx/>
                <a:latin typeface="Ubuntu Light"/>
                <a:cs typeface="Ubuntu Light"/>
              </a:rPr>
              <a:t>Crowd</a:t>
            </a:r>
          </a:p>
          <a:p>
            <a:pPr marL="12700" marR="5080" lvl="0" indent="0" algn="ctr" defTabSz="914400" eaLnBrk="1" fontAlgn="auto" latinLnBrk="0" hangingPunct="1">
              <a:lnSpc>
                <a:spcPct val="114999"/>
              </a:lnSpc>
              <a:spcBef>
                <a:spcPts val="95"/>
              </a:spcBef>
              <a:spcAft>
                <a:spcPts val="0"/>
              </a:spcAft>
              <a:buClrTx/>
              <a:buSzTx/>
              <a:buFontTx/>
              <a:buNone/>
              <a:tabLst/>
              <a:defRPr/>
            </a:pPr>
            <a:endParaRPr kumimoji="0" lang="es-ES" sz="1050" b="0" i="0" u="none" strike="noStrike" kern="0" cap="none" spc="-10" normalizeH="0" baseline="0" noProof="0">
              <a:ln>
                <a:noFill/>
              </a:ln>
              <a:solidFill>
                <a:sysClr val="windowText" lastClr="000000"/>
              </a:solidFill>
              <a:effectLst/>
              <a:uLnTx/>
              <a:uFillTx/>
              <a:latin typeface="Ubuntu Light"/>
              <a:cs typeface="Ubuntu Light"/>
            </a:endParaRPr>
          </a:p>
        </p:txBody>
      </p:sp>
      <p:sp>
        <p:nvSpPr>
          <p:cNvPr id="25" name="object 29">
            <a:extLst>
              <a:ext uri="{FF2B5EF4-FFF2-40B4-BE49-F238E27FC236}">
                <a16:creationId xmlns:a16="http://schemas.microsoft.com/office/drawing/2014/main" id="{1B04E3BA-E61B-71BC-70C3-6B72A2424C68}"/>
              </a:ext>
            </a:extLst>
          </p:cNvPr>
          <p:cNvSpPr txBox="1"/>
          <p:nvPr/>
        </p:nvSpPr>
        <p:spPr>
          <a:xfrm>
            <a:off x="6095316" y="5812196"/>
            <a:ext cx="2824202" cy="1963936"/>
          </a:xfrm>
          <a:prstGeom prst="rect">
            <a:avLst/>
          </a:prstGeom>
        </p:spPr>
        <p:txBody>
          <a:bodyPr vert="horz" wrap="square" lIns="0" tIns="12065" rIns="0" bIns="0" rtlCol="0">
            <a:spAutoFit/>
          </a:bodyPr>
          <a:lstStyle/>
          <a:p>
            <a:pPr marL="12700" marR="5080" lvl="0" indent="0" algn="l" defTabSz="914400" eaLnBrk="1" fontAlgn="auto" latinLnBrk="0" hangingPunct="1">
              <a:lnSpc>
                <a:spcPct val="100000"/>
              </a:lnSpc>
              <a:spcBef>
                <a:spcPts val="0"/>
              </a:spcBef>
              <a:spcAft>
                <a:spcPts val="0"/>
              </a:spcAft>
              <a:buClrTx/>
              <a:buSzTx/>
              <a:buFontTx/>
              <a:buNone/>
              <a:tabLst/>
              <a:defRPr/>
            </a:pPr>
            <a:r>
              <a:rPr kumimoji="0" lang="es-ES" sz="2400" b="1" i="0" u="none" strike="noStrike" kern="0" cap="none" spc="-10" normalizeH="0" baseline="0" noProof="0">
                <a:ln>
                  <a:noFill/>
                </a:ln>
                <a:solidFill>
                  <a:srgbClr val="00B050"/>
                </a:solidFill>
                <a:effectLst/>
                <a:uLnTx/>
                <a:uFillTx/>
                <a:latin typeface="Ubuntu" panose="020B0504030602030204" pitchFamily="34" charset="0"/>
                <a:cs typeface="Ubuntu Light"/>
              </a:rPr>
              <a:t>DOMAIN-SPECIFIC</a:t>
            </a:r>
            <a:endParaRPr kumimoji="0" lang="es-ES" sz="1600" b="1" i="0" u="none" strike="noStrike" kern="0" cap="none" spc="-10" normalizeH="0" baseline="0" noProof="0">
              <a:ln>
                <a:noFill/>
              </a:ln>
              <a:solidFill>
                <a:srgbClr val="00B050"/>
              </a:solidFill>
              <a:effectLst/>
              <a:uLnTx/>
              <a:uFillTx/>
              <a:latin typeface="Ubuntu" panose="020B0504030602030204" pitchFamily="34" charset="0"/>
              <a:cs typeface="Ubuntu Light"/>
            </a:endParaRPr>
          </a:p>
          <a:p>
            <a:pPr marL="12700" marR="5080" lvl="0" indent="0" algn="l" defTabSz="914400" eaLnBrk="1" fontAlgn="auto" latinLnBrk="0" hangingPunct="1">
              <a:lnSpc>
                <a:spcPct val="100000"/>
              </a:lnSpc>
              <a:spcBef>
                <a:spcPts val="0"/>
              </a:spcBef>
              <a:spcAft>
                <a:spcPts val="0"/>
              </a:spcAft>
              <a:buClrTx/>
              <a:buSzTx/>
              <a:buFontTx/>
              <a:buNone/>
              <a:tabLst/>
              <a:defRPr/>
            </a:pPr>
            <a:r>
              <a:rPr kumimoji="0" lang="es-ES" sz="1600" b="1" i="0" u="none" strike="noStrike" kern="0" cap="none" spc="-10" normalizeH="0" baseline="0" noProof="0">
                <a:ln>
                  <a:noFill/>
                </a:ln>
                <a:solidFill>
                  <a:srgbClr val="00B050"/>
                </a:solidFill>
                <a:effectLst/>
                <a:uLnTx/>
                <a:uFillTx/>
                <a:latin typeface="Ubuntu" panose="020B0504030602030204" pitchFamily="34" charset="0"/>
                <a:cs typeface="Ubuntu Light"/>
              </a:rPr>
              <a:t>QE &amp; TESTING</a:t>
            </a:r>
            <a:endParaRPr kumimoji="0" lang="es-ES" sz="1600" b="0" i="0" u="none" strike="noStrike" kern="0" cap="none" spc="-10" normalizeH="0" baseline="0" noProof="0">
              <a:ln>
                <a:noFill/>
              </a:ln>
              <a:effectLst/>
              <a:uLnTx/>
              <a:uFillTx/>
              <a:latin typeface="Ubuntu Light"/>
              <a:cs typeface="Ubuntu Light"/>
            </a:endParaRPr>
          </a:p>
          <a:p>
            <a:pPr marL="184150" marR="5080" lvl="0" indent="-171450" algn="l" defTabSz="914400" eaLnBrk="1" fontAlgn="auto" latinLnBrk="0" hangingPunct="1">
              <a:lnSpc>
                <a:spcPct val="100000"/>
              </a:lnSpc>
              <a:spcBef>
                <a:spcPts val="95"/>
              </a:spcBef>
              <a:spcAft>
                <a:spcPts val="0"/>
              </a:spcAft>
              <a:buClrTx/>
              <a:buSzTx/>
              <a:buFont typeface="Wingdings" pitchFamily="2" charset="2"/>
              <a:buChar char="§"/>
              <a:tabLst/>
              <a:defRPr/>
            </a:pPr>
            <a:r>
              <a:rPr kumimoji="0" lang="es-ES" sz="1600" b="0" i="0" u="none" strike="noStrike" kern="0" cap="none" spc="-10" normalizeH="0" baseline="0" noProof="0">
                <a:ln>
                  <a:noFill/>
                </a:ln>
                <a:effectLst/>
                <a:uLnTx/>
                <a:uFillTx/>
                <a:latin typeface="Ubuntu Light"/>
                <a:cs typeface="Ubuntu Light"/>
              </a:rPr>
              <a:t>Cloud apps</a:t>
            </a:r>
          </a:p>
          <a:p>
            <a:pPr marL="184150" marR="5080" lvl="0" indent="-171450" algn="l" defTabSz="914400" eaLnBrk="1" fontAlgn="auto" latinLnBrk="0" hangingPunct="1">
              <a:lnSpc>
                <a:spcPct val="100000"/>
              </a:lnSpc>
              <a:spcBef>
                <a:spcPts val="95"/>
              </a:spcBef>
              <a:spcAft>
                <a:spcPts val="0"/>
              </a:spcAft>
              <a:buClrTx/>
              <a:buSzTx/>
              <a:buFont typeface="Wingdings" pitchFamily="2" charset="2"/>
              <a:buChar char="§"/>
              <a:tabLst/>
              <a:defRPr/>
            </a:pPr>
            <a:r>
              <a:rPr kumimoji="0" lang="es-ES" sz="1600" b="0" i="0" u="none" strike="noStrike" kern="0" cap="none" spc="-10" normalizeH="0" baseline="0" noProof="0">
                <a:ln>
                  <a:noFill/>
                </a:ln>
                <a:effectLst/>
                <a:uLnTx/>
                <a:uFillTx/>
                <a:latin typeface="Ubuntu Light"/>
                <a:cs typeface="Ubuntu Light"/>
              </a:rPr>
              <a:t>SAP</a:t>
            </a:r>
          </a:p>
          <a:p>
            <a:pPr marL="184150" marR="5080" lvl="0" indent="-171450" algn="l" defTabSz="914400" eaLnBrk="1" fontAlgn="auto" latinLnBrk="0" hangingPunct="1">
              <a:lnSpc>
                <a:spcPct val="100000"/>
              </a:lnSpc>
              <a:spcBef>
                <a:spcPts val="95"/>
              </a:spcBef>
              <a:spcAft>
                <a:spcPts val="0"/>
              </a:spcAft>
              <a:buClrTx/>
              <a:buSzTx/>
              <a:buFont typeface="Wingdings" pitchFamily="2" charset="2"/>
              <a:buChar char="§"/>
              <a:tabLst/>
              <a:defRPr/>
            </a:pPr>
            <a:r>
              <a:rPr kumimoji="0" lang="es-ES" sz="1600" b="0" i="0" u="none" strike="noStrike" kern="0" cap="none" spc="-10" normalizeH="0" baseline="0" noProof="0">
                <a:ln>
                  <a:noFill/>
                </a:ln>
                <a:effectLst/>
                <a:uLnTx/>
                <a:uFillTx/>
                <a:latin typeface="Ubuntu Light"/>
                <a:cs typeface="Ubuntu Light"/>
              </a:rPr>
              <a:t>Metaverse and VR/AR</a:t>
            </a:r>
          </a:p>
          <a:p>
            <a:pPr marL="12700" marR="5080" lvl="0" indent="0" algn="l" defTabSz="914400" eaLnBrk="1" fontAlgn="auto" latinLnBrk="0" hangingPunct="1">
              <a:lnSpc>
                <a:spcPct val="100000"/>
              </a:lnSpc>
              <a:spcBef>
                <a:spcPts val="95"/>
              </a:spcBef>
              <a:spcAft>
                <a:spcPts val="0"/>
              </a:spcAft>
              <a:buClrTx/>
              <a:buSzTx/>
              <a:buFontTx/>
              <a:buNone/>
              <a:tabLst/>
              <a:defRPr/>
            </a:pPr>
            <a:endParaRPr kumimoji="0" lang="es-ES" sz="1200" b="0" i="0" u="none" strike="noStrike" kern="0" cap="none" spc="-10" normalizeH="0" baseline="0" noProof="0">
              <a:ln>
                <a:noFill/>
              </a:ln>
              <a:solidFill>
                <a:sysClr val="windowText" lastClr="000000"/>
              </a:solidFill>
              <a:effectLst/>
              <a:uLnTx/>
              <a:uFillTx/>
              <a:latin typeface="Ubuntu Light"/>
              <a:cs typeface="Ubuntu Light"/>
            </a:endParaRPr>
          </a:p>
          <a:p>
            <a:pPr marL="12700" marR="5080" lvl="0" indent="0" algn="l" defTabSz="914400" eaLnBrk="1" fontAlgn="auto" latinLnBrk="0" hangingPunct="1">
              <a:lnSpc>
                <a:spcPct val="100000"/>
              </a:lnSpc>
              <a:spcBef>
                <a:spcPts val="95"/>
              </a:spcBef>
              <a:spcAft>
                <a:spcPts val="0"/>
              </a:spcAft>
              <a:buClrTx/>
              <a:buSzTx/>
              <a:buFontTx/>
              <a:buNone/>
              <a:tabLst/>
              <a:defRPr/>
            </a:pPr>
            <a:endParaRPr kumimoji="0" lang="es-ES" sz="1100" b="0" i="0" u="none" strike="noStrike" kern="0" cap="none" spc="-10" normalizeH="0" baseline="0" noProof="0">
              <a:ln>
                <a:noFill/>
              </a:ln>
              <a:solidFill>
                <a:sysClr val="windowText" lastClr="000000"/>
              </a:solidFill>
              <a:effectLst/>
              <a:uLnTx/>
              <a:uFillTx/>
              <a:latin typeface="Ubuntu Light"/>
              <a:cs typeface="Ubuntu Light"/>
            </a:endParaRPr>
          </a:p>
          <a:p>
            <a:pPr marL="12700" marR="5080" lvl="0" indent="0" algn="l" defTabSz="914400" eaLnBrk="1" fontAlgn="auto" latinLnBrk="0" hangingPunct="1">
              <a:lnSpc>
                <a:spcPct val="114999"/>
              </a:lnSpc>
              <a:spcBef>
                <a:spcPts val="95"/>
              </a:spcBef>
              <a:spcAft>
                <a:spcPts val="0"/>
              </a:spcAft>
              <a:buClrTx/>
              <a:buSzTx/>
              <a:buFontTx/>
              <a:buNone/>
              <a:tabLst/>
              <a:defRPr/>
            </a:pPr>
            <a:endParaRPr kumimoji="0" lang="es-ES" sz="1050" b="0" i="0" u="none" strike="noStrike" kern="0" cap="none" spc="-10" normalizeH="0" baseline="0" noProof="0">
              <a:ln>
                <a:noFill/>
              </a:ln>
              <a:solidFill>
                <a:sysClr val="windowText" lastClr="000000"/>
              </a:solidFill>
              <a:effectLst/>
              <a:uLnTx/>
              <a:uFillTx/>
              <a:latin typeface="Ubuntu Light"/>
              <a:cs typeface="Ubuntu Light"/>
            </a:endParaRPr>
          </a:p>
        </p:txBody>
      </p:sp>
      <p:sp>
        <p:nvSpPr>
          <p:cNvPr id="50" name="Rectángulo 49">
            <a:extLst>
              <a:ext uri="{FF2B5EF4-FFF2-40B4-BE49-F238E27FC236}">
                <a16:creationId xmlns:a16="http://schemas.microsoft.com/office/drawing/2014/main" id="{AF73844E-E5CC-9216-892A-D742FBAB4E11}"/>
              </a:ext>
            </a:extLst>
          </p:cNvPr>
          <p:cNvSpPr/>
          <p:nvPr/>
        </p:nvSpPr>
        <p:spPr>
          <a:xfrm>
            <a:off x="18005730" y="7023467"/>
            <a:ext cx="1158437" cy="1029155"/>
          </a:xfrm>
          <a:prstGeom prst="rect">
            <a:avLst/>
          </a:prstGeom>
          <a:noFill/>
        </p:spPr>
        <p:txBody>
          <a:bodyPr wrap="none" lIns="91440" tIns="45720" rIns="91440" bIns="45720">
            <a:prstTxWarp prst="textArchDown">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800" b="1" i="0" u="none" strike="noStrike" kern="0" cap="none" spc="0" normalizeH="0" baseline="0" noProof="0">
                <a:ln w="0"/>
                <a:gradFill flip="none" rotWithShape="1">
                  <a:gsLst>
                    <a:gs pos="0">
                      <a:srgbClr val="95E616"/>
                    </a:gs>
                    <a:gs pos="50000">
                      <a:srgbClr val="00B050"/>
                    </a:gs>
                    <a:gs pos="100000">
                      <a:srgbClr val="7030A0"/>
                    </a:gs>
                  </a:gsLst>
                  <a:path path="circle">
                    <a:fillToRect l="50000" t="50000" r="50000" b="50000"/>
                  </a:path>
                  <a:tileRect/>
                </a:gradFill>
                <a:effectLst/>
                <a:uLnTx/>
                <a:uFillTx/>
                <a:latin typeface="Ubuntu Mono" panose="020B0509030602030204" pitchFamily="49" charset="0"/>
              </a:rPr>
              <a:t>SUSTAINABILITY</a:t>
            </a:r>
          </a:p>
        </p:txBody>
      </p:sp>
      <p:pic>
        <p:nvPicPr>
          <p:cNvPr id="51" name="Gráfico 50" descr="Mano abierta con planta con relleno sólido">
            <a:extLst>
              <a:ext uri="{FF2B5EF4-FFF2-40B4-BE49-F238E27FC236}">
                <a16:creationId xmlns:a16="http://schemas.microsoft.com/office/drawing/2014/main" id="{8C0B3DB6-A8D5-65C8-F03F-5DCD130F4160}"/>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8258151" y="7052826"/>
            <a:ext cx="799481" cy="799481"/>
          </a:xfrm>
          <a:prstGeom prst="rect">
            <a:avLst/>
          </a:prstGeom>
        </p:spPr>
      </p:pic>
      <p:pic>
        <p:nvPicPr>
          <p:cNvPr id="84" name="Imagen 83" descr="Logotipo, nombre de la empresa&#10;&#10;Descripción generada automáticamente">
            <a:extLst>
              <a:ext uri="{FF2B5EF4-FFF2-40B4-BE49-F238E27FC236}">
                <a16:creationId xmlns:a16="http://schemas.microsoft.com/office/drawing/2014/main" id="{302EAF47-AD0B-D13C-3EEB-FCB4CB808F8F}"/>
              </a:ext>
            </a:extLst>
          </p:cNvPr>
          <p:cNvPicPr>
            <a:picLocks noChangeAspect="1"/>
          </p:cNvPicPr>
          <p:nvPr/>
        </p:nvPicPr>
        <p:blipFill>
          <a:blip r:embed="rId6"/>
          <a:stretch>
            <a:fillRect/>
          </a:stretch>
        </p:blipFill>
        <p:spPr>
          <a:xfrm>
            <a:off x="982557" y="8784682"/>
            <a:ext cx="2172591" cy="1126434"/>
          </a:xfrm>
          <a:prstGeom prst="rect">
            <a:avLst/>
          </a:prstGeom>
        </p:spPr>
      </p:pic>
      <p:sp>
        <p:nvSpPr>
          <p:cNvPr id="166" name="CuadroTexto 165">
            <a:extLst>
              <a:ext uri="{FF2B5EF4-FFF2-40B4-BE49-F238E27FC236}">
                <a16:creationId xmlns:a16="http://schemas.microsoft.com/office/drawing/2014/main" id="{786FF77A-C459-FDC4-9189-633BFBCC97D7}"/>
              </a:ext>
            </a:extLst>
          </p:cNvPr>
          <p:cNvSpPr txBox="1"/>
          <p:nvPr/>
        </p:nvSpPr>
        <p:spPr>
          <a:xfrm>
            <a:off x="868864" y="10036072"/>
            <a:ext cx="3121367" cy="923330"/>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ES" sz="1800" b="0" i="0" u="none" strike="noStrike" kern="0" cap="none" spc="0" normalizeH="0" baseline="0" noProof="0">
                <a:ln>
                  <a:noFill/>
                </a:ln>
                <a:solidFill>
                  <a:srgbClr val="0070AD"/>
                </a:solidFill>
                <a:effectLst/>
                <a:uLnTx/>
                <a:uFillTx/>
                <a:latin typeface="Ubuntu Light" panose="020B0304030602030204" pitchFamily="34" charset="0"/>
              </a:rPr>
              <a:t>#DigitalBusinessWithQuality</a:t>
            </a:r>
          </a:p>
          <a:p>
            <a:pPr marL="0" marR="0" lvl="0" indent="0" defTabSz="914400" eaLnBrk="1" fontAlgn="auto" latinLnBrk="0" hangingPunct="1">
              <a:lnSpc>
                <a:spcPct val="100000"/>
              </a:lnSpc>
              <a:spcBef>
                <a:spcPts val="0"/>
              </a:spcBef>
              <a:spcAft>
                <a:spcPts val="0"/>
              </a:spcAft>
              <a:buClrTx/>
              <a:buSzTx/>
              <a:buFontTx/>
              <a:buNone/>
              <a:tabLst/>
              <a:defRPr/>
            </a:pPr>
            <a:r>
              <a:rPr kumimoji="0" lang="es-ES" sz="1800" b="0" i="0" u="none" strike="noStrike" kern="0" cap="none" spc="0" normalizeH="0" baseline="0" noProof="0">
                <a:ln>
                  <a:noFill/>
                </a:ln>
                <a:solidFill>
                  <a:srgbClr val="0070AD"/>
                </a:solidFill>
                <a:effectLst/>
                <a:uLnTx/>
                <a:uFillTx/>
                <a:latin typeface="Ubuntu Light" panose="020B0304030602030204" pitchFamily="34" charset="0"/>
              </a:rPr>
              <a:t>#FlourishingWithSogeti</a:t>
            </a:r>
          </a:p>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srgbClr val="0070AD"/>
              </a:solidFill>
              <a:effectLst/>
              <a:uLnTx/>
              <a:uFillTx/>
              <a:latin typeface="Ubuntu Light" panose="020B0304030602030204" pitchFamily="34" charset="0"/>
            </a:endParaRPr>
          </a:p>
        </p:txBody>
      </p:sp>
      <p:sp>
        <p:nvSpPr>
          <p:cNvPr id="5" name="Forma libre 4">
            <a:extLst>
              <a:ext uri="{FF2B5EF4-FFF2-40B4-BE49-F238E27FC236}">
                <a16:creationId xmlns:a16="http://schemas.microsoft.com/office/drawing/2014/main" id="{45E08DD8-7B95-1410-3989-A1DAC4AA9DA1}"/>
              </a:ext>
            </a:extLst>
          </p:cNvPr>
          <p:cNvSpPr/>
          <p:nvPr/>
        </p:nvSpPr>
        <p:spPr>
          <a:xfrm flipV="1">
            <a:off x="982558" y="509725"/>
            <a:ext cx="2983178" cy="468603"/>
          </a:xfrm>
          <a:custGeom>
            <a:avLst/>
            <a:gdLst/>
            <a:ahLst/>
            <a:cxnLst/>
            <a:rect l="l" t="t" r="r" b="b"/>
            <a:pathLst>
              <a:path w="4876802" h="796029">
                <a:moveTo>
                  <a:pt x="2572782" y="405299"/>
                </a:moveTo>
                <a:cubicBezTo>
                  <a:pt x="2589609" y="405299"/>
                  <a:pt x="2601809" y="398820"/>
                  <a:pt x="2609382" y="385863"/>
                </a:cubicBezTo>
                <a:cubicBezTo>
                  <a:pt x="2616954" y="372906"/>
                  <a:pt x="2620740" y="355826"/>
                  <a:pt x="2620740" y="334623"/>
                </a:cubicBezTo>
                <a:cubicBezTo>
                  <a:pt x="2620740" y="313420"/>
                  <a:pt x="2616618" y="296256"/>
                  <a:pt x="2608372" y="283131"/>
                </a:cubicBezTo>
                <a:cubicBezTo>
                  <a:pt x="2600126" y="270006"/>
                  <a:pt x="2587927" y="263443"/>
                  <a:pt x="2571772" y="263443"/>
                </a:cubicBezTo>
                <a:cubicBezTo>
                  <a:pt x="2554945" y="263443"/>
                  <a:pt x="2542744" y="270006"/>
                  <a:pt x="2535172" y="283131"/>
                </a:cubicBezTo>
                <a:cubicBezTo>
                  <a:pt x="2527600" y="296256"/>
                  <a:pt x="2523814" y="313420"/>
                  <a:pt x="2523814" y="334623"/>
                </a:cubicBezTo>
                <a:cubicBezTo>
                  <a:pt x="2523814" y="355826"/>
                  <a:pt x="2527937" y="372906"/>
                  <a:pt x="2536182" y="385863"/>
                </a:cubicBezTo>
                <a:cubicBezTo>
                  <a:pt x="2544428" y="398820"/>
                  <a:pt x="2556628" y="405299"/>
                  <a:pt x="2572782" y="405299"/>
                </a:cubicBezTo>
                <a:close/>
                <a:moveTo>
                  <a:pt x="1810782" y="405299"/>
                </a:moveTo>
                <a:cubicBezTo>
                  <a:pt x="1827610" y="405299"/>
                  <a:pt x="1839810" y="398820"/>
                  <a:pt x="1847382" y="385863"/>
                </a:cubicBezTo>
                <a:cubicBezTo>
                  <a:pt x="1854954" y="372906"/>
                  <a:pt x="1858740" y="355826"/>
                  <a:pt x="1858740" y="334623"/>
                </a:cubicBezTo>
                <a:cubicBezTo>
                  <a:pt x="1858740" y="313420"/>
                  <a:pt x="1854618" y="296256"/>
                  <a:pt x="1846372" y="283131"/>
                </a:cubicBezTo>
                <a:cubicBezTo>
                  <a:pt x="1838127" y="270006"/>
                  <a:pt x="1825927" y="263443"/>
                  <a:pt x="1809772" y="263443"/>
                </a:cubicBezTo>
                <a:cubicBezTo>
                  <a:pt x="1792945" y="263443"/>
                  <a:pt x="1780745" y="270006"/>
                  <a:pt x="1773173" y="283131"/>
                </a:cubicBezTo>
                <a:cubicBezTo>
                  <a:pt x="1765600" y="296256"/>
                  <a:pt x="1761814" y="313420"/>
                  <a:pt x="1761814" y="334623"/>
                </a:cubicBezTo>
                <a:cubicBezTo>
                  <a:pt x="1761814" y="355826"/>
                  <a:pt x="1765937" y="372906"/>
                  <a:pt x="1774182" y="385863"/>
                </a:cubicBezTo>
                <a:cubicBezTo>
                  <a:pt x="1782428" y="398820"/>
                  <a:pt x="1794628" y="405299"/>
                  <a:pt x="1810782" y="405299"/>
                </a:cubicBezTo>
                <a:close/>
                <a:moveTo>
                  <a:pt x="810657" y="405299"/>
                </a:moveTo>
                <a:cubicBezTo>
                  <a:pt x="827485" y="405299"/>
                  <a:pt x="839684" y="398820"/>
                  <a:pt x="847257" y="385863"/>
                </a:cubicBezTo>
                <a:cubicBezTo>
                  <a:pt x="854829" y="372906"/>
                  <a:pt x="858615" y="355826"/>
                  <a:pt x="858616" y="334623"/>
                </a:cubicBezTo>
                <a:cubicBezTo>
                  <a:pt x="858615" y="313420"/>
                  <a:pt x="854493" y="296256"/>
                  <a:pt x="846247" y="283131"/>
                </a:cubicBezTo>
                <a:cubicBezTo>
                  <a:pt x="838002" y="270006"/>
                  <a:pt x="825802" y="263443"/>
                  <a:pt x="809647" y="263443"/>
                </a:cubicBezTo>
                <a:cubicBezTo>
                  <a:pt x="792820" y="263443"/>
                  <a:pt x="780620" y="270006"/>
                  <a:pt x="773048" y="283131"/>
                </a:cubicBezTo>
                <a:cubicBezTo>
                  <a:pt x="765475" y="296256"/>
                  <a:pt x="761689" y="313420"/>
                  <a:pt x="761689" y="334623"/>
                </a:cubicBezTo>
                <a:cubicBezTo>
                  <a:pt x="761689" y="355826"/>
                  <a:pt x="765812" y="372906"/>
                  <a:pt x="774057" y="385863"/>
                </a:cubicBezTo>
                <a:cubicBezTo>
                  <a:pt x="782303" y="398820"/>
                  <a:pt x="794503" y="405299"/>
                  <a:pt x="810657" y="405299"/>
                </a:cubicBezTo>
                <a:close/>
                <a:moveTo>
                  <a:pt x="3325256" y="411861"/>
                </a:moveTo>
                <a:cubicBezTo>
                  <a:pt x="3316506" y="411861"/>
                  <a:pt x="3309608" y="408496"/>
                  <a:pt x="3304560" y="401765"/>
                </a:cubicBezTo>
                <a:cubicBezTo>
                  <a:pt x="3299512" y="395034"/>
                  <a:pt x="3296988" y="387125"/>
                  <a:pt x="3296988" y="378038"/>
                </a:cubicBezTo>
                <a:cubicBezTo>
                  <a:pt x="3296988" y="368951"/>
                  <a:pt x="3299512" y="361126"/>
                  <a:pt x="3304560" y="354564"/>
                </a:cubicBezTo>
                <a:cubicBezTo>
                  <a:pt x="3309608" y="348001"/>
                  <a:pt x="3316506" y="344720"/>
                  <a:pt x="3325256" y="344720"/>
                </a:cubicBezTo>
                <a:cubicBezTo>
                  <a:pt x="3333334" y="344720"/>
                  <a:pt x="3339980" y="348001"/>
                  <a:pt x="3345198" y="354564"/>
                </a:cubicBezTo>
                <a:cubicBezTo>
                  <a:pt x="3350414" y="361126"/>
                  <a:pt x="3353022" y="368951"/>
                  <a:pt x="3353022" y="378038"/>
                </a:cubicBezTo>
                <a:cubicBezTo>
                  <a:pt x="3353022" y="387125"/>
                  <a:pt x="3350414" y="395034"/>
                  <a:pt x="3345198" y="401765"/>
                </a:cubicBezTo>
                <a:cubicBezTo>
                  <a:pt x="3339980" y="408496"/>
                  <a:pt x="3333334" y="411861"/>
                  <a:pt x="3325256" y="411861"/>
                </a:cubicBezTo>
                <a:close/>
                <a:moveTo>
                  <a:pt x="2207070" y="453257"/>
                </a:moveTo>
                <a:lnTo>
                  <a:pt x="2207070" y="401765"/>
                </a:lnTo>
                <a:lnTo>
                  <a:pt x="2272697" y="401765"/>
                </a:lnTo>
                <a:lnTo>
                  <a:pt x="2272697" y="314430"/>
                </a:lnTo>
                <a:cubicBezTo>
                  <a:pt x="2272697" y="297939"/>
                  <a:pt x="2274043" y="283299"/>
                  <a:pt x="2276735" y="270510"/>
                </a:cubicBezTo>
                <a:cubicBezTo>
                  <a:pt x="2279428" y="257721"/>
                  <a:pt x="2284055" y="246868"/>
                  <a:pt x="2290618" y="237949"/>
                </a:cubicBezTo>
                <a:cubicBezTo>
                  <a:pt x="2297181" y="229031"/>
                  <a:pt x="2305931" y="222215"/>
                  <a:pt x="2316869" y="217504"/>
                </a:cubicBezTo>
                <a:cubicBezTo>
                  <a:pt x="2327807" y="212792"/>
                  <a:pt x="2341353" y="210436"/>
                  <a:pt x="2357508" y="210436"/>
                </a:cubicBezTo>
                <a:cubicBezTo>
                  <a:pt x="2366931" y="210436"/>
                  <a:pt x="2377280" y="211530"/>
                  <a:pt x="2388554" y="213718"/>
                </a:cubicBezTo>
                <a:cubicBezTo>
                  <a:pt x="2399829" y="215905"/>
                  <a:pt x="2411860" y="220028"/>
                  <a:pt x="2424649" y="226086"/>
                </a:cubicBezTo>
                <a:lnTo>
                  <a:pt x="2416572" y="276063"/>
                </a:lnTo>
                <a:cubicBezTo>
                  <a:pt x="2406475" y="271352"/>
                  <a:pt x="2397388" y="268239"/>
                  <a:pt x="2389312" y="266724"/>
                </a:cubicBezTo>
                <a:cubicBezTo>
                  <a:pt x="2381234" y="265210"/>
                  <a:pt x="2374335" y="264452"/>
                  <a:pt x="2368614" y="264452"/>
                </a:cubicBezTo>
                <a:cubicBezTo>
                  <a:pt x="2356498" y="264452"/>
                  <a:pt x="2347832" y="267902"/>
                  <a:pt x="2342615" y="274801"/>
                </a:cubicBezTo>
                <a:cubicBezTo>
                  <a:pt x="2337398" y="281701"/>
                  <a:pt x="2334790" y="292218"/>
                  <a:pt x="2334790" y="306353"/>
                </a:cubicBezTo>
                <a:lnTo>
                  <a:pt x="2334790" y="453257"/>
                </a:lnTo>
                <a:close/>
                <a:moveTo>
                  <a:pt x="1088092" y="457800"/>
                </a:moveTo>
                <a:cubicBezTo>
                  <a:pt x="1064870" y="457800"/>
                  <a:pt x="1044593" y="455949"/>
                  <a:pt x="1027260" y="452247"/>
                </a:cubicBezTo>
                <a:cubicBezTo>
                  <a:pt x="1009928" y="448545"/>
                  <a:pt x="993016" y="443665"/>
                  <a:pt x="976526" y="437607"/>
                </a:cubicBezTo>
                <a:lnTo>
                  <a:pt x="976526" y="215989"/>
                </a:lnTo>
                <a:lnTo>
                  <a:pt x="1039124" y="215989"/>
                </a:lnTo>
                <a:lnTo>
                  <a:pt x="1039124" y="392173"/>
                </a:lnTo>
                <a:cubicBezTo>
                  <a:pt x="1047874" y="394529"/>
                  <a:pt x="1056456" y="396128"/>
                  <a:pt x="1064870" y="396969"/>
                </a:cubicBezTo>
                <a:cubicBezTo>
                  <a:pt x="1073284" y="397810"/>
                  <a:pt x="1081866" y="398231"/>
                  <a:pt x="1090616" y="398231"/>
                </a:cubicBezTo>
                <a:cubicBezTo>
                  <a:pt x="1094318" y="398231"/>
                  <a:pt x="1098861" y="398063"/>
                  <a:pt x="1104246" y="397726"/>
                </a:cubicBezTo>
                <a:cubicBezTo>
                  <a:pt x="1109631" y="397390"/>
                  <a:pt x="1115184" y="396801"/>
                  <a:pt x="1120905" y="395959"/>
                </a:cubicBezTo>
                <a:cubicBezTo>
                  <a:pt x="1126627" y="395118"/>
                  <a:pt x="1132264" y="394192"/>
                  <a:pt x="1137817" y="393183"/>
                </a:cubicBezTo>
                <a:cubicBezTo>
                  <a:pt x="1143370" y="392173"/>
                  <a:pt x="1148166" y="391164"/>
                  <a:pt x="1152205" y="390154"/>
                </a:cubicBezTo>
                <a:lnTo>
                  <a:pt x="1163311" y="447704"/>
                </a:lnTo>
                <a:cubicBezTo>
                  <a:pt x="1157589" y="449723"/>
                  <a:pt x="1151111" y="451322"/>
                  <a:pt x="1143875" y="452500"/>
                </a:cubicBezTo>
                <a:cubicBezTo>
                  <a:pt x="1136639" y="453678"/>
                  <a:pt x="1129487" y="454687"/>
                  <a:pt x="1122420" y="455529"/>
                </a:cubicBezTo>
                <a:cubicBezTo>
                  <a:pt x="1115352" y="456370"/>
                  <a:pt x="1108706" y="456959"/>
                  <a:pt x="1102479" y="457296"/>
                </a:cubicBezTo>
                <a:cubicBezTo>
                  <a:pt x="1096253" y="457632"/>
                  <a:pt x="1091457" y="457800"/>
                  <a:pt x="1088092" y="457800"/>
                </a:cubicBezTo>
                <a:close/>
                <a:moveTo>
                  <a:pt x="2572782" y="459315"/>
                </a:moveTo>
                <a:cubicBezTo>
                  <a:pt x="2556628" y="459315"/>
                  <a:pt x="2541651" y="456370"/>
                  <a:pt x="2527852" y="450480"/>
                </a:cubicBezTo>
                <a:cubicBezTo>
                  <a:pt x="2514054" y="444591"/>
                  <a:pt x="2502190" y="436177"/>
                  <a:pt x="2492262" y="425239"/>
                </a:cubicBezTo>
                <a:cubicBezTo>
                  <a:pt x="2482334" y="414301"/>
                  <a:pt x="2474594" y="401176"/>
                  <a:pt x="2469040" y="385863"/>
                </a:cubicBezTo>
                <a:cubicBezTo>
                  <a:pt x="2463487" y="370550"/>
                  <a:pt x="2460711" y="353638"/>
                  <a:pt x="2460711" y="335128"/>
                </a:cubicBezTo>
                <a:cubicBezTo>
                  <a:pt x="2460711" y="316281"/>
                  <a:pt x="2463403" y="299201"/>
                  <a:pt x="2468788" y="283888"/>
                </a:cubicBezTo>
                <a:cubicBezTo>
                  <a:pt x="2474173" y="268575"/>
                  <a:pt x="2481829" y="255366"/>
                  <a:pt x="2491758" y="244259"/>
                </a:cubicBezTo>
                <a:cubicBezTo>
                  <a:pt x="2501686" y="233153"/>
                  <a:pt x="2513465" y="224571"/>
                  <a:pt x="2527095" y="218513"/>
                </a:cubicBezTo>
                <a:cubicBezTo>
                  <a:pt x="2540726" y="212455"/>
                  <a:pt x="2555954" y="209427"/>
                  <a:pt x="2572782" y="209427"/>
                </a:cubicBezTo>
                <a:cubicBezTo>
                  <a:pt x="2589609" y="209427"/>
                  <a:pt x="2604838" y="212455"/>
                  <a:pt x="2618468" y="218513"/>
                </a:cubicBezTo>
                <a:cubicBezTo>
                  <a:pt x="2632098" y="224571"/>
                  <a:pt x="2643794" y="233153"/>
                  <a:pt x="2653554" y="244259"/>
                </a:cubicBezTo>
                <a:cubicBezTo>
                  <a:pt x="2663314" y="255366"/>
                  <a:pt x="2670886" y="268575"/>
                  <a:pt x="2676271" y="283888"/>
                </a:cubicBezTo>
                <a:cubicBezTo>
                  <a:pt x="2681656" y="299201"/>
                  <a:pt x="2684348" y="316281"/>
                  <a:pt x="2684348" y="335128"/>
                </a:cubicBezTo>
                <a:cubicBezTo>
                  <a:pt x="2684348" y="353638"/>
                  <a:pt x="2681656" y="370550"/>
                  <a:pt x="2676271" y="385863"/>
                </a:cubicBezTo>
                <a:cubicBezTo>
                  <a:pt x="2670886" y="401176"/>
                  <a:pt x="2663230" y="414301"/>
                  <a:pt x="2653302" y="425239"/>
                </a:cubicBezTo>
                <a:cubicBezTo>
                  <a:pt x="2643373" y="436177"/>
                  <a:pt x="2631594" y="444591"/>
                  <a:pt x="2617964" y="450480"/>
                </a:cubicBezTo>
                <a:cubicBezTo>
                  <a:pt x="2604334" y="456370"/>
                  <a:pt x="2589273" y="459315"/>
                  <a:pt x="2572782" y="459315"/>
                </a:cubicBezTo>
                <a:close/>
                <a:moveTo>
                  <a:pt x="1810782" y="459315"/>
                </a:moveTo>
                <a:cubicBezTo>
                  <a:pt x="1794628" y="459315"/>
                  <a:pt x="1779651" y="456370"/>
                  <a:pt x="1765853" y="450480"/>
                </a:cubicBezTo>
                <a:cubicBezTo>
                  <a:pt x="1752054" y="444591"/>
                  <a:pt x="1740191" y="436177"/>
                  <a:pt x="1730262" y="425239"/>
                </a:cubicBezTo>
                <a:cubicBezTo>
                  <a:pt x="1720334" y="414301"/>
                  <a:pt x="1712594" y="401176"/>
                  <a:pt x="1707040" y="385863"/>
                </a:cubicBezTo>
                <a:cubicBezTo>
                  <a:pt x="1701488" y="370550"/>
                  <a:pt x="1698711" y="353638"/>
                  <a:pt x="1698711" y="335128"/>
                </a:cubicBezTo>
                <a:cubicBezTo>
                  <a:pt x="1698711" y="316281"/>
                  <a:pt x="1701403" y="299201"/>
                  <a:pt x="1706788" y="283888"/>
                </a:cubicBezTo>
                <a:cubicBezTo>
                  <a:pt x="1712173" y="268575"/>
                  <a:pt x="1719829" y="255366"/>
                  <a:pt x="1729758" y="244259"/>
                </a:cubicBezTo>
                <a:cubicBezTo>
                  <a:pt x="1739686" y="233153"/>
                  <a:pt x="1751465" y="224571"/>
                  <a:pt x="1765095" y="218513"/>
                </a:cubicBezTo>
                <a:cubicBezTo>
                  <a:pt x="1778726" y="212455"/>
                  <a:pt x="1793954" y="209427"/>
                  <a:pt x="1810782" y="209427"/>
                </a:cubicBezTo>
                <a:cubicBezTo>
                  <a:pt x="1827610" y="209427"/>
                  <a:pt x="1842838" y="212455"/>
                  <a:pt x="1856469" y="218513"/>
                </a:cubicBezTo>
                <a:cubicBezTo>
                  <a:pt x="1870099" y="224571"/>
                  <a:pt x="1881794" y="233153"/>
                  <a:pt x="1891554" y="244259"/>
                </a:cubicBezTo>
                <a:cubicBezTo>
                  <a:pt x="1901314" y="255366"/>
                  <a:pt x="1908886" y="268575"/>
                  <a:pt x="1914271" y="283888"/>
                </a:cubicBezTo>
                <a:cubicBezTo>
                  <a:pt x="1919656" y="299201"/>
                  <a:pt x="1922348" y="316281"/>
                  <a:pt x="1922348" y="335128"/>
                </a:cubicBezTo>
                <a:cubicBezTo>
                  <a:pt x="1922348" y="353638"/>
                  <a:pt x="1919656" y="370550"/>
                  <a:pt x="1914271" y="385863"/>
                </a:cubicBezTo>
                <a:cubicBezTo>
                  <a:pt x="1908886" y="401176"/>
                  <a:pt x="1901230" y="414301"/>
                  <a:pt x="1891302" y="425239"/>
                </a:cubicBezTo>
                <a:cubicBezTo>
                  <a:pt x="1881374" y="436177"/>
                  <a:pt x="1869594" y="444591"/>
                  <a:pt x="1855964" y="450480"/>
                </a:cubicBezTo>
                <a:cubicBezTo>
                  <a:pt x="1842334" y="456370"/>
                  <a:pt x="1827273" y="459315"/>
                  <a:pt x="1810782" y="459315"/>
                </a:cubicBezTo>
                <a:close/>
                <a:moveTo>
                  <a:pt x="810657" y="459315"/>
                </a:moveTo>
                <a:cubicBezTo>
                  <a:pt x="794503" y="459315"/>
                  <a:pt x="779526" y="456370"/>
                  <a:pt x="765728" y="450480"/>
                </a:cubicBezTo>
                <a:cubicBezTo>
                  <a:pt x="751929" y="444591"/>
                  <a:pt x="740066" y="436177"/>
                  <a:pt x="730138" y="425239"/>
                </a:cubicBezTo>
                <a:cubicBezTo>
                  <a:pt x="720209" y="414301"/>
                  <a:pt x="712469" y="401176"/>
                  <a:pt x="706916" y="385863"/>
                </a:cubicBezTo>
                <a:cubicBezTo>
                  <a:pt x="701362" y="370550"/>
                  <a:pt x="698586" y="353638"/>
                  <a:pt x="698586" y="335128"/>
                </a:cubicBezTo>
                <a:cubicBezTo>
                  <a:pt x="698586" y="316281"/>
                  <a:pt x="701278" y="299201"/>
                  <a:pt x="706663" y="283888"/>
                </a:cubicBezTo>
                <a:cubicBezTo>
                  <a:pt x="712048" y="268575"/>
                  <a:pt x="719704" y="255366"/>
                  <a:pt x="729633" y="244259"/>
                </a:cubicBezTo>
                <a:cubicBezTo>
                  <a:pt x="739561" y="233153"/>
                  <a:pt x="751340" y="224571"/>
                  <a:pt x="764970" y="218513"/>
                </a:cubicBezTo>
                <a:cubicBezTo>
                  <a:pt x="778601" y="212455"/>
                  <a:pt x="793830" y="209427"/>
                  <a:pt x="810657" y="209427"/>
                </a:cubicBezTo>
                <a:cubicBezTo>
                  <a:pt x="827485" y="209427"/>
                  <a:pt x="842713" y="212455"/>
                  <a:pt x="856344" y="218513"/>
                </a:cubicBezTo>
                <a:cubicBezTo>
                  <a:pt x="869974" y="224571"/>
                  <a:pt x="881669" y="233153"/>
                  <a:pt x="891429" y="244259"/>
                </a:cubicBezTo>
                <a:cubicBezTo>
                  <a:pt x="901189" y="255366"/>
                  <a:pt x="908761" y="268575"/>
                  <a:pt x="914146" y="283888"/>
                </a:cubicBezTo>
                <a:cubicBezTo>
                  <a:pt x="919531" y="299201"/>
                  <a:pt x="922223" y="316281"/>
                  <a:pt x="922223" y="335128"/>
                </a:cubicBezTo>
                <a:cubicBezTo>
                  <a:pt x="922223" y="353638"/>
                  <a:pt x="919531" y="370550"/>
                  <a:pt x="914146" y="385863"/>
                </a:cubicBezTo>
                <a:cubicBezTo>
                  <a:pt x="908761" y="401176"/>
                  <a:pt x="901105" y="414301"/>
                  <a:pt x="891177" y="425239"/>
                </a:cubicBezTo>
                <a:cubicBezTo>
                  <a:pt x="881248" y="436177"/>
                  <a:pt x="869469" y="444591"/>
                  <a:pt x="855839" y="450480"/>
                </a:cubicBezTo>
                <a:cubicBezTo>
                  <a:pt x="842209" y="456370"/>
                  <a:pt x="827148" y="459315"/>
                  <a:pt x="810657" y="459315"/>
                </a:cubicBezTo>
                <a:close/>
                <a:moveTo>
                  <a:pt x="546919" y="477993"/>
                </a:moveTo>
                <a:cubicBezTo>
                  <a:pt x="563410" y="477993"/>
                  <a:pt x="576620" y="474207"/>
                  <a:pt x="586548" y="466635"/>
                </a:cubicBezTo>
                <a:cubicBezTo>
                  <a:pt x="596476" y="459062"/>
                  <a:pt x="601441" y="446189"/>
                  <a:pt x="601441" y="428016"/>
                </a:cubicBezTo>
                <a:cubicBezTo>
                  <a:pt x="601441" y="408832"/>
                  <a:pt x="596392" y="395286"/>
                  <a:pt x="586296" y="387377"/>
                </a:cubicBezTo>
                <a:cubicBezTo>
                  <a:pt x="576199" y="379468"/>
                  <a:pt x="561223" y="375514"/>
                  <a:pt x="541366" y="375514"/>
                </a:cubicBezTo>
                <a:lnTo>
                  <a:pt x="516125" y="375514"/>
                </a:lnTo>
                <a:lnTo>
                  <a:pt x="516125" y="476479"/>
                </a:lnTo>
                <a:cubicBezTo>
                  <a:pt x="519827" y="477152"/>
                  <a:pt x="524960" y="477573"/>
                  <a:pt x="531522" y="477741"/>
                </a:cubicBezTo>
                <a:cubicBezTo>
                  <a:pt x="538085" y="477909"/>
                  <a:pt x="543217" y="477993"/>
                  <a:pt x="546919" y="477993"/>
                </a:cubicBezTo>
                <a:close/>
                <a:moveTo>
                  <a:pt x="3324752" y="482537"/>
                </a:moveTo>
                <a:cubicBezTo>
                  <a:pt x="3341916" y="482537"/>
                  <a:pt x="3354958" y="473198"/>
                  <a:pt x="3363876" y="454519"/>
                </a:cubicBezTo>
                <a:cubicBezTo>
                  <a:pt x="3372794" y="435841"/>
                  <a:pt x="3377254" y="408664"/>
                  <a:pt x="3377254" y="372990"/>
                </a:cubicBezTo>
                <a:cubicBezTo>
                  <a:pt x="3377254" y="336979"/>
                  <a:pt x="3372794" y="309634"/>
                  <a:pt x="3363876" y="290956"/>
                </a:cubicBezTo>
                <a:cubicBezTo>
                  <a:pt x="3354958" y="272277"/>
                  <a:pt x="3341916" y="262938"/>
                  <a:pt x="3324752" y="262938"/>
                </a:cubicBezTo>
                <a:cubicBezTo>
                  <a:pt x="3307924" y="262938"/>
                  <a:pt x="3294968" y="272277"/>
                  <a:pt x="3285880" y="290956"/>
                </a:cubicBezTo>
                <a:cubicBezTo>
                  <a:pt x="3276794" y="309634"/>
                  <a:pt x="3272250" y="336979"/>
                  <a:pt x="3272250" y="372990"/>
                </a:cubicBezTo>
                <a:cubicBezTo>
                  <a:pt x="3272250" y="408664"/>
                  <a:pt x="3276794" y="435841"/>
                  <a:pt x="3285880" y="454519"/>
                </a:cubicBezTo>
                <a:cubicBezTo>
                  <a:pt x="3294968" y="473198"/>
                  <a:pt x="3307924" y="482537"/>
                  <a:pt x="3324752" y="482537"/>
                </a:cubicBezTo>
                <a:close/>
                <a:moveTo>
                  <a:pt x="1323054" y="522923"/>
                </a:moveTo>
                <a:lnTo>
                  <a:pt x="1260961" y="512826"/>
                </a:lnTo>
                <a:lnTo>
                  <a:pt x="1260961" y="453257"/>
                </a:lnTo>
                <a:lnTo>
                  <a:pt x="1206945" y="453257"/>
                </a:lnTo>
                <a:lnTo>
                  <a:pt x="1206945" y="401765"/>
                </a:lnTo>
                <a:lnTo>
                  <a:pt x="1260961" y="401765"/>
                </a:lnTo>
                <a:lnTo>
                  <a:pt x="1260961" y="304334"/>
                </a:lnTo>
                <a:cubicBezTo>
                  <a:pt x="1260961" y="284477"/>
                  <a:pt x="1262980" y="268407"/>
                  <a:pt x="1267019" y="256123"/>
                </a:cubicBezTo>
                <a:cubicBezTo>
                  <a:pt x="1271057" y="243839"/>
                  <a:pt x="1276947" y="234331"/>
                  <a:pt x="1284688" y="227600"/>
                </a:cubicBezTo>
                <a:cubicBezTo>
                  <a:pt x="1292428" y="220869"/>
                  <a:pt x="1301852" y="216326"/>
                  <a:pt x="1312958" y="213970"/>
                </a:cubicBezTo>
                <a:cubicBezTo>
                  <a:pt x="1324064" y="211614"/>
                  <a:pt x="1336853" y="210436"/>
                  <a:pt x="1351325" y="210436"/>
                </a:cubicBezTo>
                <a:cubicBezTo>
                  <a:pt x="1363777" y="210436"/>
                  <a:pt x="1376650" y="211446"/>
                  <a:pt x="1389944" y="213465"/>
                </a:cubicBezTo>
                <a:cubicBezTo>
                  <a:pt x="1403238" y="215484"/>
                  <a:pt x="1415606" y="218850"/>
                  <a:pt x="1427048" y="223562"/>
                </a:cubicBezTo>
                <a:lnTo>
                  <a:pt x="1418466" y="277073"/>
                </a:lnTo>
                <a:cubicBezTo>
                  <a:pt x="1412745" y="274381"/>
                  <a:pt x="1407444" y="272193"/>
                  <a:pt x="1402564" y="270510"/>
                </a:cubicBezTo>
                <a:cubicBezTo>
                  <a:pt x="1397684" y="268828"/>
                  <a:pt x="1392973" y="267566"/>
                  <a:pt x="1388429" y="266724"/>
                </a:cubicBezTo>
                <a:cubicBezTo>
                  <a:pt x="1383886" y="265883"/>
                  <a:pt x="1379174" y="265294"/>
                  <a:pt x="1374294" y="264957"/>
                </a:cubicBezTo>
                <a:cubicBezTo>
                  <a:pt x="1369414" y="264621"/>
                  <a:pt x="1364114" y="264452"/>
                  <a:pt x="1358392" y="264452"/>
                </a:cubicBezTo>
                <a:cubicBezTo>
                  <a:pt x="1353007" y="264452"/>
                  <a:pt x="1348127" y="264957"/>
                  <a:pt x="1343752" y="265967"/>
                </a:cubicBezTo>
                <a:cubicBezTo>
                  <a:pt x="1339377" y="266977"/>
                  <a:pt x="1335675" y="268996"/>
                  <a:pt x="1332646" y="272025"/>
                </a:cubicBezTo>
                <a:cubicBezTo>
                  <a:pt x="1329617" y="275054"/>
                  <a:pt x="1327261" y="279261"/>
                  <a:pt x="1325579" y="284645"/>
                </a:cubicBezTo>
                <a:cubicBezTo>
                  <a:pt x="1323896" y="290030"/>
                  <a:pt x="1323054" y="297098"/>
                  <a:pt x="1323054" y="305848"/>
                </a:cubicBezTo>
                <a:lnTo>
                  <a:pt x="1323054" y="401765"/>
                </a:lnTo>
                <a:lnTo>
                  <a:pt x="1422505" y="401765"/>
                </a:lnTo>
                <a:lnTo>
                  <a:pt x="1422505" y="453257"/>
                </a:lnTo>
                <a:lnTo>
                  <a:pt x="1323054" y="453257"/>
                </a:lnTo>
                <a:close/>
                <a:moveTo>
                  <a:pt x="539852" y="532010"/>
                </a:moveTo>
                <a:cubicBezTo>
                  <a:pt x="534131" y="532010"/>
                  <a:pt x="527568" y="531841"/>
                  <a:pt x="520164" y="531505"/>
                </a:cubicBezTo>
                <a:cubicBezTo>
                  <a:pt x="512760" y="531168"/>
                  <a:pt x="505187" y="530748"/>
                  <a:pt x="497447" y="530243"/>
                </a:cubicBezTo>
                <a:cubicBezTo>
                  <a:pt x="489706" y="529738"/>
                  <a:pt x="482049" y="528981"/>
                  <a:pt x="474477" y="527971"/>
                </a:cubicBezTo>
                <a:cubicBezTo>
                  <a:pt x="466905" y="526961"/>
                  <a:pt x="460090" y="525784"/>
                  <a:pt x="454032" y="524437"/>
                </a:cubicBezTo>
                <a:lnTo>
                  <a:pt x="454032" y="215989"/>
                </a:lnTo>
                <a:lnTo>
                  <a:pt x="516125" y="215989"/>
                </a:lnTo>
                <a:lnTo>
                  <a:pt x="516125" y="321498"/>
                </a:lnTo>
                <a:lnTo>
                  <a:pt x="538337" y="321498"/>
                </a:lnTo>
                <a:cubicBezTo>
                  <a:pt x="578723" y="321498"/>
                  <a:pt x="609938" y="329827"/>
                  <a:pt x="631982" y="346486"/>
                </a:cubicBezTo>
                <a:cubicBezTo>
                  <a:pt x="654026" y="363146"/>
                  <a:pt x="665048" y="390154"/>
                  <a:pt x="665048" y="427511"/>
                </a:cubicBezTo>
                <a:cubicBezTo>
                  <a:pt x="665048" y="464531"/>
                  <a:pt x="654111" y="491203"/>
                  <a:pt x="632235" y="507526"/>
                </a:cubicBezTo>
                <a:cubicBezTo>
                  <a:pt x="610359" y="523848"/>
                  <a:pt x="579565" y="532010"/>
                  <a:pt x="539852" y="532010"/>
                </a:cubicBezTo>
                <a:close/>
                <a:moveTo>
                  <a:pt x="3816452" y="535544"/>
                </a:moveTo>
                <a:cubicBezTo>
                  <a:pt x="3797604" y="535544"/>
                  <a:pt x="3780694" y="532430"/>
                  <a:pt x="3765716" y="526204"/>
                </a:cubicBezTo>
                <a:cubicBezTo>
                  <a:pt x="3750740" y="519978"/>
                  <a:pt x="3738708" y="513836"/>
                  <a:pt x="3729622" y="507778"/>
                </a:cubicBezTo>
                <a:lnTo>
                  <a:pt x="3751834" y="462344"/>
                </a:lnTo>
                <a:cubicBezTo>
                  <a:pt x="3760248" y="468065"/>
                  <a:pt x="3770260" y="472861"/>
                  <a:pt x="3781872" y="476731"/>
                </a:cubicBezTo>
                <a:cubicBezTo>
                  <a:pt x="3793482" y="480602"/>
                  <a:pt x="3805178" y="482537"/>
                  <a:pt x="3816956" y="482537"/>
                </a:cubicBezTo>
                <a:cubicBezTo>
                  <a:pt x="3829072" y="482537"/>
                  <a:pt x="3838580" y="479255"/>
                  <a:pt x="3845480" y="472693"/>
                </a:cubicBezTo>
                <a:cubicBezTo>
                  <a:pt x="3852378" y="466130"/>
                  <a:pt x="3855828" y="457127"/>
                  <a:pt x="3855828" y="445685"/>
                </a:cubicBezTo>
                <a:cubicBezTo>
                  <a:pt x="3855828" y="437944"/>
                  <a:pt x="3854230" y="431550"/>
                  <a:pt x="3851032" y="426501"/>
                </a:cubicBezTo>
                <a:cubicBezTo>
                  <a:pt x="3847836" y="421453"/>
                  <a:pt x="3843712" y="417414"/>
                  <a:pt x="3838664" y="414385"/>
                </a:cubicBezTo>
                <a:cubicBezTo>
                  <a:pt x="3833616" y="411357"/>
                  <a:pt x="3827894" y="409169"/>
                  <a:pt x="3821500" y="407823"/>
                </a:cubicBezTo>
                <a:cubicBezTo>
                  <a:pt x="3815106" y="406477"/>
                  <a:pt x="3808712" y="405803"/>
                  <a:pt x="3802316" y="405803"/>
                </a:cubicBezTo>
                <a:lnTo>
                  <a:pt x="3779094" y="405803"/>
                </a:lnTo>
                <a:lnTo>
                  <a:pt x="3779094" y="354311"/>
                </a:lnTo>
                <a:lnTo>
                  <a:pt x="3798278" y="354311"/>
                </a:lnTo>
                <a:cubicBezTo>
                  <a:pt x="3818470" y="354311"/>
                  <a:pt x="3835130" y="351030"/>
                  <a:pt x="3848256" y="344467"/>
                </a:cubicBezTo>
                <a:cubicBezTo>
                  <a:pt x="3861380" y="337904"/>
                  <a:pt x="3867944" y="326378"/>
                  <a:pt x="3867944" y="309887"/>
                </a:cubicBezTo>
                <a:cubicBezTo>
                  <a:pt x="3867944" y="296425"/>
                  <a:pt x="3863652" y="285150"/>
                  <a:pt x="3855072" y="276063"/>
                </a:cubicBezTo>
                <a:cubicBezTo>
                  <a:pt x="3846488" y="266977"/>
                  <a:pt x="3831596" y="262433"/>
                  <a:pt x="3810394" y="262433"/>
                </a:cubicBezTo>
                <a:cubicBezTo>
                  <a:pt x="3793230" y="262433"/>
                  <a:pt x="3778506" y="264284"/>
                  <a:pt x="3766222" y="267986"/>
                </a:cubicBezTo>
                <a:cubicBezTo>
                  <a:pt x="3753938" y="271688"/>
                  <a:pt x="3743924" y="275222"/>
                  <a:pt x="3736184" y="278588"/>
                </a:cubicBezTo>
                <a:lnTo>
                  <a:pt x="3724068" y="226591"/>
                </a:lnTo>
                <a:cubicBezTo>
                  <a:pt x="3727770" y="224908"/>
                  <a:pt x="3732988" y="223057"/>
                  <a:pt x="3739718" y="221037"/>
                </a:cubicBezTo>
                <a:cubicBezTo>
                  <a:pt x="3746450" y="219018"/>
                  <a:pt x="3753770" y="217167"/>
                  <a:pt x="3761678" y="215484"/>
                </a:cubicBezTo>
                <a:cubicBezTo>
                  <a:pt x="3769588" y="213802"/>
                  <a:pt x="3777832" y="212371"/>
                  <a:pt x="3786414" y="211193"/>
                </a:cubicBezTo>
                <a:cubicBezTo>
                  <a:pt x="3794996" y="210015"/>
                  <a:pt x="3803158" y="209427"/>
                  <a:pt x="3810898" y="209427"/>
                </a:cubicBezTo>
                <a:cubicBezTo>
                  <a:pt x="3831764" y="209427"/>
                  <a:pt x="3849770" y="211867"/>
                  <a:pt x="3864916" y="216746"/>
                </a:cubicBezTo>
                <a:cubicBezTo>
                  <a:pt x="3880060" y="221626"/>
                  <a:pt x="3892512" y="228526"/>
                  <a:pt x="3902272" y="237444"/>
                </a:cubicBezTo>
                <a:cubicBezTo>
                  <a:pt x="3912032" y="246363"/>
                  <a:pt x="3919268" y="256880"/>
                  <a:pt x="3923980" y="268996"/>
                </a:cubicBezTo>
                <a:cubicBezTo>
                  <a:pt x="3928692" y="281112"/>
                  <a:pt x="3931048" y="294405"/>
                  <a:pt x="3931048" y="308877"/>
                </a:cubicBezTo>
                <a:cubicBezTo>
                  <a:pt x="3931048" y="327051"/>
                  <a:pt x="3926588" y="342700"/>
                  <a:pt x="3917668" y="355826"/>
                </a:cubicBezTo>
                <a:cubicBezTo>
                  <a:pt x="3908750" y="368951"/>
                  <a:pt x="3896214" y="378879"/>
                  <a:pt x="3880060" y="385610"/>
                </a:cubicBezTo>
                <a:cubicBezTo>
                  <a:pt x="3891840" y="391668"/>
                  <a:pt x="3901262" y="400419"/>
                  <a:pt x="3908330" y="411861"/>
                </a:cubicBezTo>
                <a:cubicBezTo>
                  <a:pt x="3915398" y="423304"/>
                  <a:pt x="3918932" y="435252"/>
                  <a:pt x="3918932" y="447704"/>
                </a:cubicBezTo>
                <a:cubicBezTo>
                  <a:pt x="3918932" y="460156"/>
                  <a:pt x="3916912" y="471767"/>
                  <a:pt x="3912874" y="482537"/>
                </a:cubicBezTo>
                <a:cubicBezTo>
                  <a:pt x="3908834" y="493306"/>
                  <a:pt x="3902608" y="502646"/>
                  <a:pt x="3894196" y="510555"/>
                </a:cubicBezTo>
                <a:cubicBezTo>
                  <a:pt x="3885780" y="518464"/>
                  <a:pt x="3875096" y="524606"/>
                  <a:pt x="3862138" y="528981"/>
                </a:cubicBezTo>
                <a:cubicBezTo>
                  <a:pt x="3849180" y="533356"/>
                  <a:pt x="3833952" y="535544"/>
                  <a:pt x="3816452" y="535544"/>
                </a:cubicBezTo>
                <a:close/>
                <a:moveTo>
                  <a:pt x="3567354" y="535544"/>
                </a:moveTo>
                <a:cubicBezTo>
                  <a:pt x="3549854" y="535544"/>
                  <a:pt x="3532268" y="532178"/>
                  <a:pt x="3514600" y="525447"/>
                </a:cubicBezTo>
                <a:cubicBezTo>
                  <a:pt x="3496930" y="518716"/>
                  <a:pt x="3481366" y="508283"/>
                  <a:pt x="3467904" y="494148"/>
                </a:cubicBezTo>
                <a:lnTo>
                  <a:pt x="3498698" y="450733"/>
                </a:lnTo>
                <a:cubicBezTo>
                  <a:pt x="3509130" y="461839"/>
                  <a:pt x="3519732" y="469748"/>
                  <a:pt x="3530502" y="474460"/>
                </a:cubicBezTo>
                <a:cubicBezTo>
                  <a:pt x="3541272" y="479171"/>
                  <a:pt x="3551536" y="481527"/>
                  <a:pt x="3561296" y="481527"/>
                </a:cubicBezTo>
                <a:cubicBezTo>
                  <a:pt x="3573076" y="481527"/>
                  <a:pt x="3582836" y="478078"/>
                  <a:pt x="3590576" y="471178"/>
                </a:cubicBezTo>
                <a:cubicBezTo>
                  <a:pt x="3598316" y="464279"/>
                  <a:pt x="3602186" y="454435"/>
                  <a:pt x="3602188" y="441646"/>
                </a:cubicBezTo>
                <a:cubicBezTo>
                  <a:pt x="3602186" y="432559"/>
                  <a:pt x="3599074" y="423641"/>
                  <a:pt x="3592848" y="414890"/>
                </a:cubicBezTo>
                <a:cubicBezTo>
                  <a:pt x="3586622" y="406140"/>
                  <a:pt x="3578712" y="397053"/>
                  <a:pt x="3569120" y="387630"/>
                </a:cubicBezTo>
                <a:cubicBezTo>
                  <a:pt x="3559528" y="378206"/>
                  <a:pt x="3549264" y="368362"/>
                  <a:pt x="3538326" y="358097"/>
                </a:cubicBezTo>
                <a:cubicBezTo>
                  <a:pt x="3527388" y="347833"/>
                  <a:pt x="3517124" y="336727"/>
                  <a:pt x="3507532" y="324779"/>
                </a:cubicBezTo>
                <a:cubicBezTo>
                  <a:pt x="3497940" y="312831"/>
                  <a:pt x="3490032" y="299790"/>
                  <a:pt x="3483806" y="285655"/>
                </a:cubicBezTo>
                <a:cubicBezTo>
                  <a:pt x="3477580" y="271520"/>
                  <a:pt x="3474466" y="256039"/>
                  <a:pt x="3474466" y="239211"/>
                </a:cubicBezTo>
                <a:cubicBezTo>
                  <a:pt x="3474466" y="237192"/>
                  <a:pt x="3474382" y="233658"/>
                  <a:pt x="3474214" y="228610"/>
                </a:cubicBezTo>
                <a:cubicBezTo>
                  <a:pt x="3474046" y="223562"/>
                  <a:pt x="3474466" y="219355"/>
                  <a:pt x="3475476" y="215989"/>
                </a:cubicBezTo>
                <a:lnTo>
                  <a:pt x="3679426" y="215989"/>
                </a:lnTo>
                <a:lnTo>
                  <a:pt x="3679426" y="267481"/>
                </a:lnTo>
                <a:lnTo>
                  <a:pt x="3545142" y="267481"/>
                </a:lnTo>
                <a:cubicBezTo>
                  <a:pt x="3545142" y="272530"/>
                  <a:pt x="3546908" y="278083"/>
                  <a:pt x="3550442" y="284141"/>
                </a:cubicBezTo>
                <a:cubicBezTo>
                  <a:pt x="3553976" y="290198"/>
                  <a:pt x="3558268" y="296172"/>
                  <a:pt x="3563316" y="302062"/>
                </a:cubicBezTo>
                <a:cubicBezTo>
                  <a:pt x="3568364" y="307952"/>
                  <a:pt x="3573748" y="313673"/>
                  <a:pt x="3579470" y="319226"/>
                </a:cubicBezTo>
                <a:cubicBezTo>
                  <a:pt x="3585190" y="324779"/>
                  <a:pt x="3590240" y="329575"/>
                  <a:pt x="3594614" y="333613"/>
                </a:cubicBezTo>
                <a:cubicBezTo>
                  <a:pt x="3603364" y="341691"/>
                  <a:pt x="3611946" y="350104"/>
                  <a:pt x="3620360" y="358855"/>
                </a:cubicBezTo>
                <a:cubicBezTo>
                  <a:pt x="3628774" y="367605"/>
                  <a:pt x="3636346" y="376692"/>
                  <a:pt x="3643078" y="386115"/>
                </a:cubicBezTo>
                <a:cubicBezTo>
                  <a:pt x="3649808" y="395539"/>
                  <a:pt x="3655194" y="405214"/>
                  <a:pt x="3659232" y="415143"/>
                </a:cubicBezTo>
                <a:cubicBezTo>
                  <a:pt x="3663270" y="425071"/>
                  <a:pt x="3665290" y="435420"/>
                  <a:pt x="3665290" y="446189"/>
                </a:cubicBezTo>
                <a:cubicBezTo>
                  <a:pt x="3665290" y="460998"/>
                  <a:pt x="3662598" y="474039"/>
                  <a:pt x="3657212" y="485313"/>
                </a:cubicBezTo>
                <a:cubicBezTo>
                  <a:pt x="3651828" y="496588"/>
                  <a:pt x="3644592" y="505927"/>
                  <a:pt x="3635506" y="513331"/>
                </a:cubicBezTo>
                <a:cubicBezTo>
                  <a:pt x="3626418" y="520735"/>
                  <a:pt x="3615986" y="526288"/>
                  <a:pt x="3604206" y="529990"/>
                </a:cubicBezTo>
                <a:cubicBezTo>
                  <a:pt x="3592426" y="533692"/>
                  <a:pt x="3580142" y="535544"/>
                  <a:pt x="3567354" y="535544"/>
                </a:cubicBezTo>
                <a:close/>
                <a:moveTo>
                  <a:pt x="3324752" y="535544"/>
                </a:moveTo>
                <a:cubicBezTo>
                  <a:pt x="3290088" y="535544"/>
                  <a:pt x="3263332" y="522081"/>
                  <a:pt x="3244486" y="495157"/>
                </a:cubicBezTo>
                <a:cubicBezTo>
                  <a:pt x="3225638" y="468233"/>
                  <a:pt x="3216214" y="427511"/>
                  <a:pt x="3216214" y="372990"/>
                </a:cubicBezTo>
                <a:cubicBezTo>
                  <a:pt x="3216214" y="317796"/>
                  <a:pt x="3225470" y="276737"/>
                  <a:pt x="3243980" y="249813"/>
                </a:cubicBezTo>
                <a:cubicBezTo>
                  <a:pt x="3262490" y="222889"/>
                  <a:pt x="3289414" y="209427"/>
                  <a:pt x="3324752" y="209427"/>
                </a:cubicBezTo>
                <a:cubicBezTo>
                  <a:pt x="3360090" y="209427"/>
                  <a:pt x="3387014" y="222889"/>
                  <a:pt x="3405524" y="249813"/>
                </a:cubicBezTo>
                <a:cubicBezTo>
                  <a:pt x="3424034" y="276737"/>
                  <a:pt x="3433290" y="317796"/>
                  <a:pt x="3433290" y="372990"/>
                </a:cubicBezTo>
                <a:cubicBezTo>
                  <a:pt x="3433290" y="427847"/>
                  <a:pt x="3424034" y="468654"/>
                  <a:pt x="3405524" y="495410"/>
                </a:cubicBezTo>
                <a:cubicBezTo>
                  <a:pt x="3387014" y="522166"/>
                  <a:pt x="3360090" y="535544"/>
                  <a:pt x="3324752" y="535544"/>
                </a:cubicBezTo>
                <a:close/>
                <a:moveTo>
                  <a:pt x="3062528" y="535544"/>
                </a:moveTo>
                <a:cubicBezTo>
                  <a:pt x="3045028" y="535544"/>
                  <a:pt x="3027444" y="532178"/>
                  <a:pt x="3009774" y="525447"/>
                </a:cubicBezTo>
                <a:cubicBezTo>
                  <a:pt x="2992106" y="518716"/>
                  <a:pt x="2976540" y="508283"/>
                  <a:pt x="2963078" y="494148"/>
                </a:cubicBezTo>
                <a:lnTo>
                  <a:pt x="2993872" y="450733"/>
                </a:lnTo>
                <a:cubicBezTo>
                  <a:pt x="3004306" y="461839"/>
                  <a:pt x="3014908" y="469748"/>
                  <a:pt x="3025676" y="474460"/>
                </a:cubicBezTo>
                <a:cubicBezTo>
                  <a:pt x="3036446" y="479171"/>
                  <a:pt x="3046712" y="481527"/>
                  <a:pt x="3056472" y="481527"/>
                </a:cubicBezTo>
                <a:cubicBezTo>
                  <a:pt x="3068250" y="481527"/>
                  <a:pt x="3078010" y="478078"/>
                  <a:pt x="3085752" y="471178"/>
                </a:cubicBezTo>
                <a:cubicBezTo>
                  <a:pt x="3093492" y="464279"/>
                  <a:pt x="3097362" y="454435"/>
                  <a:pt x="3097362" y="441646"/>
                </a:cubicBezTo>
                <a:cubicBezTo>
                  <a:pt x="3097362" y="432559"/>
                  <a:pt x="3094248" y="423641"/>
                  <a:pt x="3088022" y="414890"/>
                </a:cubicBezTo>
                <a:cubicBezTo>
                  <a:pt x="3081796" y="406140"/>
                  <a:pt x="3073888" y="397053"/>
                  <a:pt x="3064296" y="387630"/>
                </a:cubicBezTo>
                <a:cubicBezTo>
                  <a:pt x="3054704" y="378206"/>
                  <a:pt x="3044440" y="368362"/>
                  <a:pt x="3033502" y="358097"/>
                </a:cubicBezTo>
                <a:cubicBezTo>
                  <a:pt x="3022564" y="347833"/>
                  <a:pt x="3012298" y="336727"/>
                  <a:pt x="3002708" y="324779"/>
                </a:cubicBezTo>
                <a:cubicBezTo>
                  <a:pt x="2993116" y="312831"/>
                  <a:pt x="2985206" y="299790"/>
                  <a:pt x="2978980" y="285655"/>
                </a:cubicBezTo>
                <a:cubicBezTo>
                  <a:pt x="2972754" y="271520"/>
                  <a:pt x="2969642" y="256039"/>
                  <a:pt x="2969642" y="239211"/>
                </a:cubicBezTo>
                <a:cubicBezTo>
                  <a:pt x="2969642" y="237192"/>
                  <a:pt x="2969558" y="233658"/>
                  <a:pt x="2969388" y="228610"/>
                </a:cubicBezTo>
                <a:cubicBezTo>
                  <a:pt x="2969220" y="223562"/>
                  <a:pt x="2969640" y="219355"/>
                  <a:pt x="2970650" y="215989"/>
                </a:cubicBezTo>
                <a:lnTo>
                  <a:pt x="3174600" y="215989"/>
                </a:lnTo>
                <a:lnTo>
                  <a:pt x="3174600" y="267481"/>
                </a:lnTo>
                <a:lnTo>
                  <a:pt x="3040316" y="267481"/>
                </a:lnTo>
                <a:cubicBezTo>
                  <a:pt x="3040316" y="272530"/>
                  <a:pt x="3042084" y="278083"/>
                  <a:pt x="3045618" y="284141"/>
                </a:cubicBezTo>
                <a:cubicBezTo>
                  <a:pt x="3049152" y="290198"/>
                  <a:pt x="3053442" y="296172"/>
                  <a:pt x="3058490" y="302062"/>
                </a:cubicBezTo>
                <a:cubicBezTo>
                  <a:pt x="3063538" y="307952"/>
                  <a:pt x="3068924" y="313673"/>
                  <a:pt x="3074644" y="319226"/>
                </a:cubicBezTo>
                <a:cubicBezTo>
                  <a:pt x="3080366" y="324779"/>
                  <a:pt x="3085414" y="329575"/>
                  <a:pt x="3089790" y="333613"/>
                </a:cubicBezTo>
                <a:cubicBezTo>
                  <a:pt x="3098540" y="341691"/>
                  <a:pt x="3107122" y="350104"/>
                  <a:pt x="3115536" y="358855"/>
                </a:cubicBezTo>
                <a:cubicBezTo>
                  <a:pt x="3123950" y="367605"/>
                  <a:pt x="3131522" y="376692"/>
                  <a:pt x="3138252" y="386115"/>
                </a:cubicBezTo>
                <a:cubicBezTo>
                  <a:pt x="3144984" y="395539"/>
                  <a:pt x="3150368" y="405214"/>
                  <a:pt x="3154408" y="415143"/>
                </a:cubicBezTo>
                <a:cubicBezTo>
                  <a:pt x="3158446" y="425071"/>
                  <a:pt x="3160464" y="435420"/>
                  <a:pt x="3160464" y="446189"/>
                </a:cubicBezTo>
                <a:cubicBezTo>
                  <a:pt x="3160464" y="460998"/>
                  <a:pt x="3157772" y="474039"/>
                  <a:pt x="3152388" y="485313"/>
                </a:cubicBezTo>
                <a:cubicBezTo>
                  <a:pt x="3147002" y="496588"/>
                  <a:pt x="3139766" y="505927"/>
                  <a:pt x="3130680" y="513331"/>
                </a:cubicBezTo>
                <a:cubicBezTo>
                  <a:pt x="3121594" y="520735"/>
                  <a:pt x="3111160" y="526288"/>
                  <a:pt x="3099382" y="529990"/>
                </a:cubicBezTo>
                <a:cubicBezTo>
                  <a:pt x="3087602" y="533692"/>
                  <a:pt x="3075318" y="535544"/>
                  <a:pt x="3062528" y="535544"/>
                </a:cubicBezTo>
                <a:close/>
                <a:moveTo>
                  <a:pt x="2292890" y="561290"/>
                </a:moveTo>
                <a:cubicBezTo>
                  <a:pt x="2282120" y="561290"/>
                  <a:pt x="2272949" y="557756"/>
                  <a:pt x="2265377" y="550688"/>
                </a:cubicBezTo>
                <a:cubicBezTo>
                  <a:pt x="2257805" y="543621"/>
                  <a:pt x="2254018" y="533861"/>
                  <a:pt x="2254018" y="521408"/>
                </a:cubicBezTo>
                <a:cubicBezTo>
                  <a:pt x="2254018" y="509293"/>
                  <a:pt x="2257805" y="499701"/>
                  <a:pt x="2265377" y="492633"/>
                </a:cubicBezTo>
                <a:cubicBezTo>
                  <a:pt x="2272949" y="485566"/>
                  <a:pt x="2282120" y="482032"/>
                  <a:pt x="2292890" y="482032"/>
                </a:cubicBezTo>
                <a:cubicBezTo>
                  <a:pt x="2303660" y="482032"/>
                  <a:pt x="2312914" y="485566"/>
                  <a:pt x="2320655" y="492633"/>
                </a:cubicBezTo>
                <a:cubicBezTo>
                  <a:pt x="2328396" y="499701"/>
                  <a:pt x="2332266" y="509293"/>
                  <a:pt x="2332266" y="521408"/>
                </a:cubicBezTo>
                <a:cubicBezTo>
                  <a:pt x="2332266" y="533861"/>
                  <a:pt x="2328396" y="543621"/>
                  <a:pt x="2320655" y="550688"/>
                </a:cubicBezTo>
                <a:cubicBezTo>
                  <a:pt x="2312914" y="557756"/>
                  <a:pt x="2303660" y="561290"/>
                  <a:pt x="2292890" y="561290"/>
                </a:cubicBezTo>
                <a:close/>
                <a:moveTo>
                  <a:pt x="1959420" y="563309"/>
                </a:moveTo>
                <a:lnTo>
                  <a:pt x="1959420" y="511817"/>
                </a:lnTo>
                <a:lnTo>
                  <a:pt x="2025047" y="511817"/>
                </a:lnTo>
                <a:lnTo>
                  <a:pt x="2025047" y="310392"/>
                </a:lnTo>
                <a:cubicBezTo>
                  <a:pt x="2025047" y="277746"/>
                  <a:pt x="2031610" y="252926"/>
                  <a:pt x="2044735" y="235930"/>
                </a:cubicBezTo>
                <a:cubicBezTo>
                  <a:pt x="2057860" y="218934"/>
                  <a:pt x="2078727" y="210436"/>
                  <a:pt x="2107333" y="210436"/>
                </a:cubicBezTo>
                <a:cubicBezTo>
                  <a:pt x="2117767" y="210436"/>
                  <a:pt x="2127106" y="211109"/>
                  <a:pt x="2135351" y="212455"/>
                </a:cubicBezTo>
                <a:cubicBezTo>
                  <a:pt x="2143597" y="213802"/>
                  <a:pt x="2150580" y="215400"/>
                  <a:pt x="2156302" y="217251"/>
                </a:cubicBezTo>
                <a:cubicBezTo>
                  <a:pt x="2162023" y="219102"/>
                  <a:pt x="2166650" y="220869"/>
                  <a:pt x="2170184" y="222552"/>
                </a:cubicBezTo>
                <a:cubicBezTo>
                  <a:pt x="2173718" y="224235"/>
                  <a:pt x="2175990" y="225413"/>
                  <a:pt x="2176999" y="226086"/>
                </a:cubicBezTo>
                <a:lnTo>
                  <a:pt x="2168922" y="276063"/>
                </a:lnTo>
                <a:cubicBezTo>
                  <a:pt x="2166230" y="275054"/>
                  <a:pt x="2160677" y="272866"/>
                  <a:pt x="2152263" y="269501"/>
                </a:cubicBezTo>
                <a:cubicBezTo>
                  <a:pt x="2143849" y="266135"/>
                  <a:pt x="2133416" y="264452"/>
                  <a:pt x="2120964" y="264452"/>
                </a:cubicBezTo>
                <a:cubicBezTo>
                  <a:pt x="2111204" y="264452"/>
                  <a:pt x="2103126" y="267313"/>
                  <a:pt x="2096732" y="273034"/>
                </a:cubicBezTo>
                <a:cubicBezTo>
                  <a:pt x="2090338" y="278756"/>
                  <a:pt x="2087140" y="289694"/>
                  <a:pt x="2087140" y="305848"/>
                </a:cubicBezTo>
                <a:lnTo>
                  <a:pt x="2087140" y="563309"/>
                </a:lnTo>
                <a:close/>
                <a:moveTo>
                  <a:pt x="1607052" y="565833"/>
                </a:moveTo>
                <a:cubicBezTo>
                  <a:pt x="1594263" y="565833"/>
                  <a:pt x="1581811" y="564234"/>
                  <a:pt x="1569695" y="561037"/>
                </a:cubicBezTo>
                <a:cubicBezTo>
                  <a:pt x="1557579" y="557840"/>
                  <a:pt x="1546810" y="552455"/>
                  <a:pt x="1537386" y="544883"/>
                </a:cubicBezTo>
                <a:cubicBezTo>
                  <a:pt x="1527963" y="537310"/>
                  <a:pt x="1520474" y="527214"/>
                  <a:pt x="1514921" y="514593"/>
                </a:cubicBezTo>
                <a:cubicBezTo>
                  <a:pt x="1509368" y="501973"/>
                  <a:pt x="1506592" y="486071"/>
                  <a:pt x="1506592" y="466887"/>
                </a:cubicBezTo>
                <a:lnTo>
                  <a:pt x="1506592" y="453257"/>
                </a:lnTo>
                <a:lnTo>
                  <a:pt x="1454595" y="453257"/>
                </a:lnTo>
                <a:lnTo>
                  <a:pt x="1454595" y="401765"/>
                </a:lnTo>
                <a:lnTo>
                  <a:pt x="1506592" y="401765"/>
                </a:lnTo>
                <a:lnTo>
                  <a:pt x="1506592" y="215989"/>
                </a:lnTo>
                <a:lnTo>
                  <a:pt x="1569190" y="215989"/>
                </a:lnTo>
                <a:lnTo>
                  <a:pt x="1569190" y="401765"/>
                </a:lnTo>
                <a:lnTo>
                  <a:pt x="1666621" y="401765"/>
                </a:lnTo>
                <a:lnTo>
                  <a:pt x="1666621" y="453257"/>
                </a:lnTo>
                <a:lnTo>
                  <a:pt x="1569190" y="453257"/>
                </a:lnTo>
                <a:lnTo>
                  <a:pt x="1569190" y="465878"/>
                </a:lnTo>
                <a:cubicBezTo>
                  <a:pt x="1569190" y="475974"/>
                  <a:pt x="1570368" y="484135"/>
                  <a:pt x="1572724" y="490362"/>
                </a:cubicBezTo>
                <a:cubicBezTo>
                  <a:pt x="1575080" y="496588"/>
                  <a:pt x="1578193" y="501384"/>
                  <a:pt x="1582063" y="504749"/>
                </a:cubicBezTo>
                <a:cubicBezTo>
                  <a:pt x="1585933" y="508115"/>
                  <a:pt x="1590477" y="510302"/>
                  <a:pt x="1595693" y="511312"/>
                </a:cubicBezTo>
                <a:cubicBezTo>
                  <a:pt x="1600910" y="512322"/>
                  <a:pt x="1606379" y="512826"/>
                  <a:pt x="1612100" y="512826"/>
                </a:cubicBezTo>
                <a:cubicBezTo>
                  <a:pt x="1622533" y="512826"/>
                  <a:pt x="1633555" y="511396"/>
                  <a:pt x="1645166" y="508535"/>
                </a:cubicBezTo>
                <a:cubicBezTo>
                  <a:pt x="1656777" y="505675"/>
                  <a:pt x="1666453" y="502898"/>
                  <a:pt x="1674194" y="500206"/>
                </a:cubicBezTo>
                <a:lnTo>
                  <a:pt x="1684795" y="550688"/>
                </a:lnTo>
                <a:cubicBezTo>
                  <a:pt x="1673689" y="556073"/>
                  <a:pt x="1661236" y="559943"/>
                  <a:pt x="1647438" y="562299"/>
                </a:cubicBezTo>
                <a:cubicBezTo>
                  <a:pt x="1633639" y="564655"/>
                  <a:pt x="1620178" y="565833"/>
                  <a:pt x="1607052" y="565833"/>
                </a:cubicBezTo>
                <a:close/>
                <a:moveTo>
                  <a:pt x="0" y="796029"/>
                </a:moveTo>
                <a:lnTo>
                  <a:pt x="4876802" y="796029"/>
                </a:lnTo>
                <a:lnTo>
                  <a:pt x="4824822" y="344498"/>
                </a:lnTo>
                <a:cubicBezTo>
                  <a:pt x="4801968" y="145891"/>
                  <a:pt x="4682292" y="207"/>
                  <a:pt x="4541980" y="155"/>
                </a:cubicBezTo>
                <a:lnTo>
                  <a:pt x="0" y="0"/>
                </a:lnTo>
                <a:close/>
              </a:path>
            </a:pathLst>
          </a:custGeom>
          <a:solidFill>
            <a:srgbClr val="0070AD"/>
          </a:solidFill>
          <a:ln w="2834" cap="flat">
            <a:noFill/>
            <a:prstDash val="solid"/>
            <a:miter/>
          </a:ln>
        </p:spPr>
        <p:txBody>
          <a:bodyPr wrap="square"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 name="object 29">
            <a:extLst>
              <a:ext uri="{FF2B5EF4-FFF2-40B4-BE49-F238E27FC236}">
                <a16:creationId xmlns:a16="http://schemas.microsoft.com/office/drawing/2014/main" id="{17D8AFCE-09E7-1834-0F35-F9FCEC7C78D8}"/>
              </a:ext>
            </a:extLst>
          </p:cNvPr>
          <p:cNvSpPr txBox="1"/>
          <p:nvPr/>
        </p:nvSpPr>
        <p:spPr>
          <a:xfrm>
            <a:off x="5327650" y="8806441"/>
            <a:ext cx="1932080" cy="1853713"/>
          </a:xfrm>
          <a:prstGeom prst="rect">
            <a:avLst/>
          </a:prstGeom>
        </p:spPr>
        <p:txBody>
          <a:bodyPr vert="horz" wrap="square" lIns="0" tIns="12065" rIns="0" bIns="0" rtlCol="0">
            <a:spAutoFit/>
          </a:bodyPr>
          <a:lstStyle/>
          <a:p>
            <a:pPr marL="12700" marR="5080" lvl="0" indent="0" algn="l" defTabSz="914400" eaLnBrk="1" fontAlgn="auto" latinLnBrk="0" hangingPunct="1">
              <a:lnSpc>
                <a:spcPct val="100000"/>
              </a:lnSpc>
              <a:spcBef>
                <a:spcPts val="0"/>
              </a:spcBef>
              <a:spcAft>
                <a:spcPts val="0"/>
              </a:spcAft>
              <a:buClrTx/>
              <a:buSzTx/>
              <a:buFontTx/>
              <a:buNone/>
              <a:tabLst/>
              <a:defRPr/>
            </a:pPr>
            <a:r>
              <a:rPr kumimoji="0" lang="es-ES" sz="1400" b="1" i="0" u="none" strike="noStrike" kern="0" cap="none" spc="-10" normalizeH="0" baseline="0" noProof="0">
                <a:ln>
                  <a:noFill/>
                </a:ln>
                <a:solidFill>
                  <a:srgbClr val="00B050"/>
                </a:solidFill>
                <a:effectLst/>
                <a:uLnTx/>
                <a:uFillTx/>
                <a:latin typeface="Ubuntu" panose="020B0504030602030204" pitchFamily="34" charset="0"/>
                <a:cs typeface="Ubuntu Light"/>
              </a:rPr>
              <a:t>STRUCTURED</a:t>
            </a:r>
          </a:p>
          <a:p>
            <a:pPr marL="12700" marR="5080" lvl="0" indent="0" algn="l" defTabSz="914400" eaLnBrk="1" fontAlgn="auto" latinLnBrk="0" hangingPunct="1">
              <a:lnSpc>
                <a:spcPct val="100000"/>
              </a:lnSpc>
              <a:spcBef>
                <a:spcPts val="0"/>
              </a:spcBef>
              <a:spcAft>
                <a:spcPts val="0"/>
              </a:spcAft>
              <a:buClrTx/>
              <a:buSzTx/>
              <a:buFontTx/>
              <a:buNone/>
              <a:tabLst/>
              <a:defRPr/>
            </a:pPr>
            <a:r>
              <a:rPr kumimoji="0" lang="es-ES" sz="2000" b="1" i="0" u="none" strike="noStrike" kern="0" cap="none" spc="-10" normalizeH="0" baseline="0" noProof="0">
                <a:ln>
                  <a:noFill/>
                </a:ln>
                <a:solidFill>
                  <a:srgbClr val="00B050"/>
                </a:solidFill>
                <a:effectLst/>
                <a:uLnTx/>
                <a:uFillTx/>
                <a:latin typeface="Ubuntu" panose="020B0504030602030204" pitchFamily="34" charset="0"/>
                <a:cs typeface="Ubuntu Light"/>
              </a:rPr>
              <a:t>E2E QUALITY</a:t>
            </a:r>
          </a:p>
          <a:p>
            <a:pPr marL="12700" marR="5080" lvl="0" indent="0" algn="l" defTabSz="914400" eaLnBrk="1" fontAlgn="auto" latinLnBrk="0" hangingPunct="1">
              <a:lnSpc>
                <a:spcPct val="100000"/>
              </a:lnSpc>
              <a:spcBef>
                <a:spcPts val="0"/>
              </a:spcBef>
              <a:spcAft>
                <a:spcPts val="0"/>
              </a:spcAft>
              <a:buClrTx/>
              <a:buSzTx/>
              <a:buFontTx/>
              <a:buNone/>
              <a:tabLst/>
              <a:defRPr/>
            </a:pPr>
            <a:r>
              <a:rPr kumimoji="0" lang="es-ES" sz="1400" b="1" i="0" u="none" strike="noStrike" kern="0" cap="none" spc="-10" normalizeH="0" baseline="0" noProof="0">
                <a:ln>
                  <a:noFill/>
                </a:ln>
                <a:solidFill>
                  <a:srgbClr val="00B050"/>
                </a:solidFill>
                <a:effectLst/>
                <a:uLnTx/>
                <a:uFillTx/>
                <a:latin typeface="Ubuntu" panose="020B0504030602030204" pitchFamily="34" charset="0"/>
                <a:cs typeface="Ubuntu Light"/>
              </a:rPr>
              <a:t>STRATEGY </a:t>
            </a:r>
          </a:p>
          <a:p>
            <a:pPr marL="184150" marR="5080" lvl="0" indent="-171450" algn="l" defTabSz="914400" eaLnBrk="1" fontAlgn="auto" latinLnBrk="0" hangingPunct="1">
              <a:lnSpc>
                <a:spcPct val="100000"/>
              </a:lnSpc>
              <a:spcBef>
                <a:spcPts val="95"/>
              </a:spcBef>
              <a:spcAft>
                <a:spcPts val="0"/>
              </a:spcAft>
              <a:buClrTx/>
              <a:buSzTx/>
              <a:buFont typeface="Wingdings" pitchFamily="2" charset="2"/>
              <a:buChar char="§"/>
              <a:tabLst/>
              <a:defRPr/>
            </a:pPr>
            <a:r>
              <a:rPr kumimoji="0" lang="en-US" sz="1400" b="0" i="0" u="none" strike="noStrike" kern="0" cap="none" spc="-10" normalizeH="0" baseline="0" noProof="0">
                <a:ln>
                  <a:noFill/>
                </a:ln>
                <a:solidFill>
                  <a:sysClr val="windowText" lastClr="000000"/>
                </a:solidFill>
                <a:effectLst/>
                <a:uLnTx/>
                <a:uFillTx/>
                <a:latin typeface="Ubuntu Light"/>
                <a:cs typeface="Ubuntu Light"/>
              </a:rPr>
              <a:t>Testing &amp; QE strategy based on TMAP</a:t>
            </a:r>
          </a:p>
          <a:p>
            <a:pPr marL="184150" marR="5080" lvl="0" indent="-171450" algn="l" defTabSz="914400" eaLnBrk="1" fontAlgn="auto" latinLnBrk="0" hangingPunct="1">
              <a:lnSpc>
                <a:spcPct val="100000"/>
              </a:lnSpc>
              <a:spcBef>
                <a:spcPts val="95"/>
              </a:spcBef>
              <a:spcAft>
                <a:spcPts val="0"/>
              </a:spcAft>
              <a:buClrTx/>
              <a:buSzTx/>
              <a:buFont typeface="Wingdings" pitchFamily="2" charset="2"/>
              <a:buChar char="§"/>
              <a:tabLst/>
              <a:defRPr/>
            </a:pPr>
            <a:r>
              <a:rPr kumimoji="0" lang="en-US" sz="1400" b="0" i="0" u="none" strike="noStrike" kern="0" cap="none" spc="-10" normalizeH="0" baseline="0" noProof="0">
                <a:ln>
                  <a:noFill/>
                </a:ln>
                <a:solidFill>
                  <a:sysClr val="windowText" lastClr="000000"/>
                </a:solidFill>
                <a:effectLst/>
                <a:uLnTx/>
                <a:uFillTx/>
                <a:latin typeface="Ubuntu Light"/>
                <a:cs typeface="Ubuntu Light"/>
              </a:rPr>
              <a:t>Tests design &amp; execution of different types and levels</a:t>
            </a:r>
          </a:p>
        </p:txBody>
      </p:sp>
      <p:sp>
        <p:nvSpPr>
          <p:cNvPr id="38" name="object 29">
            <a:extLst>
              <a:ext uri="{FF2B5EF4-FFF2-40B4-BE49-F238E27FC236}">
                <a16:creationId xmlns:a16="http://schemas.microsoft.com/office/drawing/2014/main" id="{EF3EC451-E494-7210-EC13-86A4172A4828}"/>
              </a:ext>
            </a:extLst>
          </p:cNvPr>
          <p:cNvSpPr txBox="1"/>
          <p:nvPr/>
        </p:nvSpPr>
        <p:spPr>
          <a:xfrm>
            <a:off x="7826806" y="8812183"/>
            <a:ext cx="1932080" cy="1968296"/>
          </a:xfrm>
          <a:prstGeom prst="rect">
            <a:avLst/>
          </a:prstGeom>
        </p:spPr>
        <p:txBody>
          <a:bodyPr vert="horz" wrap="square" lIns="0" tIns="12065" rIns="0" bIns="0" rtlCol="0">
            <a:spAutoFit/>
          </a:bodyPr>
          <a:lstStyle/>
          <a:p>
            <a:pPr marL="12700" marR="5080" lvl="0" indent="0" algn="l" defTabSz="914400" eaLnBrk="1" fontAlgn="auto" latinLnBrk="0" hangingPunct="1">
              <a:lnSpc>
                <a:spcPct val="100000"/>
              </a:lnSpc>
              <a:spcBef>
                <a:spcPts val="95"/>
              </a:spcBef>
              <a:spcAft>
                <a:spcPts val="0"/>
              </a:spcAft>
              <a:buClrTx/>
              <a:buSzTx/>
              <a:buFontTx/>
              <a:buNone/>
              <a:tabLst/>
              <a:defRPr/>
            </a:pPr>
            <a:r>
              <a:rPr kumimoji="0" lang="en-US" sz="1200" b="1" i="0" u="none" strike="noStrike" kern="0" cap="none" spc="-10" normalizeH="0" baseline="0" noProof="0">
                <a:ln>
                  <a:noFill/>
                </a:ln>
                <a:solidFill>
                  <a:srgbClr val="00B050"/>
                </a:solidFill>
                <a:effectLst/>
                <a:uLnTx/>
                <a:uFillTx/>
                <a:latin typeface="Ubuntu" panose="020B0504030602030204" pitchFamily="34" charset="0"/>
                <a:cs typeface="Ubuntu Light"/>
              </a:rPr>
              <a:t>CLOUD</a:t>
            </a:r>
          </a:p>
          <a:p>
            <a:pPr marL="12700" marR="5080" lvl="0" indent="0" algn="l" defTabSz="914400" eaLnBrk="1" fontAlgn="auto" latinLnBrk="0" hangingPunct="1">
              <a:lnSpc>
                <a:spcPct val="100000"/>
              </a:lnSpc>
              <a:spcBef>
                <a:spcPts val="95"/>
              </a:spcBef>
              <a:spcAft>
                <a:spcPts val="0"/>
              </a:spcAft>
              <a:buClrTx/>
              <a:buSzTx/>
              <a:buFontTx/>
              <a:buNone/>
              <a:tabLst/>
              <a:defRPr/>
            </a:pPr>
            <a:r>
              <a:rPr kumimoji="0" lang="en-US" sz="1800" b="1" i="0" u="none" strike="noStrike" kern="0" cap="none" spc="-10" normalizeH="0" baseline="0" noProof="0">
                <a:ln>
                  <a:noFill/>
                </a:ln>
                <a:solidFill>
                  <a:srgbClr val="00B050"/>
                </a:solidFill>
                <a:effectLst/>
                <a:uLnTx/>
                <a:uFillTx/>
                <a:latin typeface="Ubuntu" panose="020B0504030602030204" pitchFamily="34" charset="0"/>
                <a:cs typeface="Ubuntu Light"/>
              </a:rPr>
              <a:t>FOUNDATION</a:t>
            </a:r>
          </a:p>
          <a:p>
            <a:pPr marL="12700" marR="5080" lvl="0" indent="0" algn="l" defTabSz="914400" eaLnBrk="1" fontAlgn="auto" latinLnBrk="0" hangingPunct="1">
              <a:lnSpc>
                <a:spcPct val="100000"/>
              </a:lnSpc>
              <a:spcBef>
                <a:spcPts val="95"/>
              </a:spcBef>
              <a:spcAft>
                <a:spcPts val="0"/>
              </a:spcAft>
              <a:buClrTx/>
              <a:buSzTx/>
              <a:buFontTx/>
              <a:buNone/>
              <a:tabLst/>
              <a:defRPr/>
            </a:pPr>
            <a:r>
              <a:rPr kumimoji="0" lang="en-US" sz="1200" b="1" i="0" u="none" strike="noStrike" kern="0" cap="none" spc="-10" normalizeH="0" baseline="0" noProof="0">
                <a:ln>
                  <a:noFill/>
                </a:ln>
                <a:solidFill>
                  <a:srgbClr val="00B050"/>
                </a:solidFill>
                <a:effectLst/>
                <a:uLnTx/>
                <a:uFillTx/>
                <a:latin typeface="Ubuntu" panose="020B0504030602030204" pitchFamily="34" charset="0"/>
                <a:cs typeface="Ubuntu Light"/>
              </a:rPr>
              <a:t>WITH QUALITY BY DESIGN</a:t>
            </a:r>
          </a:p>
          <a:p>
            <a:pPr marL="184150" marR="5080" lvl="0" indent="-171450" algn="l" defTabSz="914400" eaLnBrk="1" fontAlgn="auto" latinLnBrk="0" hangingPunct="1">
              <a:lnSpc>
                <a:spcPct val="100000"/>
              </a:lnSpc>
              <a:spcBef>
                <a:spcPts val="95"/>
              </a:spcBef>
              <a:spcAft>
                <a:spcPts val="0"/>
              </a:spcAft>
              <a:buClrTx/>
              <a:buSzTx/>
              <a:buFont typeface="Wingdings" pitchFamily="2" charset="2"/>
              <a:buChar char="§"/>
              <a:tabLst/>
              <a:defRPr/>
            </a:pPr>
            <a:r>
              <a:rPr kumimoji="0" lang="en-US" sz="1400" b="0" i="0" u="none" strike="noStrike" kern="0" cap="none" spc="-10" normalizeH="0" baseline="0" noProof="0">
                <a:ln>
                  <a:noFill/>
                </a:ln>
                <a:solidFill>
                  <a:sysClr val="windowText" lastClr="000000"/>
                </a:solidFill>
                <a:effectLst/>
                <a:uLnTx/>
                <a:uFillTx/>
                <a:latin typeface="Ubuntu Light"/>
                <a:cs typeface="Ubuntu Light"/>
              </a:rPr>
              <a:t>Dev(QA)Ops set-up and integration</a:t>
            </a:r>
          </a:p>
          <a:p>
            <a:pPr marL="12700" marR="5080" lvl="0" indent="0" algn="l" defTabSz="914400" eaLnBrk="1" fontAlgn="auto" latinLnBrk="0" hangingPunct="1">
              <a:lnSpc>
                <a:spcPct val="100000"/>
              </a:lnSpc>
              <a:spcBef>
                <a:spcPts val="95"/>
              </a:spcBef>
              <a:spcAft>
                <a:spcPts val="0"/>
              </a:spcAft>
              <a:buClrTx/>
              <a:buSzTx/>
              <a:buFontTx/>
              <a:buNone/>
              <a:tabLst/>
              <a:defRPr/>
            </a:pPr>
            <a:endParaRPr kumimoji="0" lang="en-US" sz="1400" b="0" i="0" u="none" strike="noStrike" kern="0" cap="none" spc="-10" normalizeH="0" baseline="0" noProof="0">
              <a:ln>
                <a:noFill/>
              </a:ln>
              <a:solidFill>
                <a:sysClr val="windowText" lastClr="000000"/>
              </a:solidFill>
              <a:effectLst/>
              <a:uLnTx/>
              <a:uFillTx/>
              <a:latin typeface="Ubuntu Light"/>
              <a:cs typeface="Ubuntu Light"/>
            </a:endParaRPr>
          </a:p>
          <a:p>
            <a:pPr marL="184150" marR="5080" lvl="0" indent="-171450" algn="l" defTabSz="914400" eaLnBrk="1" fontAlgn="auto" latinLnBrk="0" hangingPunct="1">
              <a:lnSpc>
                <a:spcPct val="100000"/>
              </a:lnSpc>
              <a:spcBef>
                <a:spcPts val="95"/>
              </a:spcBef>
              <a:spcAft>
                <a:spcPts val="0"/>
              </a:spcAft>
              <a:buClrTx/>
              <a:buSzTx/>
              <a:buFont typeface="Wingdings" pitchFamily="2" charset="2"/>
              <a:buChar char="§"/>
              <a:tabLst/>
              <a:defRPr/>
            </a:pPr>
            <a:endParaRPr kumimoji="0" lang="en-US" sz="1400" b="0" i="0" u="none" strike="noStrike" kern="0" cap="none" spc="-10" normalizeH="0" baseline="0" noProof="0">
              <a:ln>
                <a:noFill/>
              </a:ln>
              <a:solidFill>
                <a:sysClr val="windowText" lastClr="000000"/>
              </a:solidFill>
              <a:effectLst/>
              <a:uLnTx/>
              <a:uFillTx/>
              <a:latin typeface="Ubuntu Light"/>
              <a:cs typeface="Ubuntu Light"/>
            </a:endParaRPr>
          </a:p>
          <a:p>
            <a:pPr marL="184150" marR="5080" lvl="0" indent="-171450" algn="l" defTabSz="914400" eaLnBrk="1" fontAlgn="auto" latinLnBrk="0" hangingPunct="1">
              <a:lnSpc>
                <a:spcPct val="100000"/>
              </a:lnSpc>
              <a:spcBef>
                <a:spcPts val="95"/>
              </a:spcBef>
              <a:spcAft>
                <a:spcPts val="0"/>
              </a:spcAft>
              <a:buClrTx/>
              <a:buSzTx/>
              <a:buFont typeface="Wingdings" pitchFamily="2" charset="2"/>
              <a:buChar char="§"/>
              <a:tabLst/>
              <a:defRPr/>
            </a:pPr>
            <a:endParaRPr kumimoji="0" lang="en-US" sz="1400" b="0" i="0" u="none" strike="noStrike" kern="0" cap="none" spc="-10" normalizeH="0" baseline="0" noProof="0">
              <a:ln>
                <a:noFill/>
              </a:ln>
              <a:solidFill>
                <a:prstClr val="black"/>
              </a:solidFill>
              <a:effectLst/>
              <a:uLnTx/>
              <a:uFillTx/>
              <a:latin typeface="Ubuntu Light"/>
              <a:cs typeface="Ubuntu Light"/>
            </a:endParaRPr>
          </a:p>
          <a:p>
            <a:pPr marL="12700" marR="5080" lvl="0" indent="0" algn="l" defTabSz="914400" eaLnBrk="1" fontAlgn="auto" latinLnBrk="0" hangingPunct="1">
              <a:lnSpc>
                <a:spcPct val="114999"/>
              </a:lnSpc>
              <a:spcBef>
                <a:spcPts val="95"/>
              </a:spcBef>
              <a:spcAft>
                <a:spcPts val="0"/>
              </a:spcAft>
              <a:buClrTx/>
              <a:buSzTx/>
              <a:buFontTx/>
              <a:buNone/>
              <a:tabLst/>
              <a:defRPr/>
            </a:pPr>
            <a:endParaRPr kumimoji="0" lang="en-US" sz="900" b="0" i="0" u="none" strike="noStrike" kern="0" cap="none" spc="-10" normalizeH="0" baseline="0" noProof="0">
              <a:ln>
                <a:noFill/>
              </a:ln>
              <a:solidFill>
                <a:prstClr val="black">
                  <a:lumMod val="65000"/>
                  <a:lumOff val="35000"/>
                </a:prstClr>
              </a:solidFill>
              <a:effectLst/>
              <a:uLnTx/>
              <a:uFillTx/>
              <a:latin typeface="Ubuntu Light"/>
              <a:cs typeface="Ubuntu Light"/>
            </a:endParaRPr>
          </a:p>
        </p:txBody>
      </p:sp>
      <p:sp>
        <p:nvSpPr>
          <p:cNvPr id="39" name="object 29">
            <a:extLst>
              <a:ext uri="{FF2B5EF4-FFF2-40B4-BE49-F238E27FC236}">
                <a16:creationId xmlns:a16="http://schemas.microsoft.com/office/drawing/2014/main" id="{429E0609-5CF8-2752-0917-1CD9172E7AE4}"/>
              </a:ext>
            </a:extLst>
          </p:cNvPr>
          <p:cNvSpPr txBox="1"/>
          <p:nvPr/>
        </p:nvSpPr>
        <p:spPr>
          <a:xfrm>
            <a:off x="10399583" y="8845287"/>
            <a:ext cx="1702042" cy="1356140"/>
          </a:xfrm>
          <a:prstGeom prst="rect">
            <a:avLst/>
          </a:prstGeom>
        </p:spPr>
        <p:txBody>
          <a:bodyPr vert="horz" wrap="square" lIns="0" tIns="12065" rIns="0" bIns="0" rtlCol="0">
            <a:spAutoFit/>
          </a:bodyPr>
          <a:lstStyle/>
          <a:p>
            <a:pPr marL="12700" marR="5080" lvl="0" indent="0" algn="l" defTabSz="914400" eaLnBrk="1" fontAlgn="auto" latinLnBrk="0" hangingPunct="1">
              <a:lnSpc>
                <a:spcPct val="100000"/>
              </a:lnSpc>
              <a:spcBef>
                <a:spcPts val="95"/>
              </a:spcBef>
              <a:spcAft>
                <a:spcPts val="0"/>
              </a:spcAft>
              <a:buClrTx/>
              <a:buSzTx/>
              <a:buFontTx/>
              <a:buNone/>
              <a:tabLst/>
              <a:defRPr/>
            </a:pPr>
            <a:r>
              <a:rPr kumimoji="0" lang="en-US" sz="1200" b="1" i="0" u="none" strike="noStrike" kern="0" cap="none" spc="-10" normalizeH="0" baseline="0" noProof="0">
                <a:ln>
                  <a:noFill/>
                </a:ln>
                <a:solidFill>
                  <a:schemeClr val="tx1">
                    <a:lumMod val="65000"/>
                    <a:lumOff val="35000"/>
                  </a:schemeClr>
                </a:solidFill>
                <a:effectLst/>
                <a:uLnTx/>
                <a:uFillTx/>
                <a:latin typeface="Ubuntu" panose="020B0504030602030204" pitchFamily="34" charset="0"/>
                <a:cs typeface="Ubuntu Light"/>
              </a:rPr>
              <a:t>AGILE &amp;</a:t>
            </a:r>
          </a:p>
          <a:p>
            <a:pPr marL="12700" marR="5080" lvl="0" indent="0" algn="l" defTabSz="914400" eaLnBrk="1" fontAlgn="auto" latinLnBrk="0" hangingPunct="1">
              <a:lnSpc>
                <a:spcPct val="100000"/>
              </a:lnSpc>
              <a:spcBef>
                <a:spcPts val="95"/>
              </a:spcBef>
              <a:spcAft>
                <a:spcPts val="0"/>
              </a:spcAft>
              <a:buClrTx/>
              <a:buSzTx/>
              <a:buFontTx/>
              <a:buNone/>
              <a:tabLst/>
              <a:defRPr/>
            </a:pPr>
            <a:r>
              <a:rPr kumimoji="0" lang="en-US" sz="1800" b="1" i="0" u="none" strike="noStrike" kern="0" cap="none" spc="-10" normalizeH="0" baseline="0" noProof="0">
                <a:ln>
                  <a:noFill/>
                </a:ln>
                <a:solidFill>
                  <a:schemeClr val="tx1">
                    <a:lumMod val="65000"/>
                    <a:lumOff val="35000"/>
                  </a:schemeClr>
                </a:solidFill>
                <a:effectLst/>
                <a:uLnTx/>
                <a:uFillTx/>
                <a:latin typeface="Ubuntu" panose="020B0504030602030204" pitchFamily="34" charset="0"/>
                <a:cs typeface="Ubuntu Light"/>
              </a:rPr>
              <a:t>DEVOPS</a:t>
            </a:r>
          </a:p>
          <a:p>
            <a:pPr marL="12700" marR="5080" lvl="0" indent="0" algn="l" defTabSz="914400" eaLnBrk="1" fontAlgn="auto" latinLnBrk="0" hangingPunct="1">
              <a:lnSpc>
                <a:spcPct val="100000"/>
              </a:lnSpc>
              <a:spcBef>
                <a:spcPts val="95"/>
              </a:spcBef>
              <a:spcAft>
                <a:spcPts val="0"/>
              </a:spcAft>
              <a:buClrTx/>
              <a:buSzTx/>
              <a:buFontTx/>
              <a:buNone/>
              <a:tabLst/>
              <a:defRPr/>
            </a:pPr>
            <a:r>
              <a:rPr kumimoji="0" lang="en-US" sz="1200" b="1" i="0" u="none" strike="noStrike" kern="0" cap="none" spc="-10" normalizeH="0" baseline="0" noProof="0">
                <a:ln>
                  <a:noFill/>
                </a:ln>
                <a:solidFill>
                  <a:schemeClr val="tx1">
                    <a:lumMod val="65000"/>
                    <a:lumOff val="35000"/>
                  </a:schemeClr>
                </a:solidFill>
                <a:effectLst/>
                <a:uLnTx/>
                <a:uFillTx/>
                <a:latin typeface="Ubuntu" panose="020B0504030602030204" pitchFamily="34" charset="0"/>
                <a:cs typeface="Ubuntu Light"/>
              </a:rPr>
              <a:t>WORKSPACE</a:t>
            </a:r>
          </a:p>
          <a:p>
            <a:pPr marL="184150" marR="5080" lvl="0" indent="-171450" algn="l" defTabSz="914400" eaLnBrk="1" fontAlgn="auto" latinLnBrk="0" hangingPunct="1">
              <a:lnSpc>
                <a:spcPct val="100000"/>
              </a:lnSpc>
              <a:spcBef>
                <a:spcPts val="95"/>
              </a:spcBef>
              <a:spcAft>
                <a:spcPts val="0"/>
              </a:spcAft>
              <a:buClrTx/>
              <a:buSzTx/>
              <a:buFont typeface="Wingdings" pitchFamily="2" charset="2"/>
              <a:buChar char="§"/>
              <a:tabLst/>
              <a:defRPr/>
            </a:pPr>
            <a:r>
              <a:rPr kumimoji="0" lang="en-US" sz="1400" b="0" i="0" u="none" strike="noStrike" kern="0" cap="none" spc="-10" normalizeH="0" baseline="0" noProof="0">
                <a:ln>
                  <a:noFill/>
                </a:ln>
                <a:solidFill>
                  <a:sysClr val="windowText" lastClr="000000"/>
                </a:solidFill>
                <a:effectLst/>
                <a:uLnTx/>
                <a:uFillTx/>
                <a:latin typeface="Ubuntu Light"/>
                <a:cs typeface="Ubuntu Light"/>
              </a:rPr>
              <a:t>POD teams</a:t>
            </a:r>
          </a:p>
          <a:p>
            <a:pPr marL="184150" marR="5080" lvl="0" indent="-171450" algn="l" defTabSz="914400" eaLnBrk="1" fontAlgn="auto" latinLnBrk="0" hangingPunct="1">
              <a:lnSpc>
                <a:spcPct val="100000"/>
              </a:lnSpc>
              <a:spcBef>
                <a:spcPts val="95"/>
              </a:spcBef>
              <a:spcAft>
                <a:spcPts val="0"/>
              </a:spcAft>
              <a:buClrTx/>
              <a:buSzTx/>
              <a:buFont typeface="Wingdings" pitchFamily="2" charset="2"/>
              <a:buChar char="§"/>
              <a:tabLst/>
              <a:defRPr/>
            </a:pPr>
            <a:r>
              <a:rPr kumimoji="0" lang="en-US" sz="1400" b="0" i="0" u="none" strike="noStrike" kern="0" cap="none" spc="-10" normalizeH="0" baseline="0" noProof="0">
                <a:ln>
                  <a:noFill/>
                </a:ln>
                <a:solidFill>
                  <a:prstClr val="black"/>
                </a:solidFill>
                <a:effectLst/>
                <a:uLnTx/>
                <a:uFillTx/>
                <a:latin typeface="Ubuntu Light"/>
                <a:cs typeface="Ubuntu Light"/>
              </a:rPr>
              <a:t>Azure DevOps and JIRA set-up</a:t>
            </a:r>
          </a:p>
        </p:txBody>
      </p:sp>
      <p:sp>
        <p:nvSpPr>
          <p:cNvPr id="40" name="object 29">
            <a:extLst>
              <a:ext uri="{FF2B5EF4-FFF2-40B4-BE49-F238E27FC236}">
                <a16:creationId xmlns:a16="http://schemas.microsoft.com/office/drawing/2014/main" id="{5CE2FB0D-885A-1BEC-8919-E936DECD3CDF}"/>
              </a:ext>
            </a:extLst>
          </p:cNvPr>
          <p:cNvSpPr txBox="1"/>
          <p:nvPr/>
        </p:nvSpPr>
        <p:spPr>
          <a:xfrm>
            <a:off x="12581566" y="8847432"/>
            <a:ext cx="2166525" cy="1068049"/>
          </a:xfrm>
          <a:prstGeom prst="rect">
            <a:avLst/>
          </a:prstGeom>
        </p:spPr>
        <p:txBody>
          <a:bodyPr vert="horz" wrap="square" lIns="0" tIns="12065" rIns="0" bIns="0" rtlCol="0">
            <a:spAutoFit/>
          </a:bodyPr>
          <a:lstStyle/>
          <a:p>
            <a:pPr marL="12700" marR="5080" lvl="0" indent="0" algn="l" defTabSz="914400" eaLnBrk="1" fontAlgn="auto" latinLnBrk="0" hangingPunct="1">
              <a:lnSpc>
                <a:spcPct val="100000"/>
              </a:lnSpc>
              <a:spcBef>
                <a:spcPts val="95"/>
              </a:spcBef>
              <a:spcAft>
                <a:spcPts val="0"/>
              </a:spcAft>
              <a:buClrTx/>
              <a:buSzTx/>
              <a:buFontTx/>
              <a:buNone/>
              <a:tabLst/>
              <a:defRPr/>
            </a:pPr>
            <a:r>
              <a:rPr kumimoji="0" lang="en-US" sz="1200" b="1" i="0" u="none" strike="noStrike" kern="0" cap="none" spc="-10" normalizeH="0" baseline="0" noProof="0">
                <a:ln>
                  <a:noFill/>
                </a:ln>
                <a:solidFill>
                  <a:prstClr val="black">
                    <a:lumMod val="65000"/>
                    <a:lumOff val="35000"/>
                  </a:prstClr>
                </a:solidFill>
                <a:effectLst/>
                <a:uLnTx/>
                <a:uFillTx/>
                <a:latin typeface="Ubuntu" panose="020B0504030602030204" pitchFamily="34" charset="0"/>
                <a:cs typeface="Ubuntu Light"/>
              </a:rPr>
              <a:t>CLOUD SERVICES &amp;</a:t>
            </a:r>
          </a:p>
          <a:p>
            <a:pPr marL="12700" marR="5080" lvl="0" indent="0" algn="l" defTabSz="914400" eaLnBrk="1" fontAlgn="auto" latinLnBrk="0" hangingPunct="1">
              <a:lnSpc>
                <a:spcPct val="100000"/>
              </a:lnSpc>
              <a:spcBef>
                <a:spcPts val="95"/>
              </a:spcBef>
              <a:spcAft>
                <a:spcPts val="0"/>
              </a:spcAft>
              <a:buClrTx/>
              <a:buSzTx/>
              <a:buFontTx/>
              <a:buNone/>
              <a:tabLst/>
              <a:defRPr/>
            </a:pPr>
            <a:r>
              <a:rPr kumimoji="0" lang="en-US" sz="1800" b="1" i="0" u="none" strike="noStrike" kern="0" cap="none" spc="-10" normalizeH="0" baseline="0" noProof="0">
                <a:ln>
                  <a:noFill/>
                </a:ln>
                <a:solidFill>
                  <a:prstClr val="black">
                    <a:lumMod val="65000"/>
                    <a:lumOff val="35000"/>
                  </a:prstClr>
                </a:solidFill>
                <a:effectLst/>
                <a:uLnTx/>
                <a:uFillTx/>
                <a:latin typeface="Ubuntu" panose="020B0504030602030204" pitchFamily="34" charset="0"/>
                <a:cs typeface="Ubuntu Light"/>
              </a:rPr>
              <a:t>LICENSING </a:t>
            </a:r>
          </a:p>
          <a:p>
            <a:pPr marL="12700" marR="5080" lvl="0" indent="0" algn="l" defTabSz="914400" eaLnBrk="1" fontAlgn="auto" latinLnBrk="0" hangingPunct="1">
              <a:lnSpc>
                <a:spcPct val="100000"/>
              </a:lnSpc>
              <a:spcBef>
                <a:spcPts val="95"/>
              </a:spcBef>
              <a:spcAft>
                <a:spcPts val="0"/>
              </a:spcAft>
              <a:buClrTx/>
              <a:buSzTx/>
              <a:buFontTx/>
              <a:buNone/>
              <a:tabLst/>
              <a:defRPr/>
            </a:pPr>
            <a:r>
              <a:rPr kumimoji="0" lang="en-US" sz="1200" b="1" i="0" u="none" strike="noStrike" kern="0" cap="none" spc="-10" normalizeH="0" baseline="0" noProof="0">
                <a:ln>
                  <a:noFill/>
                </a:ln>
                <a:solidFill>
                  <a:prstClr val="black">
                    <a:lumMod val="65000"/>
                    <a:lumOff val="35000"/>
                  </a:prstClr>
                </a:solidFill>
                <a:effectLst/>
                <a:uLnTx/>
                <a:uFillTx/>
                <a:latin typeface="Ubuntu" panose="020B0504030602030204" pitchFamily="34" charset="0"/>
                <a:cs typeface="Ubuntu Light"/>
              </a:rPr>
              <a:t>PROVISIONING</a:t>
            </a:r>
          </a:p>
          <a:p>
            <a:pPr marL="184150" marR="5080" lvl="0" indent="-171450" algn="l" defTabSz="914400" eaLnBrk="1" fontAlgn="auto" latinLnBrk="0" hangingPunct="1">
              <a:lnSpc>
                <a:spcPct val="100000"/>
              </a:lnSpc>
              <a:spcBef>
                <a:spcPts val="95"/>
              </a:spcBef>
              <a:spcAft>
                <a:spcPts val="0"/>
              </a:spcAft>
              <a:buClrTx/>
              <a:buSzTx/>
              <a:buFont typeface="Wingdings" pitchFamily="2" charset="2"/>
              <a:buChar char="§"/>
              <a:tabLst/>
              <a:defRPr/>
            </a:pPr>
            <a:r>
              <a:rPr kumimoji="0" lang="en-US" sz="1400" b="0" i="0" u="none" strike="noStrike" kern="0" cap="none" spc="-10" normalizeH="0" baseline="0" noProof="0">
                <a:ln>
                  <a:noFill/>
                </a:ln>
                <a:solidFill>
                  <a:prstClr val="black"/>
                </a:solidFill>
                <a:effectLst/>
                <a:uLnTx/>
                <a:uFillTx/>
                <a:latin typeface="Ubuntu Light"/>
                <a:cs typeface="Ubuntu Light"/>
              </a:rPr>
              <a:t>QE&amp;Testing partnerships</a:t>
            </a:r>
          </a:p>
          <a:p>
            <a:pPr marL="12700" marR="5080" lvl="0" indent="0" algn="l" defTabSz="914400" eaLnBrk="1" fontAlgn="auto" latinLnBrk="0" hangingPunct="1">
              <a:lnSpc>
                <a:spcPct val="114999"/>
              </a:lnSpc>
              <a:spcBef>
                <a:spcPts val="95"/>
              </a:spcBef>
              <a:spcAft>
                <a:spcPts val="0"/>
              </a:spcAft>
              <a:buClrTx/>
              <a:buSzTx/>
              <a:buFontTx/>
              <a:buNone/>
              <a:tabLst/>
              <a:defRPr/>
            </a:pPr>
            <a:endParaRPr kumimoji="0" lang="en-US" sz="900" b="0" i="0" u="none" strike="noStrike" kern="0" cap="none" spc="-10" normalizeH="0" baseline="0" noProof="0">
              <a:ln>
                <a:noFill/>
              </a:ln>
              <a:solidFill>
                <a:prstClr val="black">
                  <a:lumMod val="65000"/>
                  <a:lumOff val="35000"/>
                </a:prstClr>
              </a:solidFill>
              <a:effectLst/>
              <a:uLnTx/>
              <a:uFillTx/>
              <a:latin typeface="Ubuntu Light"/>
              <a:cs typeface="Ubuntu Light"/>
            </a:endParaRPr>
          </a:p>
        </p:txBody>
      </p:sp>
      <p:sp>
        <p:nvSpPr>
          <p:cNvPr id="41" name="object 29">
            <a:extLst>
              <a:ext uri="{FF2B5EF4-FFF2-40B4-BE49-F238E27FC236}">
                <a16:creationId xmlns:a16="http://schemas.microsoft.com/office/drawing/2014/main" id="{8B86746D-11A6-565F-E5F2-9E92596DF3D9}"/>
              </a:ext>
            </a:extLst>
          </p:cNvPr>
          <p:cNvSpPr txBox="1"/>
          <p:nvPr/>
        </p:nvSpPr>
        <p:spPr>
          <a:xfrm>
            <a:off x="15042527" y="8853111"/>
            <a:ext cx="1791323" cy="1696426"/>
          </a:xfrm>
          <a:prstGeom prst="rect">
            <a:avLst/>
          </a:prstGeom>
        </p:spPr>
        <p:txBody>
          <a:bodyPr vert="horz" wrap="square" lIns="0" tIns="12065" rIns="0" bIns="0" rtlCol="0">
            <a:spAutoFit/>
          </a:bodyPr>
          <a:lstStyle/>
          <a:p>
            <a:pPr marL="12700" marR="5080" lvl="0" indent="0" algn="l" defTabSz="914400" eaLnBrk="1" fontAlgn="auto" latinLnBrk="0" hangingPunct="1">
              <a:lnSpc>
                <a:spcPct val="100000"/>
              </a:lnSpc>
              <a:spcBef>
                <a:spcPts val="95"/>
              </a:spcBef>
              <a:spcAft>
                <a:spcPts val="0"/>
              </a:spcAft>
              <a:buClrTx/>
              <a:buSzTx/>
              <a:buFontTx/>
              <a:buNone/>
              <a:tabLst/>
              <a:defRPr/>
            </a:pPr>
            <a:r>
              <a:rPr kumimoji="0" lang="en-US" sz="1200" b="1" i="0" u="none" strike="noStrike" kern="0" cap="none" spc="-10" normalizeH="0" baseline="0" noProof="0">
                <a:ln>
                  <a:noFill/>
                </a:ln>
                <a:solidFill>
                  <a:prstClr val="black">
                    <a:lumMod val="65000"/>
                    <a:lumOff val="35000"/>
                  </a:prstClr>
                </a:solidFill>
                <a:effectLst/>
                <a:uLnTx/>
                <a:uFillTx/>
                <a:latin typeface="Ubuntu" panose="020B0504030602030204" pitchFamily="34" charset="0"/>
                <a:cs typeface="Ubuntu Light"/>
              </a:rPr>
              <a:t>EVOLUTION</a:t>
            </a:r>
          </a:p>
          <a:p>
            <a:pPr marL="12700" marR="5080" lvl="0" indent="0" algn="l" defTabSz="914400" eaLnBrk="1" fontAlgn="auto" latinLnBrk="0" hangingPunct="1">
              <a:lnSpc>
                <a:spcPct val="100000"/>
              </a:lnSpc>
              <a:spcBef>
                <a:spcPts val="95"/>
              </a:spcBef>
              <a:spcAft>
                <a:spcPts val="0"/>
              </a:spcAft>
              <a:buClrTx/>
              <a:buSzTx/>
              <a:buFontTx/>
              <a:buNone/>
              <a:tabLst/>
              <a:defRPr/>
            </a:pPr>
            <a:r>
              <a:rPr kumimoji="0" lang="en-US" sz="1800" b="1" i="0" u="none" strike="noStrike" kern="0" cap="none" spc="-10" normalizeH="0" baseline="0" noProof="0">
                <a:ln>
                  <a:noFill/>
                </a:ln>
                <a:solidFill>
                  <a:prstClr val="black">
                    <a:lumMod val="65000"/>
                    <a:lumOff val="35000"/>
                  </a:prstClr>
                </a:solidFill>
                <a:effectLst/>
                <a:uLnTx/>
                <a:uFillTx/>
                <a:latin typeface="Ubuntu" panose="020B0504030602030204" pitchFamily="34" charset="0"/>
                <a:cs typeface="Ubuntu Light"/>
              </a:rPr>
              <a:t>ROADMAP</a:t>
            </a:r>
          </a:p>
          <a:p>
            <a:pPr marL="12700" marR="5080" lvl="0" indent="0" algn="l" defTabSz="914400" eaLnBrk="1" fontAlgn="auto" latinLnBrk="0" hangingPunct="1">
              <a:lnSpc>
                <a:spcPct val="100000"/>
              </a:lnSpc>
              <a:spcBef>
                <a:spcPts val="95"/>
              </a:spcBef>
              <a:spcAft>
                <a:spcPts val="0"/>
              </a:spcAft>
              <a:buClrTx/>
              <a:buSzTx/>
              <a:buFontTx/>
              <a:buNone/>
              <a:tabLst/>
              <a:defRPr/>
            </a:pPr>
            <a:r>
              <a:rPr kumimoji="0" lang="en-US" sz="1200" b="1" i="0" u="none" strike="noStrike" kern="0" cap="none" spc="-10" normalizeH="0" baseline="0" noProof="0">
                <a:ln>
                  <a:noFill/>
                </a:ln>
                <a:solidFill>
                  <a:prstClr val="black">
                    <a:lumMod val="65000"/>
                    <a:lumOff val="35000"/>
                  </a:prstClr>
                </a:solidFill>
                <a:effectLst/>
                <a:uLnTx/>
                <a:uFillTx/>
                <a:latin typeface="Ubuntu" panose="020B0504030602030204" pitchFamily="34" charset="0"/>
                <a:cs typeface="Ubuntu Light"/>
              </a:rPr>
              <a:t>TO MAXIMIZE VALUE</a:t>
            </a:r>
          </a:p>
          <a:p>
            <a:pPr marL="184150" marR="5080" lvl="0" indent="-171450" algn="l" defTabSz="914400" eaLnBrk="1" fontAlgn="auto" latinLnBrk="0" hangingPunct="1">
              <a:lnSpc>
                <a:spcPct val="100000"/>
              </a:lnSpc>
              <a:spcBef>
                <a:spcPts val="95"/>
              </a:spcBef>
              <a:spcAft>
                <a:spcPts val="0"/>
              </a:spcAft>
              <a:buClrTx/>
              <a:buSzTx/>
              <a:buFont typeface="Wingdings" pitchFamily="2" charset="2"/>
              <a:buChar char="§"/>
              <a:tabLst/>
              <a:defRPr/>
            </a:pPr>
            <a:r>
              <a:rPr kumimoji="0" lang="en-US" sz="1400" b="0" i="0" u="none" strike="noStrike" kern="0" cap="none" spc="-10" normalizeH="0" baseline="0" noProof="0">
                <a:ln>
                  <a:noFill/>
                </a:ln>
                <a:solidFill>
                  <a:sysClr val="windowText" lastClr="000000"/>
                </a:solidFill>
                <a:effectLst/>
                <a:uLnTx/>
                <a:uFillTx/>
                <a:latin typeface="Ubuntu Light"/>
                <a:cs typeface="Ubuntu Light"/>
              </a:rPr>
              <a:t>Test Process Improvement (TPI &amp; QBP)</a:t>
            </a:r>
          </a:p>
          <a:p>
            <a:pPr marL="184150" marR="5080" lvl="0" indent="-171450" algn="l" defTabSz="914400" eaLnBrk="1" fontAlgn="auto" latinLnBrk="0" hangingPunct="1">
              <a:lnSpc>
                <a:spcPct val="100000"/>
              </a:lnSpc>
              <a:spcBef>
                <a:spcPts val="95"/>
              </a:spcBef>
              <a:spcAft>
                <a:spcPts val="0"/>
              </a:spcAft>
              <a:buClrTx/>
              <a:buSzTx/>
              <a:buFont typeface="Wingdings" pitchFamily="2" charset="2"/>
              <a:buChar char="§"/>
              <a:tabLst/>
              <a:defRPr/>
            </a:pPr>
            <a:endParaRPr kumimoji="0" lang="en-US" sz="1200" b="0" i="0" u="none" strike="noStrike" kern="0" cap="none" spc="-10" normalizeH="0" baseline="0" noProof="0">
              <a:ln>
                <a:noFill/>
              </a:ln>
              <a:solidFill>
                <a:sysClr val="windowText" lastClr="000000"/>
              </a:solidFill>
              <a:effectLst/>
              <a:uLnTx/>
              <a:uFillTx/>
              <a:latin typeface="Ubuntu Light"/>
              <a:cs typeface="Ubuntu Light"/>
            </a:endParaRPr>
          </a:p>
          <a:p>
            <a:pPr marL="12700" marR="5080" lvl="0" indent="0" algn="l" defTabSz="914400" eaLnBrk="1" fontAlgn="auto" latinLnBrk="0" hangingPunct="1">
              <a:lnSpc>
                <a:spcPct val="114999"/>
              </a:lnSpc>
              <a:spcBef>
                <a:spcPts val="95"/>
              </a:spcBef>
              <a:spcAft>
                <a:spcPts val="0"/>
              </a:spcAft>
              <a:buClrTx/>
              <a:buSzTx/>
              <a:buFontTx/>
              <a:buNone/>
              <a:tabLst/>
              <a:defRPr/>
            </a:pPr>
            <a:endParaRPr kumimoji="0" lang="en-US" sz="900" b="0" i="0" u="none" strike="noStrike" kern="0" cap="none" spc="-10" normalizeH="0" baseline="0" noProof="0">
              <a:ln>
                <a:noFill/>
              </a:ln>
              <a:solidFill>
                <a:prstClr val="black">
                  <a:lumMod val="65000"/>
                  <a:lumOff val="35000"/>
                </a:prstClr>
              </a:solidFill>
              <a:effectLst/>
              <a:uLnTx/>
              <a:uFillTx/>
              <a:latin typeface="Ubuntu Light"/>
              <a:cs typeface="Ubuntu Light"/>
            </a:endParaRPr>
          </a:p>
        </p:txBody>
      </p:sp>
      <p:sp>
        <p:nvSpPr>
          <p:cNvPr id="42" name="object 29">
            <a:extLst>
              <a:ext uri="{FF2B5EF4-FFF2-40B4-BE49-F238E27FC236}">
                <a16:creationId xmlns:a16="http://schemas.microsoft.com/office/drawing/2014/main" id="{7F32D53E-3884-852D-8512-97F684382886}"/>
              </a:ext>
            </a:extLst>
          </p:cNvPr>
          <p:cNvSpPr txBox="1"/>
          <p:nvPr/>
        </p:nvSpPr>
        <p:spPr>
          <a:xfrm>
            <a:off x="17220948" y="8806441"/>
            <a:ext cx="2319122" cy="1473288"/>
          </a:xfrm>
          <a:prstGeom prst="rect">
            <a:avLst/>
          </a:prstGeom>
        </p:spPr>
        <p:txBody>
          <a:bodyPr vert="horz" wrap="square" lIns="0" tIns="12065" rIns="0" bIns="0" rtlCol="0">
            <a:spAutoFit/>
          </a:bodyPr>
          <a:lstStyle/>
          <a:p>
            <a:pPr marL="12700" marR="5080" lvl="0" indent="0" algn="l" defTabSz="914400" eaLnBrk="1" fontAlgn="auto" latinLnBrk="0" hangingPunct="1">
              <a:lnSpc>
                <a:spcPct val="100000"/>
              </a:lnSpc>
              <a:spcBef>
                <a:spcPts val="0"/>
              </a:spcBef>
              <a:spcAft>
                <a:spcPts val="0"/>
              </a:spcAft>
              <a:buClrTx/>
              <a:buSzTx/>
              <a:buFontTx/>
              <a:buNone/>
              <a:tabLst/>
              <a:defRPr/>
            </a:pPr>
            <a:r>
              <a:rPr kumimoji="0" lang="es-ES" sz="1800" b="1" i="0" u="none" strike="noStrike" kern="0" cap="none" spc="-10" normalizeH="0" baseline="0" noProof="0">
                <a:ln>
                  <a:noFill/>
                </a:ln>
                <a:solidFill>
                  <a:srgbClr val="00B050"/>
                </a:solidFill>
                <a:effectLst/>
                <a:uLnTx/>
                <a:uFillTx/>
                <a:latin typeface="Ubuntu" panose="020B0504030602030204" pitchFamily="34" charset="0"/>
                <a:cs typeface="Ubuntu Light"/>
              </a:rPr>
              <a:t>SUSTAINABLE</a:t>
            </a:r>
            <a:endParaRPr kumimoji="0" lang="es-ES" sz="1200" b="1" i="0" u="none" strike="noStrike" kern="0" cap="none" spc="-10" normalizeH="0" baseline="0" noProof="0">
              <a:ln>
                <a:noFill/>
              </a:ln>
              <a:solidFill>
                <a:srgbClr val="00B050"/>
              </a:solidFill>
              <a:effectLst/>
              <a:uLnTx/>
              <a:uFillTx/>
              <a:latin typeface="Ubuntu" panose="020B0504030602030204" pitchFamily="34" charset="0"/>
              <a:cs typeface="Ubuntu Light"/>
            </a:endParaRPr>
          </a:p>
          <a:p>
            <a:pPr marL="12700" marR="5080" lvl="0" indent="0" algn="l" defTabSz="914400" eaLnBrk="1" fontAlgn="auto" latinLnBrk="0" hangingPunct="1">
              <a:lnSpc>
                <a:spcPct val="100000"/>
              </a:lnSpc>
              <a:spcBef>
                <a:spcPts val="0"/>
              </a:spcBef>
              <a:spcAft>
                <a:spcPts val="0"/>
              </a:spcAft>
              <a:buClrTx/>
              <a:buSzTx/>
              <a:buFontTx/>
              <a:buNone/>
              <a:tabLst/>
              <a:defRPr/>
            </a:pPr>
            <a:r>
              <a:rPr kumimoji="0" lang="es-ES" sz="1200" b="1" i="0" u="none" strike="noStrike" kern="0" cap="none" spc="-10" normalizeH="0" baseline="0" noProof="0">
                <a:ln>
                  <a:noFill/>
                </a:ln>
                <a:solidFill>
                  <a:srgbClr val="00B050"/>
                </a:solidFill>
                <a:effectLst/>
                <a:uLnTx/>
                <a:uFillTx/>
                <a:latin typeface="Ubuntu" panose="020B0504030602030204" pitchFamily="34" charset="0"/>
                <a:cs typeface="Ubuntu Light"/>
              </a:rPr>
              <a:t>SOFTWARE </a:t>
            </a:r>
          </a:p>
          <a:p>
            <a:pPr marL="12700" marR="5080" lvl="0" indent="0" algn="l" defTabSz="914400" eaLnBrk="1" fontAlgn="auto" latinLnBrk="0" hangingPunct="1">
              <a:lnSpc>
                <a:spcPct val="100000"/>
              </a:lnSpc>
              <a:spcBef>
                <a:spcPts val="0"/>
              </a:spcBef>
              <a:spcAft>
                <a:spcPts val="0"/>
              </a:spcAft>
              <a:buClrTx/>
              <a:buSzTx/>
              <a:buFontTx/>
              <a:buNone/>
              <a:tabLst/>
              <a:defRPr/>
            </a:pPr>
            <a:r>
              <a:rPr kumimoji="0" lang="es-ES" sz="1200" b="1" i="0" u="none" strike="noStrike" kern="0" cap="none" spc="-10" normalizeH="0" baseline="0" noProof="0">
                <a:ln>
                  <a:noFill/>
                </a:ln>
                <a:solidFill>
                  <a:srgbClr val="00B050"/>
                </a:solidFill>
                <a:effectLst/>
                <a:uLnTx/>
                <a:uFillTx/>
                <a:latin typeface="Ubuntu" panose="020B0504030602030204" pitchFamily="34" charset="0"/>
                <a:cs typeface="Ubuntu Light"/>
              </a:rPr>
              <a:t>ENGINEERING</a:t>
            </a:r>
          </a:p>
          <a:p>
            <a:pPr marL="184150" marR="5080" lvl="0" indent="-171450" algn="l" defTabSz="914400" eaLnBrk="1" fontAlgn="auto" latinLnBrk="0" hangingPunct="1">
              <a:lnSpc>
                <a:spcPct val="100000"/>
              </a:lnSpc>
              <a:spcBef>
                <a:spcPts val="95"/>
              </a:spcBef>
              <a:spcAft>
                <a:spcPts val="0"/>
              </a:spcAft>
              <a:buClrTx/>
              <a:buSzTx/>
              <a:buFont typeface="Wingdings" pitchFamily="2" charset="2"/>
              <a:buChar char="§"/>
              <a:tabLst/>
              <a:defRPr/>
            </a:pPr>
            <a:r>
              <a:rPr kumimoji="0" lang="en-US" sz="1400" b="0" i="0" u="none" strike="noStrike" kern="0" cap="none" spc="-10" normalizeH="0" baseline="0" noProof="0">
                <a:ln>
                  <a:noFill/>
                </a:ln>
                <a:solidFill>
                  <a:sysClr val="windowText" lastClr="000000"/>
                </a:solidFill>
                <a:effectLst/>
                <a:uLnTx/>
                <a:uFillTx/>
                <a:latin typeface="Ubuntu Light"/>
                <a:cs typeface="Ubuntu Light"/>
              </a:rPr>
              <a:t>TMap test strategy including sustainability core</a:t>
            </a:r>
          </a:p>
          <a:p>
            <a:pPr marL="12700" marR="5080" lvl="0" indent="0" algn="l" defTabSz="914400" eaLnBrk="1" fontAlgn="auto" latinLnBrk="0" hangingPunct="1">
              <a:lnSpc>
                <a:spcPct val="114999"/>
              </a:lnSpc>
              <a:spcBef>
                <a:spcPts val="95"/>
              </a:spcBef>
              <a:spcAft>
                <a:spcPts val="0"/>
              </a:spcAft>
              <a:buClrTx/>
              <a:buSzTx/>
              <a:buFontTx/>
              <a:buNone/>
              <a:tabLst/>
              <a:defRPr/>
            </a:pPr>
            <a:endParaRPr kumimoji="0" lang="es-ES" sz="900" b="0" i="0" u="none" strike="noStrike" kern="0" cap="none" spc="-10" normalizeH="0" baseline="0" noProof="0">
              <a:ln>
                <a:noFill/>
              </a:ln>
              <a:solidFill>
                <a:sysClr val="windowText" lastClr="000000"/>
              </a:solidFill>
              <a:effectLst/>
              <a:uLnTx/>
              <a:uFillTx/>
              <a:latin typeface="Ubuntu Light"/>
              <a:cs typeface="Ubuntu Light"/>
            </a:endParaRPr>
          </a:p>
        </p:txBody>
      </p:sp>
      <p:pic>
        <p:nvPicPr>
          <p:cNvPr id="43" name="Imagen 42" descr="Un conjunto de letras negras en un fondo negro&#10;&#10;Descripción generada automáticamente con confianza baja">
            <a:extLst>
              <a:ext uri="{FF2B5EF4-FFF2-40B4-BE49-F238E27FC236}">
                <a16:creationId xmlns:a16="http://schemas.microsoft.com/office/drawing/2014/main" id="{C1BEA8B9-21C4-28C9-5C7C-480F6AB2E4E3}"/>
              </a:ext>
            </a:extLst>
          </p:cNvPr>
          <p:cNvPicPr>
            <a:picLocks noChangeAspect="1"/>
          </p:cNvPicPr>
          <p:nvPr/>
        </p:nvPicPr>
        <p:blipFill rotWithShape="1">
          <a:blip r:embed="rId7">
            <a:extLst>
              <a:ext uri="{28A0092B-C50C-407E-A947-70E740481C1C}">
                <a14:useLocalDpi xmlns:a14="http://schemas.microsoft.com/office/drawing/2010/main"/>
              </a:ext>
            </a:extLst>
          </a:blip>
          <a:srcRect/>
          <a:stretch/>
        </p:blipFill>
        <p:spPr>
          <a:xfrm>
            <a:off x="16830590" y="1468475"/>
            <a:ext cx="2003846" cy="2073964"/>
          </a:xfrm>
          <a:prstGeom prst="rect">
            <a:avLst/>
          </a:prstGeom>
        </p:spPr>
      </p:pic>
      <p:pic>
        <p:nvPicPr>
          <p:cNvPr id="44" name="Imagen 43" descr="Imagen que contiene firmar, plato, alimentos, dibujo&#10;&#10;Descripción generada automáticamente">
            <a:extLst>
              <a:ext uri="{FF2B5EF4-FFF2-40B4-BE49-F238E27FC236}">
                <a16:creationId xmlns:a16="http://schemas.microsoft.com/office/drawing/2014/main" id="{687AA251-69D0-0CCC-1CB5-1D1C3BCE316E}"/>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17821310" y="3481553"/>
            <a:ext cx="873764" cy="278076"/>
          </a:xfrm>
          <a:prstGeom prst="rect">
            <a:avLst/>
          </a:prstGeom>
        </p:spPr>
      </p:pic>
      <p:sp>
        <p:nvSpPr>
          <p:cNvPr id="45" name="Rectángulo 44">
            <a:extLst>
              <a:ext uri="{FF2B5EF4-FFF2-40B4-BE49-F238E27FC236}">
                <a16:creationId xmlns:a16="http://schemas.microsoft.com/office/drawing/2014/main" id="{6A4F10B8-75E9-493C-09CD-CD4C88949501}"/>
              </a:ext>
            </a:extLst>
          </p:cNvPr>
          <p:cNvSpPr/>
          <p:nvPr/>
        </p:nvSpPr>
        <p:spPr>
          <a:xfrm rot="2658827">
            <a:off x="17002215" y="2138812"/>
            <a:ext cx="1733783" cy="1263912"/>
          </a:xfrm>
          <a:prstGeom prst="rect">
            <a:avLst/>
          </a:prstGeom>
          <a:noFill/>
        </p:spPr>
        <p:txBody>
          <a:bodyPr wrap="none" lIns="91440" tIns="45720" rIns="91440" bIns="45720">
            <a:prstTxWarp prst="textArchUp">
              <a:avLst>
                <a:gd name="adj" fmla="val 10233233"/>
              </a:avLst>
            </a:prstTxWarp>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800" b="1" i="0" u="none" strike="noStrike" kern="0" cap="none" spc="0" normalizeH="0" baseline="0" noProof="0">
                <a:ln w="0"/>
                <a:gradFill flip="none" rotWithShape="1">
                  <a:gsLst>
                    <a:gs pos="0">
                      <a:srgbClr val="8064A2">
                        <a:lumMod val="60000"/>
                        <a:lumOff val="40000"/>
                      </a:srgbClr>
                    </a:gs>
                    <a:gs pos="46000">
                      <a:srgbClr val="4F81BD">
                        <a:lumMod val="95000"/>
                        <a:lumOff val="5000"/>
                      </a:srgbClr>
                    </a:gs>
                    <a:gs pos="100000">
                      <a:srgbClr val="7030A0"/>
                    </a:gs>
                  </a:gsLst>
                  <a:path path="circle">
                    <a:fillToRect l="50000" t="130000" r="50000" b="-30000"/>
                  </a:path>
                  <a:tileRect/>
                </a:gradFill>
                <a:effectLst/>
                <a:uLnTx/>
                <a:uFillTx/>
                <a:latin typeface="Ubuntu Mono" panose="020B0509030602030204" pitchFamily="49" charset="0"/>
              </a:rPr>
              <a:t>APPLIED INNOVATION</a:t>
            </a:r>
          </a:p>
        </p:txBody>
      </p:sp>
      <p:sp>
        <p:nvSpPr>
          <p:cNvPr id="52" name="Rectángulo redondeado 51">
            <a:extLst>
              <a:ext uri="{FF2B5EF4-FFF2-40B4-BE49-F238E27FC236}">
                <a16:creationId xmlns:a16="http://schemas.microsoft.com/office/drawing/2014/main" id="{4F675B4F-5D9F-85F5-7DE0-5FF0D17ED94A}"/>
              </a:ext>
            </a:extLst>
          </p:cNvPr>
          <p:cNvSpPr/>
          <p:nvPr/>
        </p:nvSpPr>
        <p:spPr>
          <a:xfrm>
            <a:off x="15596647" y="6616045"/>
            <a:ext cx="1052043" cy="231760"/>
          </a:xfrm>
          <a:prstGeom prst="round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i="0" u="none" strike="noStrike" kern="0" cap="none" spc="0" normalizeH="0" baseline="0" noProof="0">
                <a:ln>
                  <a:noFill/>
                </a:ln>
                <a:solidFill>
                  <a:schemeClr val="bg1">
                    <a:lumMod val="65000"/>
                  </a:schemeClr>
                </a:solidFill>
                <a:effectLst/>
                <a:uLnTx/>
                <a:uFillTx/>
                <a:latin typeface="Ubuntu Mono" panose="020B0509030602030204" pitchFamily="49" charset="0"/>
              </a:rPr>
              <a:t>ADA</a:t>
            </a:r>
          </a:p>
        </p:txBody>
      </p:sp>
      <p:sp>
        <p:nvSpPr>
          <p:cNvPr id="53" name="Rectángulo redondeado 52">
            <a:extLst>
              <a:ext uri="{FF2B5EF4-FFF2-40B4-BE49-F238E27FC236}">
                <a16:creationId xmlns:a16="http://schemas.microsoft.com/office/drawing/2014/main" id="{27D76AFB-163F-AD37-B35A-77437ED9998A}"/>
              </a:ext>
            </a:extLst>
          </p:cNvPr>
          <p:cNvSpPr/>
          <p:nvPr/>
        </p:nvSpPr>
        <p:spPr>
          <a:xfrm>
            <a:off x="15589480" y="6943790"/>
            <a:ext cx="1052043" cy="231760"/>
          </a:xfrm>
          <a:prstGeom prst="round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s-ES" sz="1100">
                <a:solidFill>
                  <a:schemeClr val="bg1">
                    <a:lumMod val="65000"/>
                  </a:schemeClr>
                </a:solidFill>
                <a:latin typeface="Ubuntu Mono" panose="020B0509030602030204" pitchFamily="49" charset="0"/>
              </a:rPr>
              <a:t>DIG</a:t>
            </a:r>
            <a:endParaRPr kumimoji="0" lang="es-ES" sz="1100" i="0" u="none" strike="noStrike" kern="0" cap="none" spc="0" normalizeH="0" baseline="0" noProof="0">
              <a:ln>
                <a:noFill/>
              </a:ln>
              <a:solidFill>
                <a:schemeClr val="bg1">
                  <a:lumMod val="65000"/>
                </a:schemeClr>
              </a:solidFill>
              <a:effectLst/>
              <a:uLnTx/>
              <a:uFillTx/>
              <a:latin typeface="Ubuntu Mono" panose="020B0509030602030204" pitchFamily="49" charset="0"/>
            </a:endParaRPr>
          </a:p>
        </p:txBody>
      </p:sp>
      <p:sp>
        <p:nvSpPr>
          <p:cNvPr id="54" name="Rectángulo redondeado 53">
            <a:extLst>
              <a:ext uri="{FF2B5EF4-FFF2-40B4-BE49-F238E27FC236}">
                <a16:creationId xmlns:a16="http://schemas.microsoft.com/office/drawing/2014/main" id="{C1500E15-8DCB-F6D7-6763-655561B8D693}"/>
              </a:ext>
            </a:extLst>
          </p:cNvPr>
          <p:cNvSpPr/>
          <p:nvPr/>
        </p:nvSpPr>
        <p:spPr>
          <a:xfrm>
            <a:off x="6095316" y="7374234"/>
            <a:ext cx="1052043" cy="649441"/>
          </a:xfrm>
          <a:prstGeom prst="round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i="0" u="none" strike="noStrike" kern="0" cap="none" spc="0" normalizeH="0" baseline="0" noProof="0">
                <a:ln>
                  <a:noFill/>
                </a:ln>
                <a:solidFill>
                  <a:schemeClr val="bg1">
                    <a:lumMod val="65000"/>
                  </a:schemeClr>
                </a:solidFill>
                <a:effectLst/>
                <a:uLnTx/>
                <a:uFillTx/>
                <a:latin typeface="Ubuntu Mono" panose="020B0509030602030204" pitchFamily="49" charset="0"/>
              </a:rPr>
              <a:t>VR/AR TESTING FRAMEWORK</a:t>
            </a:r>
          </a:p>
        </p:txBody>
      </p:sp>
      <p:sp>
        <p:nvSpPr>
          <p:cNvPr id="55" name="Rectángulo redondeado 54">
            <a:extLst>
              <a:ext uri="{FF2B5EF4-FFF2-40B4-BE49-F238E27FC236}">
                <a16:creationId xmlns:a16="http://schemas.microsoft.com/office/drawing/2014/main" id="{7E7D0D77-A31D-ACE1-2BF3-26C490CF7216}"/>
              </a:ext>
            </a:extLst>
          </p:cNvPr>
          <p:cNvSpPr/>
          <p:nvPr/>
        </p:nvSpPr>
        <p:spPr>
          <a:xfrm>
            <a:off x="7358055" y="7374234"/>
            <a:ext cx="1052043" cy="649441"/>
          </a:xfrm>
          <a:prstGeom prst="round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i="0" u="none" strike="noStrike" kern="0" cap="none" spc="0" normalizeH="0" baseline="0" noProof="0">
                <a:ln>
                  <a:noFill/>
                </a:ln>
                <a:solidFill>
                  <a:schemeClr val="bg1">
                    <a:lumMod val="65000"/>
                  </a:schemeClr>
                </a:solidFill>
                <a:effectLst/>
                <a:uLnTx/>
                <a:uFillTx/>
                <a:latin typeface="Ubuntu Mono" panose="020B0509030602030204" pitchFamily="49" charset="0"/>
              </a:rPr>
              <a:t>CLOUD TESTING FRAMEWORK</a:t>
            </a:r>
          </a:p>
        </p:txBody>
      </p:sp>
      <p:sp>
        <p:nvSpPr>
          <p:cNvPr id="57" name="Rectángulo redondeado 56">
            <a:extLst>
              <a:ext uri="{FF2B5EF4-FFF2-40B4-BE49-F238E27FC236}">
                <a16:creationId xmlns:a16="http://schemas.microsoft.com/office/drawing/2014/main" id="{81858F10-77C5-2BC8-5F40-62858C6F021B}"/>
              </a:ext>
            </a:extLst>
          </p:cNvPr>
          <p:cNvSpPr/>
          <p:nvPr/>
        </p:nvSpPr>
        <p:spPr>
          <a:xfrm>
            <a:off x="8664687" y="7374234"/>
            <a:ext cx="1052043" cy="649441"/>
          </a:xfrm>
          <a:prstGeom prst="round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i="0" u="none" strike="noStrike" kern="0" cap="none" spc="0" normalizeH="0" baseline="0" noProof="0">
                <a:ln>
                  <a:noFill/>
                </a:ln>
                <a:solidFill>
                  <a:schemeClr val="bg1">
                    <a:lumMod val="65000"/>
                  </a:schemeClr>
                </a:solidFill>
                <a:effectLst/>
                <a:uLnTx/>
                <a:uFillTx/>
                <a:latin typeface="Ubuntu Mono" panose="020B0509030602030204" pitchFamily="49" charset="0"/>
              </a:rPr>
              <a:t>SAP REUSABLE TESTS</a:t>
            </a:r>
          </a:p>
        </p:txBody>
      </p:sp>
      <p:sp>
        <p:nvSpPr>
          <p:cNvPr id="58" name="Rectángulo redondeado 57">
            <a:extLst>
              <a:ext uri="{FF2B5EF4-FFF2-40B4-BE49-F238E27FC236}">
                <a16:creationId xmlns:a16="http://schemas.microsoft.com/office/drawing/2014/main" id="{37E6CF05-5CF0-7A48-1F0C-E6ED38B4939D}"/>
              </a:ext>
            </a:extLst>
          </p:cNvPr>
          <p:cNvSpPr/>
          <p:nvPr/>
        </p:nvSpPr>
        <p:spPr>
          <a:xfrm>
            <a:off x="6619903" y="4200874"/>
            <a:ext cx="1052043" cy="396526"/>
          </a:xfrm>
          <a:prstGeom prst="round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s-ES" sz="1100">
                <a:solidFill>
                  <a:schemeClr val="bg1">
                    <a:lumMod val="65000"/>
                  </a:schemeClr>
                </a:solidFill>
                <a:latin typeface="Ubuntu Mono" panose="020B0509030602030204" pitchFamily="49" charset="0"/>
              </a:rPr>
              <a:t>SOGETI</a:t>
            </a:r>
          </a:p>
          <a:p>
            <a:pPr marL="0" marR="0" lvl="0" indent="0" algn="ctr" defTabSz="914400" eaLnBrk="1" fontAlgn="auto" latinLnBrk="0" hangingPunct="1">
              <a:lnSpc>
                <a:spcPct val="100000"/>
              </a:lnSpc>
              <a:spcBef>
                <a:spcPts val="0"/>
              </a:spcBef>
              <a:spcAft>
                <a:spcPts val="0"/>
              </a:spcAft>
              <a:buClrTx/>
              <a:buSzTx/>
              <a:buFontTx/>
              <a:buNone/>
              <a:tabLst/>
              <a:defRPr/>
            </a:pPr>
            <a:r>
              <a:rPr lang="es-ES" sz="1100">
                <a:solidFill>
                  <a:schemeClr val="bg1">
                    <a:lumMod val="65000"/>
                  </a:schemeClr>
                </a:solidFill>
                <a:latin typeface="Ubuntu Mono" panose="020B0509030602030204" pitchFamily="49" charset="0"/>
              </a:rPr>
              <a:t>FRAMEWORKS</a:t>
            </a:r>
            <a:endParaRPr kumimoji="0" lang="es-ES" sz="1100" i="0" u="none" strike="noStrike" kern="0" cap="none" spc="0" normalizeH="0" baseline="0" noProof="0">
              <a:ln>
                <a:noFill/>
              </a:ln>
              <a:solidFill>
                <a:schemeClr val="bg1">
                  <a:lumMod val="65000"/>
                </a:schemeClr>
              </a:solidFill>
              <a:effectLst/>
              <a:uLnTx/>
              <a:uFillTx/>
              <a:latin typeface="Ubuntu Mono" panose="020B0509030602030204" pitchFamily="49" charset="0"/>
            </a:endParaRPr>
          </a:p>
        </p:txBody>
      </p:sp>
      <p:sp>
        <p:nvSpPr>
          <p:cNvPr id="59" name="Rectángulo redondeado 58">
            <a:extLst>
              <a:ext uri="{FF2B5EF4-FFF2-40B4-BE49-F238E27FC236}">
                <a16:creationId xmlns:a16="http://schemas.microsoft.com/office/drawing/2014/main" id="{C752BAAC-1743-367C-8A7F-9A3C90FFAB4E}"/>
              </a:ext>
            </a:extLst>
          </p:cNvPr>
          <p:cNvSpPr/>
          <p:nvPr/>
        </p:nvSpPr>
        <p:spPr>
          <a:xfrm>
            <a:off x="9827619" y="1883900"/>
            <a:ext cx="1052043" cy="231760"/>
          </a:xfrm>
          <a:prstGeom prst="round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a:ln>
                  <a:noFill/>
                </a:ln>
                <a:solidFill>
                  <a:schemeClr val="tx1"/>
                </a:solidFill>
                <a:effectLst/>
                <a:uLnTx/>
                <a:uFillTx/>
                <a:latin typeface="Ubuntu Mono" panose="020B0509030602030204" pitchFamily="49" charset="0"/>
              </a:rPr>
              <a:t>COGNITIVE QA</a:t>
            </a:r>
          </a:p>
        </p:txBody>
      </p:sp>
      <p:sp>
        <p:nvSpPr>
          <p:cNvPr id="61" name="Rectángulo redondeado 60">
            <a:extLst>
              <a:ext uri="{FF2B5EF4-FFF2-40B4-BE49-F238E27FC236}">
                <a16:creationId xmlns:a16="http://schemas.microsoft.com/office/drawing/2014/main" id="{CB552646-B8E2-FB92-3C44-2247DE8510A7}"/>
              </a:ext>
            </a:extLst>
          </p:cNvPr>
          <p:cNvSpPr/>
          <p:nvPr/>
        </p:nvSpPr>
        <p:spPr>
          <a:xfrm>
            <a:off x="9827619" y="2205486"/>
            <a:ext cx="1052043" cy="231760"/>
          </a:xfrm>
          <a:prstGeom prst="round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s-ES" sz="1100" b="1" dirty="0">
                <a:solidFill>
                  <a:schemeClr val="tx1"/>
                </a:solidFill>
                <a:latin typeface="Ubuntu Mono" panose="020B0509030602030204" pitchFamily="49" charset="0"/>
              </a:rPr>
              <a:t>QADASHBOARDS</a:t>
            </a:r>
            <a:endParaRPr kumimoji="0" lang="es-ES" sz="1100" b="1" i="0" u="none" strike="noStrike" kern="0" cap="none" spc="0" normalizeH="0" baseline="0" noProof="0" dirty="0">
              <a:ln>
                <a:noFill/>
              </a:ln>
              <a:solidFill>
                <a:schemeClr val="tx1"/>
              </a:solidFill>
              <a:effectLst/>
              <a:uLnTx/>
              <a:uFillTx/>
              <a:latin typeface="Ubuntu Mono" panose="020B0509030602030204" pitchFamily="49" charset="0"/>
            </a:endParaRPr>
          </a:p>
        </p:txBody>
      </p:sp>
      <p:sp>
        <p:nvSpPr>
          <p:cNvPr id="63" name="Rectángulo redondeado 62">
            <a:extLst>
              <a:ext uri="{FF2B5EF4-FFF2-40B4-BE49-F238E27FC236}">
                <a16:creationId xmlns:a16="http://schemas.microsoft.com/office/drawing/2014/main" id="{8FE44237-4667-7631-40A9-9FD5EDEE3F74}"/>
              </a:ext>
            </a:extLst>
          </p:cNvPr>
          <p:cNvSpPr/>
          <p:nvPr/>
        </p:nvSpPr>
        <p:spPr>
          <a:xfrm>
            <a:off x="12888819" y="1924547"/>
            <a:ext cx="1624828" cy="236243"/>
          </a:xfrm>
          <a:prstGeom prst="round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s-ES" sz="1100">
                <a:solidFill>
                  <a:schemeClr val="bg1">
                    <a:lumMod val="65000"/>
                  </a:schemeClr>
                </a:solidFill>
                <a:latin typeface="Ubuntu Mono" panose="020B0509030602030204" pitchFamily="49" charset="0"/>
              </a:rPr>
              <a:t>SPIDER LINKS CHECKER</a:t>
            </a:r>
            <a:endParaRPr kumimoji="0" lang="es-ES" sz="1100" i="0" u="none" strike="noStrike" kern="0" cap="none" spc="0" normalizeH="0" baseline="0" noProof="0">
              <a:ln>
                <a:noFill/>
              </a:ln>
              <a:solidFill>
                <a:schemeClr val="bg1">
                  <a:lumMod val="65000"/>
                </a:schemeClr>
              </a:solidFill>
              <a:effectLst/>
              <a:uLnTx/>
              <a:uFillTx/>
              <a:latin typeface="Ubuntu Mono" panose="020B0509030602030204" pitchFamily="49" charset="0"/>
            </a:endParaRPr>
          </a:p>
        </p:txBody>
      </p:sp>
      <p:sp>
        <p:nvSpPr>
          <p:cNvPr id="64" name="Rectángulo redondeado 63">
            <a:extLst>
              <a:ext uri="{FF2B5EF4-FFF2-40B4-BE49-F238E27FC236}">
                <a16:creationId xmlns:a16="http://schemas.microsoft.com/office/drawing/2014/main" id="{B8ED2C6F-B356-B196-2CF5-D69FEADB08C6}"/>
              </a:ext>
            </a:extLst>
          </p:cNvPr>
          <p:cNvSpPr/>
          <p:nvPr/>
        </p:nvSpPr>
        <p:spPr>
          <a:xfrm>
            <a:off x="11151329" y="1531320"/>
            <a:ext cx="2179483" cy="236243"/>
          </a:xfrm>
          <a:prstGeom prst="round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s-ES" sz="1100">
                <a:solidFill>
                  <a:schemeClr val="bg1">
                    <a:lumMod val="65000"/>
                  </a:schemeClr>
                </a:solidFill>
                <a:latin typeface="Ubuntu Mono" panose="020B0509030602030204" pitchFamily="49" charset="0"/>
              </a:rPr>
              <a:t>TEST AUTOMATION OBSERVATORY</a:t>
            </a:r>
            <a:endParaRPr kumimoji="0" lang="es-ES" sz="1100" i="0" u="none" strike="noStrike" kern="0" cap="none" spc="0" normalizeH="0" baseline="0" noProof="0">
              <a:ln>
                <a:noFill/>
              </a:ln>
              <a:solidFill>
                <a:schemeClr val="bg1">
                  <a:lumMod val="65000"/>
                </a:schemeClr>
              </a:solidFill>
              <a:effectLst/>
              <a:uLnTx/>
              <a:uFillTx/>
              <a:latin typeface="Ubuntu Mono" panose="020B0509030602030204" pitchFamily="49" charset="0"/>
            </a:endParaRPr>
          </a:p>
        </p:txBody>
      </p:sp>
      <p:sp>
        <p:nvSpPr>
          <p:cNvPr id="67" name="Rectángulo redondeado 66">
            <a:extLst>
              <a:ext uri="{FF2B5EF4-FFF2-40B4-BE49-F238E27FC236}">
                <a16:creationId xmlns:a16="http://schemas.microsoft.com/office/drawing/2014/main" id="{A323ECD7-53B8-47C3-546E-49F1CA32952D}"/>
              </a:ext>
            </a:extLst>
          </p:cNvPr>
          <p:cNvSpPr/>
          <p:nvPr/>
        </p:nvSpPr>
        <p:spPr>
          <a:xfrm>
            <a:off x="10395172" y="10312008"/>
            <a:ext cx="1232259" cy="326580"/>
          </a:xfrm>
          <a:prstGeom prst="round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i="0" u="none" strike="noStrike" kern="0" cap="none" spc="0" normalizeH="0" baseline="0" noProof="0">
                <a:ln>
                  <a:noFill/>
                </a:ln>
                <a:solidFill>
                  <a:schemeClr val="bg1">
                    <a:lumMod val="65000"/>
                  </a:schemeClr>
                </a:solidFill>
                <a:effectLst/>
                <a:uLnTx/>
                <a:uFillTx/>
                <a:latin typeface="Ubuntu Mono" panose="020B0509030602030204" pitchFamily="49" charset="0"/>
              </a:rPr>
              <a:t>POD TEAMS</a:t>
            </a:r>
          </a:p>
        </p:txBody>
      </p:sp>
      <p:sp>
        <p:nvSpPr>
          <p:cNvPr id="68" name="Rectángulo redondeado 67">
            <a:extLst>
              <a:ext uri="{FF2B5EF4-FFF2-40B4-BE49-F238E27FC236}">
                <a16:creationId xmlns:a16="http://schemas.microsoft.com/office/drawing/2014/main" id="{E7F7C6DF-1E4E-A3E6-E5AC-1A4385662E89}"/>
              </a:ext>
            </a:extLst>
          </p:cNvPr>
          <p:cNvSpPr/>
          <p:nvPr/>
        </p:nvSpPr>
        <p:spPr>
          <a:xfrm>
            <a:off x="10407400" y="10747821"/>
            <a:ext cx="1232259" cy="326579"/>
          </a:xfrm>
          <a:prstGeom prst="round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i="0" u="none" strike="noStrike" kern="0" cap="none" spc="0" normalizeH="0" baseline="0" noProof="0">
                <a:ln>
                  <a:noFill/>
                </a:ln>
                <a:solidFill>
                  <a:schemeClr val="bg1">
                    <a:lumMod val="65000"/>
                  </a:schemeClr>
                </a:solidFill>
                <a:effectLst/>
                <a:uLnTx/>
                <a:uFillTx/>
                <a:latin typeface="Ubuntu Mono" panose="020B0509030602030204" pitchFamily="49" charset="0"/>
              </a:rPr>
              <a:t>SOGETI HUB</a:t>
            </a:r>
          </a:p>
        </p:txBody>
      </p:sp>
      <p:sp>
        <p:nvSpPr>
          <p:cNvPr id="69" name="Rectángulo redondeado 68">
            <a:extLst>
              <a:ext uri="{FF2B5EF4-FFF2-40B4-BE49-F238E27FC236}">
                <a16:creationId xmlns:a16="http://schemas.microsoft.com/office/drawing/2014/main" id="{26D750D3-4B68-0451-0A55-37AEEACF58D5}"/>
              </a:ext>
            </a:extLst>
          </p:cNvPr>
          <p:cNvSpPr/>
          <p:nvPr/>
        </p:nvSpPr>
        <p:spPr>
          <a:xfrm>
            <a:off x="7956925" y="10058077"/>
            <a:ext cx="1232259" cy="548232"/>
          </a:xfrm>
          <a:prstGeom prst="round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i="0" u="none" strike="noStrike" kern="0" cap="none" spc="0" normalizeH="0" baseline="0" noProof="0">
                <a:ln>
                  <a:noFill/>
                </a:ln>
                <a:solidFill>
                  <a:schemeClr val="bg1">
                    <a:lumMod val="65000"/>
                  </a:schemeClr>
                </a:solidFill>
                <a:effectLst/>
                <a:uLnTx/>
                <a:uFillTx/>
                <a:latin typeface="Ubuntu Mono" panose="020B0509030602030204" pitchFamily="49" charset="0"/>
              </a:rPr>
              <a:t>DEV(QA)OPS BLUEPRINT</a:t>
            </a:r>
          </a:p>
        </p:txBody>
      </p:sp>
      <p:sp>
        <p:nvSpPr>
          <p:cNvPr id="72" name="Rectángulo redondeado 71">
            <a:extLst>
              <a:ext uri="{FF2B5EF4-FFF2-40B4-BE49-F238E27FC236}">
                <a16:creationId xmlns:a16="http://schemas.microsoft.com/office/drawing/2014/main" id="{3CDB84C9-5789-9E9D-3920-5BCABE02501C}"/>
              </a:ext>
            </a:extLst>
          </p:cNvPr>
          <p:cNvSpPr/>
          <p:nvPr/>
        </p:nvSpPr>
        <p:spPr>
          <a:xfrm>
            <a:off x="5481276" y="10721182"/>
            <a:ext cx="1232259" cy="326579"/>
          </a:xfrm>
          <a:prstGeom prst="round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i="0" u="none" strike="noStrike" kern="0" cap="none" spc="0" normalizeH="0" baseline="0" noProof="0">
                <a:ln>
                  <a:noFill/>
                </a:ln>
                <a:solidFill>
                  <a:schemeClr val="bg1">
                    <a:lumMod val="65000"/>
                  </a:schemeClr>
                </a:solidFill>
                <a:effectLst/>
                <a:uLnTx/>
                <a:uFillTx/>
                <a:latin typeface="Ubuntu Mono" panose="020B0509030602030204" pitchFamily="49" charset="0"/>
              </a:rPr>
              <a:t>TMAP</a:t>
            </a:r>
          </a:p>
        </p:txBody>
      </p:sp>
      <p:sp>
        <p:nvSpPr>
          <p:cNvPr id="73" name="Rectángulo redondeado 72">
            <a:extLst>
              <a:ext uri="{FF2B5EF4-FFF2-40B4-BE49-F238E27FC236}">
                <a16:creationId xmlns:a16="http://schemas.microsoft.com/office/drawing/2014/main" id="{1BE56C6D-E760-8AFA-33F2-B2AB37CD9401}"/>
              </a:ext>
            </a:extLst>
          </p:cNvPr>
          <p:cNvSpPr/>
          <p:nvPr/>
        </p:nvSpPr>
        <p:spPr>
          <a:xfrm>
            <a:off x="17350943" y="10260539"/>
            <a:ext cx="1232259" cy="519939"/>
          </a:xfrm>
          <a:prstGeom prst="round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i="0" u="none" strike="noStrike" kern="0" cap="none" spc="0" normalizeH="0" baseline="0" noProof="0">
                <a:ln>
                  <a:noFill/>
                </a:ln>
                <a:solidFill>
                  <a:schemeClr val="bg1">
                    <a:lumMod val="65000"/>
                  </a:schemeClr>
                </a:solidFill>
                <a:effectLst/>
                <a:uLnTx/>
                <a:uFillTx/>
                <a:latin typeface="Ubuntu Mono" panose="020B0509030602030204" pitchFamily="49" charset="0"/>
              </a:rPr>
              <a:t>TMAP SUSTAINABILITY FRAMEWORK</a:t>
            </a:r>
          </a:p>
        </p:txBody>
      </p:sp>
      <p:sp>
        <p:nvSpPr>
          <p:cNvPr id="76" name="Rectángulo redondeado 75">
            <a:extLst>
              <a:ext uri="{FF2B5EF4-FFF2-40B4-BE49-F238E27FC236}">
                <a16:creationId xmlns:a16="http://schemas.microsoft.com/office/drawing/2014/main" id="{DEDE83DF-17F8-6BA8-9FD4-4F77B92A4910}"/>
              </a:ext>
            </a:extLst>
          </p:cNvPr>
          <p:cNvSpPr/>
          <p:nvPr/>
        </p:nvSpPr>
        <p:spPr>
          <a:xfrm>
            <a:off x="15200098" y="10383329"/>
            <a:ext cx="1232259" cy="326579"/>
          </a:xfrm>
          <a:prstGeom prst="round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1100" i="0" u="none" strike="noStrike" kern="0" cap="none" spc="0" normalizeH="0" baseline="0" noProof="0">
                <a:ln>
                  <a:noFill/>
                </a:ln>
                <a:solidFill>
                  <a:schemeClr val="bg1">
                    <a:lumMod val="65000"/>
                  </a:schemeClr>
                </a:solidFill>
                <a:effectLst/>
                <a:uLnTx/>
                <a:uFillTx/>
                <a:latin typeface="Ubuntu Mono" panose="020B0509030602030204" pitchFamily="49" charset="0"/>
              </a:rPr>
              <a:t>TPI / QBP</a:t>
            </a:r>
          </a:p>
        </p:txBody>
      </p:sp>
      <p:pic>
        <p:nvPicPr>
          <p:cNvPr id="79" name="Imagen 78" descr="Logotipo&#10;&#10;Descripción generada automáticamente con confianza media">
            <a:extLst>
              <a:ext uri="{FF2B5EF4-FFF2-40B4-BE49-F238E27FC236}">
                <a16:creationId xmlns:a16="http://schemas.microsoft.com/office/drawing/2014/main" id="{2A29E7F3-2D38-0A3F-EB9A-F24E31FB958D}"/>
              </a:ext>
            </a:extLst>
          </p:cNvPr>
          <p:cNvPicPr>
            <a:picLocks noChangeAspect="1"/>
          </p:cNvPicPr>
          <p:nvPr/>
        </p:nvPicPr>
        <p:blipFill>
          <a:blip r:embed="rId9"/>
          <a:stretch>
            <a:fillRect/>
          </a:stretch>
        </p:blipFill>
        <p:spPr>
          <a:xfrm>
            <a:off x="18839724" y="14604183"/>
            <a:ext cx="327606" cy="45719"/>
          </a:xfrm>
          <a:prstGeom prst="rect">
            <a:avLst/>
          </a:prstGeom>
        </p:spPr>
      </p:pic>
      <p:grpSp>
        <p:nvGrpSpPr>
          <p:cNvPr id="98" name="Grupo 97">
            <a:extLst>
              <a:ext uri="{FF2B5EF4-FFF2-40B4-BE49-F238E27FC236}">
                <a16:creationId xmlns:a16="http://schemas.microsoft.com/office/drawing/2014/main" id="{C0A43DC4-28EE-0A11-FC7C-73666374DA5D}"/>
              </a:ext>
            </a:extLst>
          </p:cNvPr>
          <p:cNvGrpSpPr/>
          <p:nvPr/>
        </p:nvGrpSpPr>
        <p:grpSpPr>
          <a:xfrm>
            <a:off x="12529716" y="9907489"/>
            <a:ext cx="2174210" cy="1166911"/>
            <a:chOff x="12402179" y="10141420"/>
            <a:chExt cx="2277664" cy="1129972"/>
          </a:xfrm>
        </p:grpSpPr>
        <p:grpSp>
          <p:nvGrpSpPr>
            <p:cNvPr id="80" name="Grupo 79">
              <a:extLst>
                <a:ext uri="{FF2B5EF4-FFF2-40B4-BE49-F238E27FC236}">
                  <a16:creationId xmlns:a16="http://schemas.microsoft.com/office/drawing/2014/main" id="{B4729639-1EAF-02B0-0491-1811E053A961}"/>
                </a:ext>
              </a:extLst>
            </p:cNvPr>
            <p:cNvGrpSpPr/>
            <p:nvPr/>
          </p:nvGrpSpPr>
          <p:grpSpPr>
            <a:xfrm>
              <a:off x="12536155" y="10825310"/>
              <a:ext cx="1989278" cy="397741"/>
              <a:chOff x="410676" y="6583392"/>
              <a:chExt cx="2090205" cy="417922"/>
            </a:xfrm>
          </p:grpSpPr>
          <p:pic>
            <p:nvPicPr>
              <p:cNvPr id="82" name="Picture 2" descr="Blockchain encabeza el grupo de patentes de IBM - Blockchain Economía">
                <a:extLst>
                  <a:ext uri="{FF2B5EF4-FFF2-40B4-BE49-F238E27FC236}">
                    <a16:creationId xmlns:a16="http://schemas.microsoft.com/office/drawing/2014/main" id="{B8A53F56-E44F-5EA9-1553-456AD8153AAF}"/>
                  </a:ext>
                </a:extLst>
              </p:cNvPr>
              <p:cNvPicPr>
                <a:picLocks noChangeAspect="1" noChangeArrowheads="1"/>
              </p:cNvPicPr>
              <p:nvPr/>
            </p:nvPicPr>
            <p:blipFill>
              <a:blip r:embed="rId10">
                <a:extLst>
                  <a:ext uri="{28A0092B-C50C-407E-A947-70E740481C1C}">
                    <a14:useLocalDpi xmlns:a14="http://schemas.microsoft.com/office/drawing/2010/main"/>
                  </a:ext>
                </a:extLst>
              </a:blip>
              <a:srcRect/>
              <a:stretch>
                <a:fillRect/>
              </a:stretch>
            </p:blipFill>
            <p:spPr bwMode="auto">
              <a:xfrm>
                <a:off x="442718" y="6830681"/>
                <a:ext cx="298605" cy="170633"/>
              </a:xfrm>
              <a:prstGeom prst="rect">
                <a:avLst/>
              </a:prstGeom>
              <a:noFill/>
              <a:extLst>
                <a:ext uri="{909E8E84-426E-40DD-AFC4-6F175D3DCCD1}">
                  <a14:hiddenFill xmlns:a14="http://schemas.microsoft.com/office/drawing/2010/main">
                    <a:solidFill>
                      <a:srgbClr val="FFFFFF"/>
                    </a:solidFill>
                  </a14:hiddenFill>
                </a:ext>
              </a:extLst>
            </p:spPr>
          </p:pic>
          <p:pic>
            <p:nvPicPr>
              <p:cNvPr id="83" name="Gráfico 82">
                <a:extLst>
                  <a:ext uri="{FF2B5EF4-FFF2-40B4-BE49-F238E27FC236}">
                    <a16:creationId xmlns:a16="http://schemas.microsoft.com/office/drawing/2014/main" id="{F1B5C5A5-7B14-0B7E-61C0-805B02F6F8F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43048" y="6852655"/>
                <a:ext cx="522006" cy="126687"/>
              </a:xfrm>
              <a:prstGeom prst="rect">
                <a:avLst/>
              </a:prstGeom>
            </p:spPr>
          </p:pic>
          <p:pic>
            <p:nvPicPr>
              <p:cNvPr id="88" name="Picture 10" descr="geecon Prague 2019">
                <a:extLst>
                  <a:ext uri="{FF2B5EF4-FFF2-40B4-BE49-F238E27FC236}">
                    <a16:creationId xmlns:a16="http://schemas.microsoft.com/office/drawing/2014/main" id="{25740297-4E13-81CD-1C6A-FFA63F341A0A}"/>
                  </a:ext>
                </a:extLst>
              </p:cNvPr>
              <p:cNvPicPr>
                <a:picLocks noChangeAspect="1" noChangeArrowheads="1"/>
              </p:cNvPicPr>
              <p:nvPr/>
            </p:nvPicPr>
            <p:blipFill>
              <a:blip r:embed="rId13">
                <a:extLst>
                  <a:ext uri="{28A0092B-C50C-407E-A947-70E740481C1C}">
                    <a14:useLocalDpi xmlns:a14="http://schemas.microsoft.com/office/drawing/2010/main"/>
                  </a:ext>
                </a:extLst>
              </a:blip>
              <a:srcRect/>
              <a:stretch>
                <a:fillRect/>
              </a:stretch>
            </p:blipFill>
            <p:spPr bwMode="auto">
              <a:xfrm>
                <a:off x="410676" y="6631527"/>
                <a:ext cx="687292" cy="93697"/>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12" descr="NEOTYS">
                <a:extLst>
                  <a:ext uri="{FF2B5EF4-FFF2-40B4-BE49-F238E27FC236}">
                    <a16:creationId xmlns:a16="http://schemas.microsoft.com/office/drawing/2014/main" id="{5FF02797-31A5-7A8A-56FA-0F0C3350922A}"/>
                  </a:ext>
                </a:extLst>
              </p:cNvPr>
              <p:cNvPicPr>
                <a:picLocks noChangeAspect="1" noChangeArrowheads="1"/>
              </p:cNvPicPr>
              <p:nvPr/>
            </p:nvPicPr>
            <p:blipFill>
              <a:blip r:embed="rId14">
                <a:extLst>
                  <a:ext uri="{28A0092B-C50C-407E-A947-70E740481C1C}">
                    <a14:useLocalDpi xmlns:a14="http://schemas.microsoft.com/office/drawing/2010/main"/>
                  </a:ext>
                </a:extLst>
              </a:blip>
              <a:srcRect/>
              <a:stretch>
                <a:fillRect/>
              </a:stretch>
            </p:blipFill>
            <p:spPr bwMode="auto">
              <a:xfrm>
                <a:off x="1201228" y="6615029"/>
                <a:ext cx="450695" cy="126690"/>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14" descr="Data Value - Kirey Group">
                <a:extLst>
                  <a:ext uri="{FF2B5EF4-FFF2-40B4-BE49-F238E27FC236}">
                    <a16:creationId xmlns:a16="http://schemas.microsoft.com/office/drawing/2014/main" id="{4F90C003-2179-783A-698A-1C0A15D9D71D}"/>
                  </a:ext>
                </a:extLst>
              </p:cNvPr>
              <p:cNvPicPr>
                <a:picLocks noChangeAspect="1" noChangeArrowheads="1"/>
              </p:cNvPicPr>
              <p:nvPr/>
            </p:nvPicPr>
            <p:blipFill>
              <a:blip r:embed="rId15">
                <a:extLst>
                  <a:ext uri="{28A0092B-C50C-407E-A947-70E740481C1C}">
                    <a14:useLocalDpi xmlns:a14="http://schemas.microsoft.com/office/drawing/2010/main"/>
                  </a:ext>
                </a:extLst>
              </a:blip>
              <a:srcRect/>
              <a:stretch>
                <a:fillRect/>
              </a:stretch>
            </p:blipFill>
            <p:spPr bwMode="auto">
              <a:xfrm>
                <a:off x="1759584" y="6583392"/>
                <a:ext cx="741297" cy="181656"/>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16" descr="UiPath Training - Symphony">
                <a:extLst>
                  <a:ext uri="{FF2B5EF4-FFF2-40B4-BE49-F238E27FC236}">
                    <a16:creationId xmlns:a16="http://schemas.microsoft.com/office/drawing/2014/main" id="{AAE9E0EC-CC74-0BDC-D810-8C5D526F1F81}"/>
                  </a:ext>
                </a:extLst>
              </p:cNvPr>
              <p:cNvPicPr>
                <a:picLocks noChangeAspect="1" noChangeArrowheads="1"/>
              </p:cNvPicPr>
              <p:nvPr/>
            </p:nvPicPr>
            <p:blipFill>
              <a:blip r:embed="rId16">
                <a:extLst>
                  <a:ext uri="{28A0092B-C50C-407E-A947-70E740481C1C}">
                    <a14:useLocalDpi xmlns:a14="http://schemas.microsoft.com/office/drawing/2010/main"/>
                  </a:ext>
                </a:extLst>
              </a:blip>
              <a:srcRect/>
              <a:stretch>
                <a:fillRect/>
              </a:stretch>
            </p:blipFill>
            <p:spPr bwMode="auto">
              <a:xfrm>
                <a:off x="1531706" y="6874625"/>
                <a:ext cx="415404" cy="126689"/>
              </a:xfrm>
              <a:prstGeom prst="rect">
                <a:avLst/>
              </a:prstGeom>
              <a:noFill/>
              <a:extLst>
                <a:ext uri="{909E8E84-426E-40DD-AFC4-6F175D3DCCD1}">
                  <a14:hiddenFill xmlns:a14="http://schemas.microsoft.com/office/drawing/2010/main">
                    <a:solidFill>
                      <a:srgbClr val="FFFFFF"/>
                    </a:solidFill>
                  </a14:hiddenFill>
                </a:ext>
              </a:extLst>
            </p:spPr>
          </p:pic>
        </p:grpSp>
        <p:pic>
          <p:nvPicPr>
            <p:cNvPr id="81" name="Imagen 80" descr="Logotipo&#10;&#10;Descripción generada automáticamente">
              <a:extLst>
                <a:ext uri="{FF2B5EF4-FFF2-40B4-BE49-F238E27FC236}">
                  <a16:creationId xmlns:a16="http://schemas.microsoft.com/office/drawing/2014/main" id="{596220EE-6553-3BC1-0CCC-7721A606EC21}"/>
                </a:ext>
              </a:extLst>
            </p:cNvPr>
            <p:cNvPicPr>
              <a:picLocks noChangeAspect="1"/>
            </p:cNvPicPr>
            <p:nvPr/>
          </p:nvPicPr>
          <p:blipFill>
            <a:blip r:embed="rId17"/>
            <a:stretch>
              <a:fillRect/>
            </a:stretch>
          </p:blipFill>
          <p:spPr>
            <a:xfrm>
              <a:off x="14161713" y="11012327"/>
              <a:ext cx="518130" cy="259065"/>
            </a:xfrm>
            <a:prstGeom prst="rect">
              <a:avLst/>
            </a:prstGeom>
          </p:spPr>
        </p:pic>
        <p:pic>
          <p:nvPicPr>
            <p:cNvPr id="94" name="Picture 2" descr="Automated Software Testing Tools | Tricentis">
              <a:extLst>
                <a:ext uri="{FF2B5EF4-FFF2-40B4-BE49-F238E27FC236}">
                  <a16:creationId xmlns:a16="http://schemas.microsoft.com/office/drawing/2014/main" id="{788E48AC-44FC-9041-D121-651CC6CBED2C}"/>
                </a:ext>
              </a:extLst>
            </p:cNvPr>
            <p:cNvPicPr>
              <a:picLocks noChangeAspect="1" noChangeArrowheads="1"/>
            </p:cNvPicPr>
            <p:nvPr/>
          </p:nvPicPr>
          <p:blipFill>
            <a:blip r:embed="rId18">
              <a:extLst>
                <a:ext uri="{28A0092B-C50C-407E-A947-70E740481C1C}">
                  <a14:useLocalDpi xmlns:a14="http://schemas.microsoft.com/office/drawing/2010/main"/>
                </a:ext>
              </a:extLst>
            </a:blip>
            <a:srcRect/>
            <a:stretch>
              <a:fillRect/>
            </a:stretch>
          </p:blipFill>
          <p:spPr bwMode="auto">
            <a:xfrm>
              <a:off x="12402179" y="10157828"/>
              <a:ext cx="782064" cy="311429"/>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4">
              <a:extLst>
                <a:ext uri="{FF2B5EF4-FFF2-40B4-BE49-F238E27FC236}">
                  <a16:creationId xmlns:a16="http://schemas.microsoft.com/office/drawing/2014/main" id="{4FF46A84-DF06-7776-7A5F-792A01135BE8}"/>
                </a:ext>
              </a:extLst>
            </p:cNvPr>
            <p:cNvPicPr>
              <a:picLocks noChangeAspect="1" noChangeArrowheads="1"/>
            </p:cNvPicPr>
            <p:nvPr/>
          </p:nvPicPr>
          <p:blipFill>
            <a:blip r:embed="rId19">
              <a:extLst>
                <a:ext uri="{28A0092B-C50C-407E-A947-70E740481C1C}">
                  <a14:useLocalDpi xmlns:a14="http://schemas.microsoft.com/office/drawing/2010/main"/>
                </a:ext>
              </a:extLst>
            </a:blip>
            <a:srcRect/>
            <a:stretch>
              <a:fillRect/>
            </a:stretch>
          </p:blipFill>
          <p:spPr bwMode="auto">
            <a:xfrm>
              <a:off x="13095832" y="10141420"/>
              <a:ext cx="582822" cy="327837"/>
            </a:xfrm>
            <a:prstGeom prst="rect">
              <a:avLst/>
            </a:prstGeom>
            <a:noFill/>
            <a:extLst>
              <a:ext uri="{909E8E84-426E-40DD-AFC4-6F175D3DCCD1}">
                <a14:hiddenFill xmlns:a14="http://schemas.microsoft.com/office/drawing/2010/main">
                  <a:solidFill>
                    <a:srgbClr val="FFFFFF"/>
                  </a:solidFill>
                </a14:hiddenFill>
              </a:ext>
            </a:extLst>
          </p:spPr>
        </p:pic>
        <p:pic>
          <p:nvPicPr>
            <p:cNvPr id="96" name="Picture 6">
              <a:extLst>
                <a:ext uri="{FF2B5EF4-FFF2-40B4-BE49-F238E27FC236}">
                  <a16:creationId xmlns:a16="http://schemas.microsoft.com/office/drawing/2014/main" id="{08AD37CD-09AD-CAE4-20F3-47FC58CE05EB}"/>
                </a:ext>
              </a:extLst>
            </p:cNvPr>
            <p:cNvPicPr>
              <a:picLocks noChangeAspect="1" noChangeArrowheads="1"/>
            </p:cNvPicPr>
            <p:nvPr/>
          </p:nvPicPr>
          <p:blipFill>
            <a:blip r:embed="rId20">
              <a:extLst>
                <a:ext uri="{28A0092B-C50C-407E-A947-70E740481C1C}">
                  <a14:useLocalDpi xmlns:a14="http://schemas.microsoft.com/office/drawing/2010/main"/>
                </a:ext>
              </a:extLst>
            </a:blip>
            <a:srcRect/>
            <a:stretch>
              <a:fillRect/>
            </a:stretch>
          </p:blipFill>
          <p:spPr bwMode="auto">
            <a:xfrm>
              <a:off x="13138803" y="10507550"/>
              <a:ext cx="778638" cy="240271"/>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a:extLst>
                <a:ext uri="{FF2B5EF4-FFF2-40B4-BE49-F238E27FC236}">
                  <a16:creationId xmlns:a16="http://schemas.microsoft.com/office/drawing/2014/main" id="{A8E961EC-1417-8173-D050-C207C387BF29}"/>
                </a:ext>
              </a:extLst>
            </p:cNvPr>
            <p:cNvPicPr>
              <a:picLocks noChangeAspect="1" noChangeArrowheads="1"/>
            </p:cNvPicPr>
            <p:nvPr/>
          </p:nvPicPr>
          <p:blipFill>
            <a:blip r:embed="rId21">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2504546" y="10573224"/>
              <a:ext cx="507459" cy="14795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392272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ángulo redondeado 24">
            <a:extLst>
              <a:ext uri="{FF2B5EF4-FFF2-40B4-BE49-F238E27FC236}">
                <a16:creationId xmlns:a16="http://schemas.microsoft.com/office/drawing/2014/main" id="{2DD07CA1-B983-7448-8CA6-2A5DEF1FE230}"/>
              </a:ext>
            </a:extLst>
          </p:cNvPr>
          <p:cNvSpPr/>
          <p:nvPr/>
        </p:nvSpPr>
        <p:spPr>
          <a:xfrm>
            <a:off x="8370240" y="5433583"/>
            <a:ext cx="4513168" cy="4521167"/>
          </a:xfrm>
          <a:prstGeom prst="round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507846" rtl="0">
              <a:defRPr/>
            </a:pPr>
            <a:endParaRPr lang="es-ES" sz="2309" kern="1200" dirty="0">
              <a:solidFill>
                <a:srgbClr val="000000"/>
              </a:solidFill>
              <a:latin typeface="Verdana"/>
            </a:endParaRPr>
          </a:p>
          <a:p>
            <a:pPr algn="ctr" defTabSz="1507846" rtl="0">
              <a:defRPr/>
            </a:pPr>
            <a:endParaRPr lang="es-ES" sz="2309" kern="1200" dirty="0">
              <a:solidFill>
                <a:srgbClr val="000000"/>
              </a:solidFill>
              <a:latin typeface="Verdana"/>
            </a:endParaRPr>
          </a:p>
          <a:p>
            <a:pPr algn="ctr" defTabSz="1507846" rtl="0">
              <a:defRPr/>
            </a:pPr>
            <a:endParaRPr lang="es-ES" sz="2309" kern="1200" dirty="0">
              <a:solidFill>
                <a:srgbClr val="000000"/>
              </a:solidFill>
              <a:latin typeface="Verdana"/>
            </a:endParaRPr>
          </a:p>
          <a:p>
            <a:pPr algn="ctr" defTabSz="1507846" rtl="0">
              <a:defRPr/>
            </a:pPr>
            <a:endParaRPr lang="es-ES" sz="2309" kern="1200" dirty="0">
              <a:solidFill>
                <a:srgbClr val="000000"/>
              </a:solidFill>
              <a:latin typeface="Verdana"/>
            </a:endParaRPr>
          </a:p>
          <a:p>
            <a:pPr algn="ctr" defTabSz="1507846" rtl="0">
              <a:defRPr/>
            </a:pPr>
            <a:endParaRPr lang="es-ES" sz="2309" kern="1200" dirty="0">
              <a:solidFill>
                <a:srgbClr val="000000"/>
              </a:solidFill>
              <a:latin typeface="Verdana"/>
            </a:endParaRPr>
          </a:p>
          <a:p>
            <a:pPr algn="ctr" defTabSz="1507846" rtl="0">
              <a:defRPr/>
            </a:pPr>
            <a:endParaRPr lang="es-ES" sz="2309" kern="1200" dirty="0">
              <a:solidFill>
                <a:srgbClr val="000000"/>
              </a:solidFill>
              <a:latin typeface="Verdana"/>
            </a:endParaRPr>
          </a:p>
          <a:p>
            <a:pPr algn="ctr" defTabSz="1507846" rtl="0">
              <a:defRPr/>
            </a:pPr>
            <a:endParaRPr lang="es-ES" sz="2309" kern="1200" dirty="0">
              <a:solidFill>
                <a:srgbClr val="000000"/>
              </a:solidFill>
              <a:latin typeface="Verdana"/>
            </a:endParaRPr>
          </a:p>
          <a:p>
            <a:pPr algn="ctr" defTabSz="1507846" rtl="0">
              <a:defRPr/>
            </a:pPr>
            <a:endParaRPr lang="es-ES" sz="2309" kern="1200" dirty="0">
              <a:solidFill>
                <a:srgbClr val="000000"/>
              </a:solidFill>
              <a:latin typeface="Verdana"/>
            </a:endParaRPr>
          </a:p>
          <a:p>
            <a:pPr algn="ctr" defTabSz="1507846" rtl="0">
              <a:defRPr/>
            </a:pPr>
            <a:endParaRPr lang="es-ES" sz="2309" kern="1200" dirty="0">
              <a:solidFill>
                <a:srgbClr val="000000"/>
              </a:solidFill>
              <a:latin typeface="Verdana"/>
            </a:endParaRPr>
          </a:p>
          <a:p>
            <a:pPr algn="ctr" defTabSz="1507846" rtl="0">
              <a:defRPr/>
            </a:pPr>
            <a:r>
              <a:rPr lang="es-ES" sz="3200" b="1" kern="1200" dirty="0" err="1">
                <a:solidFill>
                  <a:srgbClr val="FFFFFF"/>
                </a:solidFill>
                <a:latin typeface="Ubuntu" panose="020B0504030602030204" pitchFamily="34" charset="0"/>
              </a:rPr>
              <a:t>QADashboards</a:t>
            </a:r>
            <a:r>
              <a:rPr lang="es-ES" sz="3200" b="1" kern="1200" dirty="0">
                <a:solidFill>
                  <a:srgbClr val="FFFFFF"/>
                </a:solidFill>
                <a:latin typeface="Ubuntu" panose="020B0504030602030204" pitchFamily="34" charset="0"/>
              </a:rPr>
              <a:t> &amp; </a:t>
            </a:r>
            <a:r>
              <a:rPr lang="es-ES" sz="3200" b="1" kern="1200" dirty="0" err="1">
                <a:solidFill>
                  <a:srgbClr val="FFFFFF"/>
                </a:solidFill>
                <a:latin typeface="Ubuntu" panose="020B0504030602030204" pitchFamily="34" charset="0"/>
              </a:rPr>
              <a:t>CognitiveQA</a:t>
            </a:r>
            <a:endParaRPr lang="es-ES" sz="1400" b="1" kern="1200" dirty="0">
              <a:solidFill>
                <a:srgbClr val="FFFFFF"/>
              </a:solidFill>
              <a:latin typeface="Ubuntu" panose="020B0504030602030204" pitchFamily="34" charset="0"/>
            </a:endParaRPr>
          </a:p>
        </p:txBody>
      </p:sp>
      <p:sp>
        <p:nvSpPr>
          <p:cNvPr id="6" name="Título 5">
            <a:extLst>
              <a:ext uri="{FF2B5EF4-FFF2-40B4-BE49-F238E27FC236}">
                <a16:creationId xmlns:a16="http://schemas.microsoft.com/office/drawing/2014/main" id="{B8AF4CC9-BA89-7640-B63C-1D31BB44CDC6}"/>
              </a:ext>
            </a:extLst>
          </p:cNvPr>
          <p:cNvSpPr>
            <a:spLocks noGrp="1"/>
          </p:cNvSpPr>
          <p:nvPr>
            <p:ph type="title"/>
          </p:nvPr>
        </p:nvSpPr>
        <p:spPr/>
        <p:txBody>
          <a:bodyPr/>
          <a:lstStyle/>
          <a:p>
            <a:r>
              <a:rPr lang="es-ES" dirty="0"/>
              <a:t>Hacia SmartQA</a:t>
            </a:r>
          </a:p>
        </p:txBody>
      </p:sp>
      <p:sp>
        <p:nvSpPr>
          <p:cNvPr id="7" name="Rectángulo redondeado 6">
            <a:extLst>
              <a:ext uri="{FF2B5EF4-FFF2-40B4-BE49-F238E27FC236}">
                <a16:creationId xmlns:a16="http://schemas.microsoft.com/office/drawing/2014/main" id="{65C36566-8DAA-FC4A-90B2-E922DC581512}"/>
              </a:ext>
            </a:extLst>
          </p:cNvPr>
          <p:cNvSpPr/>
          <p:nvPr/>
        </p:nvSpPr>
        <p:spPr>
          <a:xfrm>
            <a:off x="1903082" y="4253409"/>
            <a:ext cx="3518218" cy="1424040"/>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296813" tIns="296813" rIns="296813" bIns="296813" rtlCol="0" anchor="ctr"/>
          <a:lstStyle/>
          <a:p>
            <a:pPr algn="ctr" defTabSz="1507846" rtl="0">
              <a:defRPr/>
            </a:pPr>
            <a:r>
              <a:rPr lang="en-US" sz="2638" kern="1200">
                <a:solidFill>
                  <a:srgbClr val="FFFFFF"/>
                </a:solidFill>
                <a:latin typeface="Ubuntu" panose="020B0504030602030204" pitchFamily="34" charset="0"/>
              </a:rPr>
              <a:t>Structured testing &amp; QA processes</a:t>
            </a:r>
          </a:p>
        </p:txBody>
      </p:sp>
      <p:sp>
        <p:nvSpPr>
          <p:cNvPr id="9" name="Rectángulo redondeado 8">
            <a:extLst>
              <a:ext uri="{FF2B5EF4-FFF2-40B4-BE49-F238E27FC236}">
                <a16:creationId xmlns:a16="http://schemas.microsoft.com/office/drawing/2014/main" id="{B2E4E4B0-E1E4-984B-A56E-CD7967722F59}"/>
              </a:ext>
            </a:extLst>
          </p:cNvPr>
          <p:cNvSpPr/>
          <p:nvPr/>
        </p:nvSpPr>
        <p:spPr>
          <a:xfrm>
            <a:off x="7700962" y="1407840"/>
            <a:ext cx="3518218" cy="142404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296813" tIns="296813" rIns="296813" bIns="296813" rtlCol="0" anchor="ctr"/>
          <a:lstStyle/>
          <a:p>
            <a:pPr algn="ctr" defTabSz="1507846" rtl="0">
              <a:defRPr/>
            </a:pPr>
            <a:r>
              <a:rPr lang="es-ES" sz="2638" kern="1200" dirty="0" err="1">
                <a:solidFill>
                  <a:srgbClr val="FFFFFF"/>
                </a:solidFill>
                <a:latin typeface="Ubuntu" panose="020B0504030602030204" pitchFamily="34" charset="0"/>
              </a:rPr>
              <a:t>Automated</a:t>
            </a:r>
            <a:endParaRPr lang="es-ES" sz="2638" kern="1200">
              <a:solidFill>
                <a:srgbClr val="FFFFFF"/>
              </a:solidFill>
              <a:latin typeface="Ubuntu" panose="020B0504030602030204" pitchFamily="34" charset="0"/>
            </a:endParaRPr>
          </a:p>
          <a:p>
            <a:pPr algn="ctr" defTabSz="1507846" rtl="0">
              <a:defRPr/>
            </a:pPr>
            <a:r>
              <a:rPr lang="es-ES" sz="2638" kern="1200">
                <a:solidFill>
                  <a:srgbClr val="FFFFFF"/>
                </a:solidFill>
                <a:latin typeface="Ubuntu" panose="020B0504030602030204" pitchFamily="34" charset="0"/>
              </a:rPr>
              <a:t>Testing &amp; CI/CD</a:t>
            </a:r>
          </a:p>
        </p:txBody>
      </p:sp>
      <p:sp>
        <p:nvSpPr>
          <p:cNvPr id="10" name="Rectángulo redondeado 9">
            <a:extLst>
              <a:ext uri="{FF2B5EF4-FFF2-40B4-BE49-F238E27FC236}">
                <a16:creationId xmlns:a16="http://schemas.microsoft.com/office/drawing/2014/main" id="{06DDD2EB-E91C-C946-874D-6452D1829CDF}"/>
              </a:ext>
            </a:extLst>
          </p:cNvPr>
          <p:cNvSpPr/>
          <p:nvPr/>
        </p:nvSpPr>
        <p:spPr>
          <a:xfrm>
            <a:off x="7700962" y="3378983"/>
            <a:ext cx="3518218" cy="142404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296813" tIns="296813" rIns="296813" bIns="296813" rtlCol="0" anchor="ctr"/>
          <a:lstStyle/>
          <a:p>
            <a:pPr algn="ctr" defTabSz="1507846" rtl="0">
              <a:defRPr/>
            </a:pPr>
            <a:r>
              <a:rPr lang="es-ES" sz="2638" kern="1200">
                <a:solidFill>
                  <a:srgbClr val="FFFFFF"/>
                </a:solidFill>
                <a:latin typeface="Ubuntu" panose="020B0504030602030204" pitchFamily="34" charset="0"/>
              </a:rPr>
              <a:t>Robot Process Automation (RPA)</a:t>
            </a:r>
          </a:p>
        </p:txBody>
      </p:sp>
      <p:sp>
        <p:nvSpPr>
          <p:cNvPr id="11" name="Rectángulo redondeado 10">
            <a:extLst>
              <a:ext uri="{FF2B5EF4-FFF2-40B4-BE49-F238E27FC236}">
                <a16:creationId xmlns:a16="http://schemas.microsoft.com/office/drawing/2014/main" id="{3E6EE166-717F-FB4B-88E4-C897CD23E9CA}"/>
              </a:ext>
            </a:extLst>
          </p:cNvPr>
          <p:cNvSpPr/>
          <p:nvPr/>
        </p:nvSpPr>
        <p:spPr>
          <a:xfrm>
            <a:off x="7700962" y="5293310"/>
            <a:ext cx="3518218" cy="142404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96813" tIns="296813" rIns="296813" bIns="296813" rtlCol="0" anchor="ctr"/>
          <a:lstStyle/>
          <a:p>
            <a:pPr algn="ctr" defTabSz="1507846" rtl="0">
              <a:defRPr/>
            </a:pPr>
            <a:r>
              <a:rPr lang="en-US" sz="2638" kern="1200" dirty="0">
                <a:solidFill>
                  <a:srgbClr val="FFFFFF"/>
                </a:solidFill>
                <a:latin typeface="Ubuntu" panose="020B0504030602030204" pitchFamily="34" charset="0"/>
              </a:rPr>
              <a:t>Smart Analytics &amp; data insights</a:t>
            </a:r>
          </a:p>
        </p:txBody>
      </p:sp>
      <p:sp>
        <p:nvSpPr>
          <p:cNvPr id="12" name="Rectángulo redondeado 11">
            <a:extLst>
              <a:ext uri="{FF2B5EF4-FFF2-40B4-BE49-F238E27FC236}">
                <a16:creationId xmlns:a16="http://schemas.microsoft.com/office/drawing/2014/main" id="{AE382815-90D4-1344-8D14-7329B64E9163}"/>
              </a:ext>
            </a:extLst>
          </p:cNvPr>
          <p:cNvSpPr/>
          <p:nvPr/>
        </p:nvSpPr>
        <p:spPr>
          <a:xfrm>
            <a:off x="7683011" y="7207637"/>
            <a:ext cx="3518218" cy="142404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96813" tIns="296813" rIns="296813" bIns="296813" rtlCol="0" anchor="ctr"/>
          <a:lstStyle/>
          <a:p>
            <a:pPr algn="ctr" defTabSz="1507846" rtl="0">
              <a:defRPr/>
            </a:pPr>
            <a:r>
              <a:rPr lang="en-US" sz="2638" kern="1200">
                <a:solidFill>
                  <a:srgbClr val="FFFFFF"/>
                </a:solidFill>
                <a:latin typeface="Ubuntu" panose="020B0504030602030204" pitchFamily="34" charset="0"/>
              </a:rPr>
              <a:t>IA-based models</a:t>
            </a:r>
          </a:p>
        </p:txBody>
      </p:sp>
      <p:sp>
        <p:nvSpPr>
          <p:cNvPr id="13" name="Rectángulo redondeado 12">
            <a:extLst>
              <a:ext uri="{FF2B5EF4-FFF2-40B4-BE49-F238E27FC236}">
                <a16:creationId xmlns:a16="http://schemas.microsoft.com/office/drawing/2014/main" id="{13A90B22-E95B-714C-8B0D-33AB77BFC14E}"/>
              </a:ext>
            </a:extLst>
          </p:cNvPr>
          <p:cNvSpPr/>
          <p:nvPr/>
        </p:nvSpPr>
        <p:spPr>
          <a:xfrm>
            <a:off x="13085988" y="4533344"/>
            <a:ext cx="6003023" cy="869298"/>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296813" tIns="296813" rIns="296813" bIns="296813" rtlCol="0" anchor="ctr"/>
          <a:lstStyle/>
          <a:p>
            <a:pPr algn="l" defTabSz="1507846" rtl="0">
              <a:defRPr/>
            </a:pPr>
            <a:r>
              <a:rPr lang="es-ES" sz="3958" b="1" kern="1200">
                <a:solidFill>
                  <a:srgbClr val="2B0A3D"/>
                </a:solidFill>
                <a:latin typeface="Ubuntu" panose="020B0504030602030204" pitchFamily="34" charset="0"/>
              </a:rPr>
              <a:t>Smart QA</a:t>
            </a:r>
          </a:p>
        </p:txBody>
      </p:sp>
      <p:sp>
        <p:nvSpPr>
          <p:cNvPr id="14" name="Arco 13">
            <a:extLst>
              <a:ext uri="{FF2B5EF4-FFF2-40B4-BE49-F238E27FC236}">
                <a16:creationId xmlns:a16="http://schemas.microsoft.com/office/drawing/2014/main" id="{27CDE149-3450-3841-A046-A4722CDFD681}"/>
              </a:ext>
            </a:extLst>
          </p:cNvPr>
          <p:cNvSpPr/>
          <p:nvPr/>
        </p:nvSpPr>
        <p:spPr>
          <a:xfrm>
            <a:off x="4793047" y="1892998"/>
            <a:ext cx="5528628" cy="4824351"/>
          </a:xfrm>
          <a:prstGeom prst="arc">
            <a:avLst>
              <a:gd name="adj1" fmla="val 11117747"/>
              <a:gd name="adj2" fmla="val 16147434"/>
            </a:avLst>
          </a:prstGeom>
          <a:ln w="57150">
            <a:solidFill>
              <a:schemeClr val="accent4"/>
            </a:solidFill>
            <a:headEnd type="none" w="med" len="med"/>
            <a:tailEnd type="arrow"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1507846" rtl="0">
              <a:defRPr/>
            </a:pPr>
            <a:endParaRPr lang="es-ES" sz="2968" kern="1200">
              <a:solidFill>
                <a:srgbClr val="000000"/>
              </a:solidFill>
              <a:latin typeface="Verdana"/>
            </a:endParaRPr>
          </a:p>
        </p:txBody>
      </p:sp>
      <p:sp>
        <p:nvSpPr>
          <p:cNvPr id="15" name="Arco 14">
            <a:extLst>
              <a:ext uri="{FF2B5EF4-FFF2-40B4-BE49-F238E27FC236}">
                <a16:creationId xmlns:a16="http://schemas.microsoft.com/office/drawing/2014/main" id="{6F7AC789-4E4C-2749-9B46-82180A7BD172}"/>
              </a:ext>
            </a:extLst>
          </p:cNvPr>
          <p:cNvSpPr/>
          <p:nvPr/>
        </p:nvSpPr>
        <p:spPr>
          <a:xfrm>
            <a:off x="4541746" y="3378983"/>
            <a:ext cx="4900374" cy="3417380"/>
          </a:xfrm>
          <a:prstGeom prst="arc">
            <a:avLst>
              <a:gd name="adj1" fmla="val 12419572"/>
              <a:gd name="adj2" fmla="val 17454184"/>
            </a:avLst>
          </a:prstGeom>
          <a:ln w="57150">
            <a:solidFill>
              <a:schemeClr val="accent4"/>
            </a:solidFill>
            <a:headEnd type="none" w="med" len="med"/>
            <a:tailEnd type="arrow"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1507846" rtl="0">
              <a:defRPr/>
            </a:pPr>
            <a:endParaRPr lang="es-ES" sz="2968" kern="1200">
              <a:solidFill>
                <a:srgbClr val="000000"/>
              </a:solidFill>
              <a:latin typeface="Verdana"/>
            </a:endParaRPr>
          </a:p>
        </p:txBody>
      </p:sp>
      <p:sp>
        <p:nvSpPr>
          <p:cNvPr id="16" name="Arco 15">
            <a:extLst>
              <a:ext uri="{FF2B5EF4-FFF2-40B4-BE49-F238E27FC236}">
                <a16:creationId xmlns:a16="http://schemas.microsoft.com/office/drawing/2014/main" id="{2D05CFE2-259C-4143-906A-A52954EE6121}"/>
              </a:ext>
            </a:extLst>
          </p:cNvPr>
          <p:cNvSpPr/>
          <p:nvPr/>
        </p:nvSpPr>
        <p:spPr>
          <a:xfrm flipV="1">
            <a:off x="4446866" y="3734216"/>
            <a:ext cx="4900374" cy="2462427"/>
          </a:xfrm>
          <a:prstGeom prst="arc">
            <a:avLst>
              <a:gd name="adj1" fmla="val 12419572"/>
              <a:gd name="adj2" fmla="val 18047193"/>
            </a:avLst>
          </a:prstGeom>
          <a:ln w="57150">
            <a:solidFill>
              <a:schemeClr val="accent4"/>
            </a:solidFill>
            <a:headEnd type="none" w="med" len="med"/>
            <a:tailEnd type="arrow"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1507846" rtl="0">
              <a:defRPr/>
            </a:pPr>
            <a:endParaRPr lang="es-ES" sz="2968" kern="1200">
              <a:solidFill>
                <a:srgbClr val="000000"/>
              </a:solidFill>
              <a:latin typeface="Verdana"/>
            </a:endParaRPr>
          </a:p>
        </p:txBody>
      </p:sp>
      <p:sp>
        <p:nvSpPr>
          <p:cNvPr id="17" name="Arco 16">
            <a:extLst>
              <a:ext uri="{FF2B5EF4-FFF2-40B4-BE49-F238E27FC236}">
                <a16:creationId xmlns:a16="http://schemas.microsoft.com/office/drawing/2014/main" id="{2D7BFB82-4C0A-F64E-80C4-D6E0FFF2FCEB}"/>
              </a:ext>
            </a:extLst>
          </p:cNvPr>
          <p:cNvSpPr/>
          <p:nvPr/>
        </p:nvSpPr>
        <p:spPr>
          <a:xfrm flipV="1">
            <a:off x="4793047" y="3600619"/>
            <a:ext cx="5528628" cy="4153660"/>
          </a:xfrm>
          <a:prstGeom prst="arc">
            <a:avLst>
              <a:gd name="adj1" fmla="val 11117747"/>
              <a:gd name="adj2" fmla="val 16147434"/>
            </a:avLst>
          </a:prstGeom>
          <a:ln w="57150">
            <a:solidFill>
              <a:schemeClr val="accent4"/>
            </a:solidFill>
            <a:headEnd type="none" w="med" len="med"/>
            <a:tailEnd type="arrow"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1507846" rtl="0">
              <a:defRPr/>
            </a:pPr>
            <a:endParaRPr lang="es-ES" sz="2968" kern="1200">
              <a:solidFill>
                <a:srgbClr val="000000"/>
              </a:solidFill>
              <a:latin typeface="Verdana"/>
            </a:endParaRPr>
          </a:p>
        </p:txBody>
      </p:sp>
      <p:sp>
        <p:nvSpPr>
          <p:cNvPr id="18" name="CuadroTexto 17">
            <a:extLst>
              <a:ext uri="{FF2B5EF4-FFF2-40B4-BE49-F238E27FC236}">
                <a16:creationId xmlns:a16="http://schemas.microsoft.com/office/drawing/2014/main" id="{DF22C072-AA84-0E44-9490-ED18810E053A}"/>
              </a:ext>
            </a:extLst>
          </p:cNvPr>
          <p:cNvSpPr txBox="1"/>
          <p:nvPr/>
        </p:nvSpPr>
        <p:spPr>
          <a:xfrm>
            <a:off x="9136969" y="2772518"/>
            <a:ext cx="1633458" cy="549061"/>
          </a:xfrm>
          <a:prstGeom prst="rect">
            <a:avLst/>
          </a:prstGeom>
          <a:noFill/>
        </p:spPr>
        <p:txBody>
          <a:bodyPr wrap="square" rtlCol="0">
            <a:spAutoFit/>
          </a:bodyPr>
          <a:lstStyle/>
          <a:p>
            <a:pPr algn="l" defTabSz="1507846" rtl="0">
              <a:defRPr/>
            </a:pPr>
            <a:r>
              <a:rPr lang="es-ES" sz="2968" kern="1200">
                <a:solidFill>
                  <a:srgbClr val="2B0A3D"/>
                </a:solidFill>
                <a:latin typeface="Verdana"/>
                <a:ea typeface="+mn-ea"/>
                <a:cs typeface="+mn-cs"/>
              </a:rPr>
              <a:t>+</a:t>
            </a:r>
          </a:p>
        </p:txBody>
      </p:sp>
      <p:sp>
        <p:nvSpPr>
          <p:cNvPr id="19" name="CuadroTexto 18">
            <a:extLst>
              <a:ext uri="{FF2B5EF4-FFF2-40B4-BE49-F238E27FC236}">
                <a16:creationId xmlns:a16="http://schemas.microsoft.com/office/drawing/2014/main" id="{4FD012D0-4F1E-854C-A39E-871B4EB90C83}"/>
              </a:ext>
            </a:extLst>
          </p:cNvPr>
          <p:cNvSpPr txBox="1"/>
          <p:nvPr/>
        </p:nvSpPr>
        <p:spPr>
          <a:xfrm>
            <a:off x="9144663" y="4703377"/>
            <a:ext cx="1633458" cy="549061"/>
          </a:xfrm>
          <a:prstGeom prst="rect">
            <a:avLst/>
          </a:prstGeom>
          <a:noFill/>
        </p:spPr>
        <p:txBody>
          <a:bodyPr wrap="square" rtlCol="0">
            <a:spAutoFit/>
          </a:bodyPr>
          <a:lstStyle/>
          <a:p>
            <a:pPr algn="l" defTabSz="1507846" rtl="0">
              <a:defRPr/>
            </a:pPr>
            <a:r>
              <a:rPr lang="es-ES" sz="2968" kern="1200">
                <a:solidFill>
                  <a:srgbClr val="2B0A3D"/>
                </a:solidFill>
                <a:latin typeface="Verdana"/>
                <a:ea typeface="+mn-ea"/>
                <a:cs typeface="+mn-cs"/>
              </a:rPr>
              <a:t>+</a:t>
            </a:r>
          </a:p>
        </p:txBody>
      </p:sp>
      <p:sp>
        <p:nvSpPr>
          <p:cNvPr id="20" name="CuadroTexto 19">
            <a:extLst>
              <a:ext uri="{FF2B5EF4-FFF2-40B4-BE49-F238E27FC236}">
                <a16:creationId xmlns:a16="http://schemas.microsoft.com/office/drawing/2014/main" id="{B30A37C5-DF8B-2C4B-A560-7EB4C41FD6B4}"/>
              </a:ext>
            </a:extLst>
          </p:cNvPr>
          <p:cNvSpPr txBox="1"/>
          <p:nvPr/>
        </p:nvSpPr>
        <p:spPr>
          <a:xfrm>
            <a:off x="9144663" y="6640079"/>
            <a:ext cx="1633458" cy="549061"/>
          </a:xfrm>
          <a:prstGeom prst="rect">
            <a:avLst/>
          </a:prstGeom>
          <a:noFill/>
        </p:spPr>
        <p:txBody>
          <a:bodyPr wrap="square" rtlCol="0">
            <a:spAutoFit/>
          </a:bodyPr>
          <a:lstStyle/>
          <a:p>
            <a:pPr algn="l" defTabSz="1507846" rtl="0">
              <a:defRPr/>
            </a:pPr>
            <a:r>
              <a:rPr lang="es-ES" sz="2968" kern="1200">
                <a:solidFill>
                  <a:srgbClr val="2B0A3D"/>
                </a:solidFill>
                <a:latin typeface="Verdana"/>
                <a:ea typeface="+mn-ea"/>
                <a:cs typeface="+mn-cs"/>
              </a:rPr>
              <a:t>+</a:t>
            </a:r>
          </a:p>
        </p:txBody>
      </p:sp>
      <p:sp>
        <p:nvSpPr>
          <p:cNvPr id="21" name="Arco 20">
            <a:extLst>
              <a:ext uri="{FF2B5EF4-FFF2-40B4-BE49-F238E27FC236}">
                <a16:creationId xmlns:a16="http://schemas.microsoft.com/office/drawing/2014/main" id="{85C3C9BB-40FE-154A-8843-248B11028A86}"/>
              </a:ext>
            </a:extLst>
          </p:cNvPr>
          <p:cNvSpPr/>
          <p:nvPr/>
        </p:nvSpPr>
        <p:spPr>
          <a:xfrm flipH="1">
            <a:off x="7700963" y="2089008"/>
            <a:ext cx="6603067" cy="4824351"/>
          </a:xfrm>
          <a:prstGeom prst="arc">
            <a:avLst>
              <a:gd name="adj1" fmla="val 10861419"/>
              <a:gd name="adj2" fmla="val 15650540"/>
            </a:avLst>
          </a:prstGeom>
          <a:ln w="38100">
            <a:solidFill>
              <a:schemeClr val="accent5"/>
            </a:solidFill>
            <a:headEnd type="arrow"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1507846" rtl="0">
              <a:defRPr/>
            </a:pPr>
            <a:endParaRPr lang="es-ES" sz="2968" kern="1200">
              <a:solidFill>
                <a:srgbClr val="000000"/>
              </a:solidFill>
              <a:latin typeface="Verdana"/>
            </a:endParaRPr>
          </a:p>
        </p:txBody>
      </p:sp>
      <p:sp>
        <p:nvSpPr>
          <p:cNvPr id="22" name="Arco 21">
            <a:extLst>
              <a:ext uri="{FF2B5EF4-FFF2-40B4-BE49-F238E27FC236}">
                <a16:creationId xmlns:a16="http://schemas.microsoft.com/office/drawing/2014/main" id="{79D0B93D-8EF3-3B43-8F92-C7C1AA02A6A5}"/>
              </a:ext>
            </a:extLst>
          </p:cNvPr>
          <p:cNvSpPr/>
          <p:nvPr/>
        </p:nvSpPr>
        <p:spPr>
          <a:xfrm flipH="1">
            <a:off x="10416555" y="3527205"/>
            <a:ext cx="3150241" cy="3417380"/>
          </a:xfrm>
          <a:prstGeom prst="arc">
            <a:avLst>
              <a:gd name="adj1" fmla="val 12419572"/>
              <a:gd name="adj2" fmla="val 17454184"/>
            </a:avLst>
          </a:prstGeom>
          <a:ln w="38100">
            <a:solidFill>
              <a:schemeClr val="accent5"/>
            </a:solidFill>
            <a:headEnd type="arrow"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1507846" rtl="0">
              <a:defRPr/>
            </a:pPr>
            <a:endParaRPr lang="es-ES" sz="2968" kern="1200">
              <a:solidFill>
                <a:srgbClr val="000000"/>
              </a:solidFill>
              <a:latin typeface="Verdana"/>
            </a:endParaRPr>
          </a:p>
        </p:txBody>
      </p:sp>
      <p:sp>
        <p:nvSpPr>
          <p:cNvPr id="23" name="Arco 22">
            <a:extLst>
              <a:ext uri="{FF2B5EF4-FFF2-40B4-BE49-F238E27FC236}">
                <a16:creationId xmlns:a16="http://schemas.microsoft.com/office/drawing/2014/main" id="{31A6FC67-FD5B-9447-A50C-19B8F8E92A24}"/>
              </a:ext>
            </a:extLst>
          </p:cNvPr>
          <p:cNvSpPr/>
          <p:nvPr/>
        </p:nvSpPr>
        <p:spPr>
          <a:xfrm flipH="1" flipV="1">
            <a:off x="10496048" y="3644583"/>
            <a:ext cx="3150241" cy="2462427"/>
          </a:xfrm>
          <a:prstGeom prst="arc">
            <a:avLst>
              <a:gd name="adj1" fmla="val 12419572"/>
              <a:gd name="adj2" fmla="val 18047193"/>
            </a:avLst>
          </a:prstGeom>
          <a:ln w="38100">
            <a:solidFill>
              <a:schemeClr val="accent5"/>
            </a:solidFill>
            <a:headEnd type="arrow"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1507846" rtl="0">
              <a:defRPr/>
            </a:pPr>
            <a:endParaRPr lang="es-ES" sz="2968" kern="1200">
              <a:solidFill>
                <a:srgbClr val="000000"/>
              </a:solidFill>
              <a:latin typeface="Verdana"/>
            </a:endParaRPr>
          </a:p>
        </p:txBody>
      </p:sp>
      <p:sp>
        <p:nvSpPr>
          <p:cNvPr id="24" name="Arco 23">
            <a:extLst>
              <a:ext uri="{FF2B5EF4-FFF2-40B4-BE49-F238E27FC236}">
                <a16:creationId xmlns:a16="http://schemas.microsoft.com/office/drawing/2014/main" id="{FDF2C366-B2CC-4943-AD1B-F27F335D0AA1}"/>
              </a:ext>
            </a:extLst>
          </p:cNvPr>
          <p:cNvSpPr/>
          <p:nvPr/>
        </p:nvSpPr>
        <p:spPr>
          <a:xfrm flipH="1" flipV="1">
            <a:off x="8329216" y="3325812"/>
            <a:ext cx="6003025" cy="4521167"/>
          </a:xfrm>
          <a:prstGeom prst="arc">
            <a:avLst>
              <a:gd name="adj1" fmla="val 10747698"/>
              <a:gd name="adj2" fmla="val 16147434"/>
            </a:avLst>
          </a:prstGeom>
          <a:ln w="38100">
            <a:solidFill>
              <a:schemeClr val="accent5"/>
            </a:solidFill>
            <a:headEnd type="arrow"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1507846" rtl="0">
              <a:defRPr/>
            </a:pPr>
            <a:endParaRPr lang="es-ES" sz="2968" kern="1200">
              <a:solidFill>
                <a:srgbClr val="000000"/>
              </a:solidFill>
              <a:latin typeface="Verdana"/>
            </a:endParaRPr>
          </a:p>
        </p:txBody>
      </p:sp>
      <p:pic>
        <p:nvPicPr>
          <p:cNvPr id="27" name="Imagen 26" descr="Imagen que contiene sentado, electrónica&#10;&#10;Descripción generada automáticamente">
            <a:extLst>
              <a:ext uri="{FF2B5EF4-FFF2-40B4-BE49-F238E27FC236}">
                <a16:creationId xmlns:a16="http://schemas.microsoft.com/office/drawing/2014/main" id="{D1755941-E46F-6C45-929E-828299C41545}"/>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10375722" y="2789063"/>
            <a:ext cx="1594256" cy="1594256"/>
          </a:xfrm>
          <a:prstGeom prst="rect">
            <a:avLst/>
          </a:prstGeom>
        </p:spPr>
      </p:pic>
      <p:pic>
        <p:nvPicPr>
          <p:cNvPr id="29" name="Imagen 28">
            <a:extLst>
              <a:ext uri="{FF2B5EF4-FFF2-40B4-BE49-F238E27FC236}">
                <a16:creationId xmlns:a16="http://schemas.microsoft.com/office/drawing/2014/main" id="{F979B61C-4490-5348-B79A-A203385F6DE9}"/>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8601472" y="5225210"/>
            <a:ext cx="4949469" cy="4949469"/>
          </a:xfrm>
          <a:prstGeom prst="rect">
            <a:avLst/>
          </a:prstGeom>
        </p:spPr>
      </p:pic>
      <p:pic>
        <p:nvPicPr>
          <p:cNvPr id="31" name="Imagen 30">
            <a:extLst>
              <a:ext uri="{FF2B5EF4-FFF2-40B4-BE49-F238E27FC236}">
                <a16:creationId xmlns:a16="http://schemas.microsoft.com/office/drawing/2014/main" id="{0DCD56E1-52A7-4C4A-A2DF-D4A33B0239B3}"/>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10198770" y="4776397"/>
            <a:ext cx="2068973" cy="2068973"/>
          </a:xfrm>
          <a:prstGeom prst="rect">
            <a:avLst/>
          </a:prstGeom>
        </p:spPr>
      </p:pic>
      <p:pic>
        <p:nvPicPr>
          <p:cNvPr id="33" name="Imagen 32" descr="Imagen que contiene texto, señal, objeto, reloj&#10;&#10;Descripción generada automáticamente">
            <a:extLst>
              <a:ext uri="{FF2B5EF4-FFF2-40B4-BE49-F238E27FC236}">
                <a16:creationId xmlns:a16="http://schemas.microsoft.com/office/drawing/2014/main" id="{4360B7EE-CC15-EC4C-A7A1-7C1604CAF1E3}"/>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10020741" y="680208"/>
            <a:ext cx="1759109" cy="1759109"/>
          </a:xfrm>
          <a:prstGeom prst="rect">
            <a:avLst/>
          </a:prstGeom>
        </p:spPr>
      </p:pic>
      <p:pic>
        <p:nvPicPr>
          <p:cNvPr id="35" name="Imagen 34" descr="Imagen que contiene LEGO, juguete&#10;&#10;Descripción generada automáticamente">
            <a:extLst>
              <a:ext uri="{FF2B5EF4-FFF2-40B4-BE49-F238E27FC236}">
                <a16:creationId xmlns:a16="http://schemas.microsoft.com/office/drawing/2014/main" id="{AD2DFBC2-975E-3C4D-B028-24BE13093BD9}"/>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475381" y="4320800"/>
            <a:ext cx="2686801" cy="2686801"/>
          </a:xfrm>
          <a:prstGeom prst="rect">
            <a:avLst/>
          </a:prstGeom>
        </p:spPr>
      </p:pic>
      <p:pic>
        <p:nvPicPr>
          <p:cNvPr id="37" name="Imagen 36" descr="Imagen que contiene LEGO, juguete&#10;&#10;Descripción generada automáticamente">
            <a:extLst>
              <a:ext uri="{FF2B5EF4-FFF2-40B4-BE49-F238E27FC236}">
                <a16:creationId xmlns:a16="http://schemas.microsoft.com/office/drawing/2014/main" id="{AE54C8EF-2E6D-D348-AA16-019A2895368A}"/>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14932283" y="3120812"/>
            <a:ext cx="5111439" cy="5113275"/>
          </a:xfrm>
          <a:prstGeom prst="rect">
            <a:avLst/>
          </a:prstGeom>
        </p:spPr>
      </p:pic>
      <p:sp>
        <p:nvSpPr>
          <p:cNvPr id="28" name="Freeform 11">
            <a:extLst>
              <a:ext uri="{FF2B5EF4-FFF2-40B4-BE49-F238E27FC236}">
                <a16:creationId xmlns:a16="http://schemas.microsoft.com/office/drawing/2014/main" id="{59937159-1C88-6049-84D0-92AEC0CF25A1}"/>
              </a:ext>
            </a:extLst>
          </p:cNvPr>
          <p:cNvSpPr/>
          <p:nvPr/>
        </p:nvSpPr>
        <p:spPr>
          <a:xfrm flipH="1">
            <a:off x="11888907" y="7636451"/>
            <a:ext cx="8215193" cy="3709007"/>
          </a:xfrm>
          <a:custGeom>
            <a:avLst/>
            <a:gdLst>
              <a:gd name="connsiteX0" fmla="*/ 4395998 w 7237505"/>
              <a:gd name="connsiteY0" fmla="*/ 58 h 4933262"/>
              <a:gd name="connsiteX1" fmla="*/ 7233138 w 7237505"/>
              <a:gd name="connsiteY1" fmla="*/ 4903565 h 4933262"/>
              <a:gd name="connsiteX2" fmla="*/ 7237505 w 7237505"/>
              <a:gd name="connsiteY2" fmla="*/ 4933262 h 4933262"/>
              <a:gd name="connsiteX3" fmla="*/ 0 w 7237505"/>
              <a:gd name="connsiteY3" fmla="*/ 4933262 h 4933262"/>
              <a:gd name="connsiteX4" fmla="*/ 0 w 7237505"/>
              <a:gd name="connsiteY4" fmla="*/ 1491292 h 4933262"/>
              <a:gd name="connsiteX5" fmla="*/ 148016 w 7237505"/>
              <a:gd name="connsiteY5" fmla="*/ 1437398 h 4933262"/>
              <a:gd name="connsiteX6" fmla="*/ 3756131 w 7237505"/>
              <a:gd name="connsiteY6" fmla="*/ 123640 h 4933262"/>
              <a:gd name="connsiteX7" fmla="*/ 4395998 w 7237505"/>
              <a:gd name="connsiteY7" fmla="*/ 58 h 4933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37505" h="4933262">
                <a:moveTo>
                  <a:pt x="4395998" y="58"/>
                </a:moveTo>
                <a:cubicBezTo>
                  <a:pt x="6238787" y="-15730"/>
                  <a:pt x="6966936" y="3156975"/>
                  <a:pt x="7233138" y="4903565"/>
                </a:cubicBezTo>
                <a:lnTo>
                  <a:pt x="7237505" y="4933262"/>
                </a:lnTo>
                <a:lnTo>
                  <a:pt x="0" y="4933262"/>
                </a:lnTo>
                <a:lnTo>
                  <a:pt x="0" y="1491292"/>
                </a:lnTo>
                <a:lnTo>
                  <a:pt x="148016" y="1437398"/>
                </a:lnTo>
                <a:cubicBezTo>
                  <a:pt x="1090161" y="1094352"/>
                  <a:pt x="2272461" y="663862"/>
                  <a:pt x="3756131" y="123640"/>
                </a:cubicBezTo>
                <a:cubicBezTo>
                  <a:pt x="3983091" y="41001"/>
                  <a:pt x="4196102" y="1771"/>
                  <a:pt x="4395998" y="58"/>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507846" rtl="0">
              <a:defRPr/>
            </a:pPr>
            <a:endParaRPr lang="en-US" sz="2968" kern="1200">
              <a:solidFill>
                <a:srgbClr val="FFFFFF"/>
              </a:solidFill>
              <a:latin typeface="Verdana"/>
            </a:endParaRPr>
          </a:p>
        </p:txBody>
      </p:sp>
      <p:sp>
        <p:nvSpPr>
          <p:cNvPr id="30" name="TextBox 1">
            <a:extLst>
              <a:ext uri="{FF2B5EF4-FFF2-40B4-BE49-F238E27FC236}">
                <a16:creationId xmlns:a16="http://schemas.microsoft.com/office/drawing/2014/main" id="{702200A5-CCF6-7140-A6EE-EE5BE554BC0A}"/>
              </a:ext>
            </a:extLst>
          </p:cNvPr>
          <p:cNvSpPr txBox="1"/>
          <p:nvPr/>
        </p:nvSpPr>
        <p:spPr>
          <a:xfrm>
            <a:off x="13353354" y="8682901"/>
            <a:ext cx="6948334" cy="2629566"/>
          </a:xfrm>
          <a:prstGeom prst="rect">
            <a:avLst/>
          </a:prstGeom>
          <a:noFill/>
        </p:spPr>
        <p:txBody>
          <a:bodyPr wrap="square" rtlCol="0">
            <a:spAutoFit/>
          </a:bodyPr>
          <a:lstStyle/>
          <a:p>
            <a:pPr algn="l" defTabSz="1507846" rtl="0">
              <a:defRPr/>
            </a:pPr>
            <a:r>
              <a:rPr lang="es-ES" sz="2968" kern="1200" dirty="0">
                <a:solidFill>
                  <a:srgbClr val="000000"/>
                </a:solidFill>
                <a:latin typeface="Ubuntu" panose="020B0504030602030204" pitchFamily="34" charset="0"/>
                <a:ea typeface="+mn-ea"/>
                <a:cs typeface="+mn-cs"/>
              </a:rPr>
              <a:t>La </a:t>
            </a:r>
            <a:r>
              <a:rPr lang="es-ES" sz="2968" b="1" kern="1200" dirty="0">
                <a:solidFill>
                  <a:srgbClr val="000000"/>
                </a:solidFill>
                <a:latin typeface="Ubuntu" panose="020B0504030602030204" pitchFamily="34" charset="0"/>
                <a:ea typeface="+mn-ea"/>
                <a:cs typeface="+mn-cs"/>
              </a:rPr>
              <a:t>inteligencia</a:t>
            </a:r>
            <a:r>
              <a:rPr lang="es-ES" sz="2968" kern="1200" dirty="0">
                <a:solidFill>
                  <a:srgbClr val="000000"/>
                </a:solidFill>
                <a:latin typeface="Ubuntu" panose="020B0504030602030204" pitchFamily="34" charset="0"/>
                <a:ea typeface="+mn-ea"/>
                <a:cs typeface="+mn-cs"/>
              </a:rPr>
              <a:t> (artificial) implica:</a:t>
            </a:r>
          </a:p>
          <a:p>
            <a:pPr marL="471202" indent="-471202" algn="l" defTabSz="1507846" rtl="0">
              <a:buFont typeface="Arial" panose="020B0604020202020204" pitchFamily="34" charset="0"/>
              <a:buChar char="•"/>
              <a:defRPr/>
            </a:pPr>
            <a:r>
              <a:rPr lang="es-ES" sz="2638" b="1" kern="1200" dirty="0">
                <a:solidFill>
                  <a:srgbClr val="000000"/>
                </a:solidFill>
                <a:latin typeface="Ubuntu" panose="020B0504030602030204" pitchFamily="34" charset="0"/>
                <a:ea typeface="+mn-ea"/>
                <a:cs typeface="+mn-cs"/>
              </a:rPr>
              <a:t>Capturar</a:t>
            </a:r>
            <a:r>
              <a:rPr lang="es-ES" sz="2638" kern="1200" dirty="0">
                <a:solidFill>
                  <a:srgbClr val="000000"/>
                </a:solidFill>
                <a:latin typeface="Ubuntu" panose="020B0504030602030204" pitchFamily="34" charset="0"/>
                <a:ea typeface="+mn-ea"/>
                <a:cs typeface="+mn-cs"/>
              </a:rPr>
              <a:t> datos</a:t>
            </a:r>
          </a:p>
          <a:p>
            <a:pPr marL="471202" indent="-471202" algn="l" defTabSz="1507846" rtl="0">
              <a:buFont typeface="Arial" panose="020B0604020202020204" pitchFamily="34" charset="0"/>
              <a:buChar char="•"/>
              <a:defRPr/>
            </a:pPr>
            <a:r>
              <a:rPr lang="es-ES" sz="2638" kern="1200" dirty="0">
                <a:solidFill>
                  <a:srgbClr val="000000"/>
                </a:solidFill>
                <a:latin typeface="Ubuntu" panose="020B0504030602030204" pitchFamily="34" charset="0"/>
                <a:ea typeface="+mn-ea"/>
                <a:cs typeface="+mn-cs"/>
              </a:rPr>
              <a:t>Tratar los datos para convertirlos en información y </a:t>
            </a:r>
            <a:r>
              <a:rPr lang="es-ES" sz="2638" b="1" kern="1200" dirty="0">
                <a:solidFill>
                  <a:srgbClr val="000000"/>
                </a:solidFill>
                <a:latin typeface="Ubuntu" panose="020B0504030602030204" pitchFamily="34" charset="0"/>
                <a:ea typeface="+mn-ea"/>
                <a:cs typeface="+mn-cs"/>
              </a:rPr>
              <a:t>razonar</a:t>
            </a:r>
            <a:r>
              <a:rPr lang="es-ES" sz="2638" kern="1200" dirty="0">
                <a:solidFill>
                  <a:srgbClr val="000000"/>
                </a:solidFill>
                <a:latin typeface="Ubuntu" panose="020B0504030602030204" pitchFamily="34" charset="0"/>
                <a:ea typeface="+mn-ea"/>
                <a:cs typeface="+mn-cs"/>
              </a:rPr>
              <a:t> (conocimiento)</a:t>
            </a:r>
          </a:p>
          <a:p>
            <a:pPr marL="471202" indent="-471202" algn="l" defTabSz="1507846" rtl="0">
              <a:buFont typeface="Arial" panose="020B0604020202020204" pitchFamily="34" charset="0"/>
              <a:buChar char="•"/>
              <a:defRPr/>
            </a:pPr>
            <a:r>
              <a:rPr lang="es-ES" sz="2638" b="1" kern="1200" dirty="0">
                <a:solidFill>
                  <a:srgbClr val="000000"/>
                </a:solidFill>
                <a:latin typeface="Ubuntu" panose="020B0504030602030204" pitchFamily="34" charset="0"/>
                <a:ea typeface="+mn-ea"/>
                <a:cs typeface="+mn-cs"/>
              </a:rPr>
              <a:t>Aplicar</a:t>
            </a:r>
            <a:r>
              <a:rPr lang="es-ES" sz="2638" kern="1200" dirty="0">
                <a:solidFill>
                  <a:srgbClr val="000000"/>
                </a:solidFill>
                <a:latin typeface="Ubuntu" panose="020B0504030602030204" pitchFamily="34" charset="0"/>
                <a:ea typeface="+mn-ea"/>
                <a:cs typeface="+mn-cs"/>
              </a:rPr>
              <a:t> el conocimiento</a:t>
            </a:r>
          </a:p>
          <a:p>
            <a:pPr marL="471202" indent="-471202" algn="l" defTabSz="1507846" rtl="0">
              <a:buFont typeface="Arial" panose="020B0604020202020204" pitchFamily="34" charset="0"/>
              <a:buChar char="•"/>
              <a:defRPr/>
            </a:pPr>
            <a:endParaRPr lang="en-GB" sz="2968" kern="1200" dirty="0">
              <a:solidFill>
                <a:srgbClr val="000000"/>
              </a:solidFill>
              <a:latin typeface="Ubuntu" panose="020B0504030602030204" pitchFamily="34" charset="0"/>
              <a:ea typeface="+mn-ea"/>
              <a:cs typeface="+mn-cs"/>
            </a:endParaRPr>
          </a:p>
        </p:txBody>
      </p:sp>
      <p:sp>
        <p:nvSpPr>
          <p:cNvPr id="32" name="Freeform 11">
            <a:extLst>
              <a:ext uri="{FF2B5EF4-FFF2-40B4-BE49-F238E27FC236}">
                <a16:creationId xmlns:a16="http://schemas.microsoft.com/office/drawing/2014/main" id="{CED41D1A-0F60-1B40-92CE-0C0A033BF1AA}"/>
              </a:ext>
            </a:extLst>
          </p:cNvPr>
          <p:cNvSpPr/>
          <p:nvPr/>
        </p:nvSpPr>
        <p:spPr>
          <a:xfrm>
            <a:off x="-34134" y="7640622"/>
            <a:ext cx="6901712" cy="3709007"/>
          </a:xfrm>
          <a:custGeom>
            <a:avLst/>
            <a:gdLst>
              <a:gd name="connsiteX0" fmla="*/ 4395998 w 7237505"/>
              <a:gd name="connsiteY0" fmla="*/ 58 h 4933262"/>
              <a:gd name="connsiteX1" fmla="*/ 7233138 w 7237505"/>
              <a:gd name="connsiteY1" fmla="*/ 4903565 h 4933262"/>
              <a:gd name="connsiteX2" fmla="*/ 7237505 w 7237505"/>
              <a:gd name="connsiteY2" fmla="*/ 4933262 h 4933262"/>
              <a:gd name="connsiteX3" fmla="*/ 0 w 7237505"/>
              <a:gd name="connsiteY3" fmla="*/ 4933262 h 4933262"/>
              <a:gd name="connsiteX4" fmla="*/ 0 w 7237505"/>
              <a:gd name="connsiteY4" fmla="*/ 1491292 h 4933262"/>
              <a:gd name="connsiteX5" fmla="*/ 148016 w 7237505"/>
              <a:gd name="connsiteY5" fmla="*/ 1437398 h 4933262"/>
              <a:gd name="connsiteX6" fmla="*/ 3756131 w 7237505"/>
              <a:gd name="connsiteY6" fmla="*/ 123640 h 4933262"/>
              <a:gd name="connsiteX7" fmla="*/ 4395998 w 7237505"/>
              <a:gd name="connsiteY7" fmla="*/ 58 h 4933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37505" h="4933262">
                <a:moveTo>
                  <a:pt x="4395998" y="58"/>
                </a:moveTo>
                <a:cubicBezTo>
                  <a:pt x="6238787" y="-15730"/>
                  <a:pt x="6966936" y="3156975"/>
                  <a:pt x="7233138" y="4903565"/>
                </a:cubicBezTo>
                <a:lnTo>
                  <a:pt x="7237505" y="4933262"/>
                </a:lnTo>
                <a:lnTo>
                  <a:pt x="0" y="4933262"/>
                </a:lnTo>
                <a:lnTo>
                  <a:pt x="0" y="1491292"/>
                </a:lnTo>
                <a:lnTo>
                  <a:pt x="148016" y="1437398"/>
                </a:lnTo>
                <a:cubicBezTo>
                  <a:pt x="1090161" y="1094352"/>
                  <a:pt x="2272461" y="663862"/>
                  <a:pt x="3756131" y="123640"/>
                </a:cubicBezTo>
                <a:cubicBezTo>
                  <a:pt x="3983091" y="41001"/>
                  <a:pt x="4196102" y="1771"/>
                  <a:pt x="4395998" y="58"/>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507846" rtl="0">
              <a:defRPr/>
            </a:pPr>
            <a:endParaRPr lang="en-US" sz="2968" kern="1200">
              <a:solidFill>
                <a:srgbClr val="FFFFFF"/>
              </a:solidFill>
              <a:latin typeface="Verdana"/>
            </a:endParaRPr>
          </a:p>
        </p:txBody>
      </p:sp>
      <p:sp>
        <p:nvSpPr>
          <p:cNvPr id="34" name="TextBox 1">
            <a:extLst>
              <a:ext uri="{FF2B5EF4-FFF2-40B4-BE49-F238E27FC236}">
                <a16:creationId xmlns:a16="http://schemas.microsoft.com/office/drawing/2014/main" id="{5F3BD36F-FB1E-8C48-AEDE-EC5DECE89C0A}"/>
              </a:ext>
            </a:extLst>
          </p:cNvPr>
          <p:cNvSpPr txBox="1"/>
          <p:nvPr/>
        </p:nvSpPr>
        <p:spPr>
          <a:xfrm>
            <a:off x="951959" y="8921074"/>
            <a:ext cx="6948334" cy="2528384"/>
          </a:xfrm>
          <a:prstGeom prst="rect">
            <a:avLst/>
          </a:prstGeom>
          <a:noFill/>
        </p:spPr>
        <p:txBody>
          <a:bodyPr wrap="square" rtlCol="0">
            <a:spAutoFit/>
          </a:bodyPr>
          <a:lstStyle/>
          <a:p>
            <a:pPr algn="l" defTabSz="1507846" rtl="0">
              <a:defRPr/>
            </a:pPr>
            <a:r>
              <a:rPr lang="es-ES" sz="4617" b="1" kern="1200" dirty="0">
                <a:solidFill>
                  <a:srgbClr val="FFFFFF"/>
                </a:solidFill>
                <a:latin typeface="Ubuntu" panose="020B0504030602030204" pitchFamily="34" charset="0"/>
                <a:ea typeface="+mn-ea"/>
                <a:cs typeface="+mn-cs"/>
              </a:rPr>
              <a:t>Smart=</a:t>
            </a:r>
          </a:p>
          <a:p>
            <a:pPr algn="l" defTabSz="1507846" rtl="0">
              <a:defRPr/>
            </a:pPr>
            <a:r>
              <a:rPr lang="es-ES" sz="3298" kern="1200" dirty="0">
                <a:solidFill>
                  <a:srgbClr val="FFFFFF"/>
                </a:solidFill>
                <a:latin typeface="Ubuntu" panose="020B0504030602030204" pitchFamily="34" charset="0"/>
                <a:ea typeface="+mn-ea"/>
                <a:cs typeface="+mn-cs"/>
              </a:rPr>
              <a:t>Datos + </a:t>
            </a:r>
          </a:p>
          <a:p>
            <a:pPr algn="l" defTabSz="1507846" rtl="0">
              <a:defRPr/>
            </a:pPr>
            <a:r>
              <a:rPr lang="es-ES" sz="3298" kern="1200" dirty="0">
                <a:solidFill>
                  <a:srgbClr val="FFFFFF"/>
                </a:solidFill>
                <a:latin typeface="Ubuntu" panose="020B0504030602030204" pitchFamily="34" charset="0"/>
                <a:ea typeface="+mn-ea"/>
                <a:cs typeface="+mn-cs"/>
              </a:rPr>
              <a:t>automatización + IA</a:t>
            </a:r>
            <a:endParaRPr lang="es-ES" sz="2968" kern="1200" dirty="0">
              <a:solidFill>
                <a:srgbClr val="FFFFFF"/>
              </a:solidFill>
              <a:latin typeface="Ubuntu" panose="020B0504030602030204" pitchFamily="34" charset="0"/>
              <a:ea typeface="+mn-ea"/>
              <a:cs typeface="+mn-cs"/>
            </a:endParaRPr>
          </a:p>
          <a:p>
            <a:pPr marL="471202" indent="-471202" algn="l" defTabSz="1507846" rtl="0">
              <a:buFont typeface="Arial" panose="020B0604020202020204" pitchFamily="34" charset="0"/>
              <a:buChar char="•"/>
              <a:defRPr/>
            </a:pPr>
            <a:endParaRPr lang="en-GB" sz="4617" kern="1200" dirty="0">
              <a:solidFill>
                <a:srgbClr val="FFFFFF"/>
              </a:solidFill>
              <a:latin typeface="Ubuntu" panose="020B0504030602030204" pitchFamily="34" charset="0"/>
              <a:ea typeface="+mn-ea"/>
              <a:cs typeface="+mn-cs"/>
            </a:endParaRPr>
          </a:p>
        </p:txBody>
      </p:sp>
      <p:sp>
        <p:nvSpPr>
          <p:cNvPr id="3" name="Elipse 2">
            <a:extLst>
              <a:ext uri="{FF2B5EF4-FFF2-40B4-BE49-F238E27FC236}">
                <a16:creationId xmlns:a16="http://schemas.microsoft.com/office/drawing/2014/main" id="{8B95D45A-54CE-2548-84E9-29670D6AE5AB}"/>
              </a:ext>
            </a:extLst>
          </p:cNvPr>
          <p:cNvSpPr/>
          <p:nvPr/>
        </p:nvSpPr>
        <p:spPr>
          <a:xfrm>
            <a:off x="3622077" y="7326421"/>
            <a:ext cx="593236" cy="59323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507846" rtl="0">
              <a:defRPr/>
            </a:pPr>
            <a:endParaRPr lang="es-ES" sz="2309" kern="1200" dirty="0">
              <a:solidFill>
                <a:srgbClr val="000000"/>
              </a:solidFill>
              <a:latin typeface="Verdana"/>
            </a:endParaRPr>
          </a:p>
        </p:txBody>
      </p:sp>
      <p:sp>
        <p:nvSpPr>
          <p:cNvPr id="36" name="Elipse 35">
            <a:extLst>
              <a:ext uri="{FF2B5EF4-FFF2-40B4-BE49-F238E27FC236}">
                <a16:creationId xmlns:a16="http://schemas.microsoft.com/office/drawing/2014/main" id="{DF12066F-33D3-2244-867D-FC6FE826C07E}"/>
              </a:ext>
            </a:extLst>
          </p:cNvPr>
          <p:cNvSpPr/>
          <p:nvPr/>
        </p:nvSpPr>
        <p:spPr>
          <a:xfrm>
            <a:off x="1129851" y="8134028"/>
            <a:ext cx="593236" cy="59323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507846" rtl="0">
              <a:defRPr/>
            </a:pPr>
            <a:endParaRPr lang="es-ES" sz="2309" kern="1200" dirty="0">
              <a:solidFill>
                <a:srgbClr val="000000"/>
              </a:solidFill>
              <a:latin typeface="Verdana"/>
            </a:endParaRPr>
          </a:p>
        </p:txBody>
      </p:sp>
      <p:sp>
        <p:nvSpPr>
          <p:cNvPr id="38" name="Elipse 37">
            <a:extLst>
              <a:ext uri="{FF2B5EF4-FFF2-40B4-BE49-F238E27FC236}">
                <a16:creationId xmlns:a16="http://schemas.microsoft.com/office/drawing/2014/main" id="{6589577D-AB36-2244-8E3C-681DE16C08DD}"/>
              </a:ext>
            </a:extLst>
          </p:cNvPr>
          <p:cNvSpPr/>
          <p:nvPr/>
        </p:nvSpPr>
        <p:spPr>
          <a:xfrm>
            <a:off x="2319306" y="7770020"/>
            <a:ext cx="593236" cy="59323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507846" rtl="0">
              <a:defRPr/>
            </a:pPr>
            <a:endParaRPr lang="es-ES" sz="2309" kern="1200" dirty="0">
              <a:solidFill>
                <a:srgbClr val="000000"/>
              </a:solidFill>
              <a:latin typeface="Verdana"/>
            </a:endParaRPr>
          </a:p>
        </p:txBody>
      </p:sp>
      <p:sp>
        <p:nvSpPr>
          <p:cNvPr id="4" name="CuadroTexto 3">
            <a:extLst>
              <a:ext uri="{FF2B5EF4-FFF2-40B4-BE49-F238E27FC236}">
                <a16:creationId xmlns:a16="http://schemas.microsoft.com/office/drawing/2014/main" id="{4F3155A9-6128-1745-9A9F-3AC723BE2FD4}"/>
              </a:ext>
            </a:extLst>
          </p:cNvPr>
          <p:cNvSpPr txBox="1"/>
          <p:nvPr/>
        </p:nvSpPr>
        <p:spPr>
          <a:xfrm>
            <a:off x="763028" y="7671634"/>
            <a:ext cx="857927" cy="371512"/>
          </a:xfrm>
          <a:prstGeom prst="rect">
            <a:avLst/>
          </a:prstGeom>
          <a:noFill/>
        </p:spPr>
        <p:txBody>
          <a:bodyPr wrap="none" rtlCol="0">
            <a:spAutoFit/>
          </a:bodyPr>
          <a:lstStyle/>
          <a:p>
            <a:pPr algn="l" defTabSz="1507846" rtl="0">
              <a:defRPr/>
            </a:pPr>
            <a:r>
              <a:rPr lang="es-ES" sz="1814" kern="1200" dirty="0">
                <a:solidFill>
                  <a:srgbClr val="000000"/>
                </a:solidFill>
                <a:latin typeface="Verdana"/>
                <a:ea typeface="+mn-ea"/>
                <a:cs typeface="+mn-cs"/>
              </a:rPr>
              <a:t>Datos</a:t>
            </a:r>
          </a:p>
        </p:txBody>
      </p:sp>
      <p:sp>
        <p:nvSpPr>
          <p:cNvPr id="39" name="CuadroTexto 38">
            <a:extLst>
              <a:ext uri="{FF2B5EF4-FFF2-40B4-BE49-F238E27FC236}">
                <a16:creationId xmlns:a16="http://schemas.microsoft.com/office/drawing/2014/main" id="{9956C256-20B2-5F41-8066-4299BEA432B9}"/>
              </a:ext>
            </a:extLst>
          </p:cNvPr>
          <p:cNvSpPr txBox="1"/>
          <p:nvPr/>
        </p:nvSpPr>
        <p:spPr>
          <a:xfrm>
            <a:off x="1872094" y="7292413"/>
            <a:ext cx="1156086" cy="371512"/>
          </a:xfrm>
          <a:prstGeom prst="rect">
            <a:avLst/>
          </a:prstGeom>
          <a:noFill/>
        </p:spPr>
        <p:txBody>
          <a:bodyPr wrap="none" rtlCol="0">
            <a:spAutoFit/>
          </a:bodyPr>
          <a:lstStyle/>
          <a:p>
            <a:pPr algn="l" defTabSz="1507846" rtl="0">
              <a:defRPr/>
            </a:pPr>
            <a:r>
              <a:rPr lang="es-ES" sz="1814" kern="1200" dirty="0">
                <a:solidFill>
                  <a:srgbClr val="000000"/>
                </a:solidFill>
                <a:latin typeface="Verdana"/>
                <a:ea typeface="+mn-ea"/>
                <a:cs typeface="+mn-cs"/>
              </a:rPr>
              <a:t>Métricas</a:t>
            </a:r>
          </a:p>
        </p:txBody>
      </p:sp>
      <p:sp>
        <p:nvSpPr>
          <p:cNvPr id="40" name="CuadroTexto 39">
            <a:extLst>
              <a:ext uri="{FF2B5EF4-FFF2-40B4-BE49-F238E27FC236}">
                <a16:creationId xmlns:a16="http://schemas.microsoft.com/office/drawing/2014/main" id="{66004DD9-C549-C148-90FF-4B824CD96A31}"/>
              </a:ext>
            </a:extLst>
          </p:cNvPr>
          <p:cNvSpPr txBox="1"/>
          <p:nvPr/>
        </p:nvSpPr>
        <p:spPr>
          <a:xfrm>
            <a:off x="3340682" y="6558101"/>
            <a:ext cx="1130438" cy="650691"/>
          </a:xfrm>
          <a:prstGeom prst="rect">
            <a:avLst/>
          </a:prstGeom>
          <a:noFill/>
        </p:spPr>
        <p:txBody>
          <a:bodyPr wrap="none" rtlCol="0">
            <a:spAutoFit/>
          </a:bodyPr>
          <a:lstStyle/>
          <a:p>
            <a:pPr algn="l" defTabSz="1507846" rtl="0">
              <a:defRPr/>
            </a:pPr>
            <a:r>
              <a:rPr lang="es-ES" sz="1814" kern="1200" dirty="0">
                <a:solidFill>
                  <a:srgbClr val="000000"/>
                </a:solidFill>
                <a:latin typeface="Verdana"/>
                <a:ea typeface="+mn-ea"/>
                <a:cs typeface="+mn-cs"/>
              </a:rPr>
              <a:t>Modelos</a:t>
            </a:r>
          </a:p>
          <a:p>
            <a:pPr algn="l" defTabSz="1507846" rtl="0">
              <a:defRPr/>
            </a:pPr>
            <a:r>
              <a:rPr lang="es-ES" sz="1814" kern="1200" dirty="0">
                <a:solidFill>
                  <a:srgbClr val="000000"/>
                </a:solidFill>
                <a:latin typeface="Verdana"/>
                <a:ea typeface="+mn-ea"/>
                <a:cs typeface="+mn-cs"/>
              </a:rPr>
              <a:t>Smart</a:t>
            </a:r>
          </a:p>
        </p:txBody>
      </p:sp>
      <p:cxnSp>
        <p:nvCxnSpPr>
          <p:cNvPr id="8" name="Conector recto de flecha 7">
            <a:extLst>
              <a:ext uri="{FF2B5EF4-FFF2-40B4-BE49-F238E27FC236}">
                <a16:creationId xmlns:a16="http://schemas.microsoft.com/office/drawing/2014/main" id="{5BFE0D6D-2CDC-CF4C-8410-FDBE0F940762}"/>
              </a:ext>
            </a:extLst>
          </p:cNvPr>
          <p:cNvCxnSpPr/>
          <p:nvPr/>
        </p:nvCxnSpPr>
        <p:spPr>
          <a:xfrm flipV="1">
            <a:off x="763028" y="7207637"/>
            <a:ext cx="4030020" cy="1223009"/>
          </a:xfrm>
          <a:prstGeom prst="straightConnector1">
            <a:avLst/>
          </a:prstGeom>
          <a:ln w="3810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26" name="Rectángulo 25">
            <a:extLst>
              <a:ext uri="{FF2B5EF4-FFF2-40B4-BE49-F238E27FC236}">
                <a16:creationId xmlns:a16="http://schemas.microsoft.com/office/drawing/2014/main" id="{66B024C4-D142-0340-A7F1-B03C77D3F600}"/>
              </a:ext>
            </a:extLst>
          </p:cNvPr>
          <p:cNvSpPr/>
          <p:nvPr/>
        </p:nvSpPr>
        <p:spPr>
          <a:xfrm>
            <a:off x="544472" y="1371401"/>
            <a:ext cx="4632311" cy="1869101"/>
          </a:xfrm>
          <a:prstGeom prst="rect">
            <a:avLst/>
          </a:prstGeom>
        </p:spPr>
        <p:txBody>
          <a:bodyPr wrap="square">
            <a:spAutoFit/>
          </a:bodyPr>
          <a:lstStyle/>
          <a:p>
            <a:pPr algn="l" defTabSz="1507846" rtl="0">
              <a:defRPr/>
            </a:pPr>
            <a:r>
              <a:rPr lang="es-ES" sz="2309" kern="1200" dirty="0">
                <a:solidFill>
                  <a:prstClr val="black"/>
                </a:solidFill>
                <a:latin typeface="Verdana"/>
                <a:ea typeface="+mn-ea"/>
                <a:cs typeface="+mn-cs"/>
              </a:rPr>
              <a:t>Aprovechar las capacidades de predicción, analítica avanzada e IA para aportar inteligencia y eficiencia a las actividades de QA</a:t>
            </a:r>
          </a:p>
        </p:txBody>
      </p:sp>
    </p:spTree>
    <p:extLst>
      <p:ext uri="{BB962C8B-B14F-4D97-AF65-F5344CB8AC3E}">
        <p14:creationId xmlns:p14="http://schemas.microsoft.com/office/powerpoint/2010/main" val="328900796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2"/>
                                        </p:tgtEl>
                                        <p:attrNameLst>
                                          <p:attrName>style.visibility</p:attrName>
                                        </p:attrNameLst>
                                      </p:cBhvr>
                                      <p:to>
                                        <p:strVal val="visible"/>
                                      </p:to>
                                    </p:set>
                                    <p:animEffect transition="in" filter="fade">
                                      <p:cBhvr>
                                        <p:cTn id="12"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32"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agen 7">
            <a:extLst>
              <a:ext uri="{FF2B5EF4-FFF2-40B4-BE49-F238E27FC236}">
                <a16:creationId xmlns:a16="http://schemas.microsoft.com/office/drawing/2014/main" id="{5ED16CA0-5AB1-DE46-90EE-AA729C79750C}"/>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t="9387"/>
          <a:stretch/>
        </p:blipFill>
        <p:spPr>
          <a:xfrm>
            <a:off x="9926400" y="2145982"/>
            <a:ext cx="9298146" cy="8490434"/>
          </a:xfrm>
          <a:prstGeom prst="rect">
            <a:avLst/>
          </a:prstGeom>
        </p:spPr>
      </p:pic>
      <p:pic>
        <p:nvPicPr>
          <p:cNvPr id="9" name="Imagen 8">
            <a:extLst>
              <a:ext uri="{FF2B5EF4-FFF2-40B4-BE49-F238E27FC236}">
                <a16:creationId xmlns:a16="http://schemas.microsoft.com/office/drawing/2014/main" id="{3231BDEA-C342-604C-8E3C-5BA631575603}"/>
              </a:ext>
            </a:extLst>
          </p:cNvPr>
          <p:cNvPicPr>
            <a:picLocks noChangeAspect="1"/>
          </p:cNvPicPr>
          <p:nvPr/>
        </p:nvPicPr>
        <p:blipFill>
          <a:blip r:embed="rId4"/>
          <a:stretch>
            <a:fillRect/>
          </a:stretch>
        </p:blipFill>
        <p:spPr>
          <a:xfrm>
            <a:off x="-1382157" y="2145983"/>
            <a:ext cx="10554653" cy="11887492"/>
          </a:xfrm>
          <a:prstGeom prst="rect">
            <a:avLst/>
          </a:prstGeom>
        </p:spPr>
      </p:pic>
      <p:pic>
        <p:nvPicPr>
          <p:cNvPr id="3" name="Imagen 2">
            <a:extLst>
              <a:ext uri="{FF2B5EF4-FFF2-40B4-BE49-F238E27FC236}">
                <a16:creationId xmlns:a16="http://schemas.microsoft.com/office/drawing/2014/main" id="{31636B8A-0FE5-4A40-9A16-F1C1EB3E5A20}"/>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251766" y="2145983"/>
            <a:ext cx="9479129" cy="9479129"/>
          </a:xfrm>
          <a:prstGeom prst="rect">
            <a:avLst/>
          </a:prstGeom>
        </p:spPr>
      </p:pic>
      <p:sp>
        <p:nvSpPr>
          <p:cNvPr id="5" name="Título 4">
            <a:extLst>
              <a:ext uri="{FF2B5EF4-FFF2-40B4-BE49-F238E27FC236}">
                <a16:creationId xmlns:a16="http://schemas.microsoft.com/office/drawing/2014/main" id="{99CD3637-27C7-4A6F-A4EB-3D7EC14A167C}"/>
              </a:ext>
            </a:extLst>
          </p:cNvPr>
          <p:cNvSpPr>
            <a:spLocks noGrp="1"/>
          </p:cNvSpPr>
          <p:nvPr>
            <p:ph type="title"/>
          </p:nvPr>
        </p:nvSpPr>
        <p:spPr/>
        <p:txBody>
          <a:bodyPr/>
          <a:lstStyle/>
          <a:p>
            <a:r>
              <a:rPr lang="es-ES" dirty="0" err="1"/>
              <a:t>QADashbords</a:t>
            </a:r>
            <a:r>
              <a:rPr lang="es-ES" dirty="0"/>
              <a:t> &amp; </a:t>
            </a:r>
            <a:r>
              <a:rPr lang="es-ES" dirty="0" err="1"/>
              <a:t>CognitiveQA</a:t>
            </a:r>
            <a:endParaRPr lang="en-GB" dirty="0"/>
          </a:p>
        </p:txBody>
      </p:sp>
    </p:spTree>
    <p:extLst>
      <p:ext uri="{BB962C8B-B14F-4D97-AF65-F5344CB8AC3E}">
        <p14:creationId xmlns:p14="http://schemas.microsoft.com/office/powerpoint/2010/main" val="351492605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ángulo 16">
            <a:extLst>
              <a:ext uri="{FF2B5EF4-FFF2-40B4-BE49-F238E27FC236}">
                <a16:creationId xmlns:a16="http://schemas.microsoft.com/office/drawing/2014/main" id="{65255826-AF35-498D-8875-4D46CE921A55}"/>
              </a:ext>
            </a:extLst>
          </p:cNvPr>
          <p:cNvSpPr/>
          <p:nvPr/>
        </p:nvSpPr>
        <p:spPr>
          <a:xfrm>
            <a:off x="0" y="9921"/>
            <a:ext cx="20104100" cy="11308558"/>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507846" rtl="0"/>
            <a:endParaRPr lang="en-GB" sz="2968" kern="1200">
              <a:solidFill>
                <a:srgbClr val="FFFFFF"/>
              </a:solidFill>
              <a:latin typeface="Verdana"/>
            </a:endParaRPr>
          </a:p>
        </p:txBody>
      </p:sp>
      <p:sp>
        <p:nvSpPr>
          <p:cNvPr id="30" name="Freeform 16">
            <a:extLst>
              <a:ext uri="{FF2B5EF4-FFF2-40B4-BE49-F238E27FC236}">
                <a16:creationId xmlns:a16="http://schemas.microsoft.com/office/drawing/2014/main" id="{E40681FB-7801-4D57-A168-B5C2365A9F13}"/>
              </a:ext>
            </a:extLst>
          </p:cNvPr>
          <p:cNvSpPr/>
          <p:nvPr/>
        </p:nvSpPr>
        <p:spPr>
          <a:xfrm flipH="1">
            <a:off x="13027457" y="9922"/>
            <a:ext cx="7076637" cy="11308556"/>
          </a:xfrm>
          <a:custGeom>
            <a:avLst/>
            <a:gdLst>
              <a:gd name="connsiteX0" fmla="*/ 0 w 6223905"/>
              <a:gd name="connsiteY0" fmla="*/ 0 h 6858000"/>
              <a:gd name="connsiteX1" fmla="*/ 4186882 w 6223905"/>
              <a:gd name="connsiteY1" fmla="*/ 0 h 6858000"/>
              <a:gd name="connsiteX2" fmla="*/ 4197034 w 6223905"/>
              <a:gd name="connsiteY2" fmla="*/ 22340 h 6858000"/>
              <a:gd name="connsiteX3" fmla="*/ 5904357 w 6223905"/>
              <a:gd name="connsiteY3" fmla="*/ 3779388 h 6858000"/>
              <a:gd name="connsiteX4" fmla="*/ 5873730 w 6223905"/>
              <a:gd name="connsiteY4" fmla="*/ 6784163 h 6858000"/>
              <a:gd name="connsiteX5" fmla="*/ 5834113 w 6223905"/>
              <a:gd name="connsiteY5" fmla="*/ 6858000 h 6858000"/>
              <a:gd name="connsiteX6" fmla="*/ 0 w 6223905"/>
              <a:gd name="connsiteY6" fmla="*/ 6858000 h 6858000"/>
              <a:gd name="connsiteX7" fmla="*/ 0 w 6223905"/>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23905" h="6858000">
                <a:moveTo>
                  <a:pt x="0" y="0"/>
                </a:moveTo>
                <a:lnTo>
                  <a:pt x="4186882" y="0"/>
                </a:lnTo>
                <a:lnTo>
                  <a:pt x="4197034" y="22340"/>
                </a:lnTo>
                <a:cubicBezTo>
                  <a:pt x="5904357" y="3779388"/>
                  <a:pt x="5904357" y="3779388"/>
                  <a:pt x="5904357" y="3779388"/>
                </a:cubicBezTo>
                <a:cubicBezTo>
                  <a:pt x="6352858" y="4766336"/>
                  <a:pt x="6316954" y="5863968"/>
                  <a:pt x="5873730" y="6784163"/>
                </a:cubicBezTo>
                <a:lnTo>
                  <a:pt x="5834113" y="6858000"/>
                </a:lnTo>
                <a:lnTo>
                  <a:pt x="0" y="6858000"/>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507846" rtl="0"/>
            <a:endParaRPr lang="en-US" sz="2968" kern="1200">
              <a:solidFill>
                <a:prstClr val="white"/>
              </a:solidFill>
              <a:latin typeface="Verdana"/>
            </a:endParaRPr>
          </a:p>
        </p:txBody>
      </p:sp>
      <p:sp>
        <p:nvSpPr>
          <p:cNvPr id="19" name="Rectángulo 18">
            <a:extLst>
              <a:ext uri="{FF2B5EF4-FFF2-40B4-BE49-F238E27FC236}">
                <a16:creationId xmlns:a16="http://schemas.microsoft.com/office/drawing/2014/main" id="{C71EA556-F99F-40E4-8AAB-BD1607DDC40B}"/>
              </a:ext>
            </a:extLst>
          </p:cNvPr>
          <p:cNvSpPr/>
          <p:nvPr/>
        </p:nvSpPr>
        <p:spPr>
          <a:xfrm>
            <a:off x="1100269" y="331448"/>
            <a:ext cx="2675732" cy="549061"/>
          </a:xfrm>
          <a:prstGeom prst="rect">
            <a:avLst/>
          </a:prstGeom>
        </p:spPr>
        <p:txBody>
          <a:bodyPr wrap="none">
            <a:spAutoFit/>
          </a:bodyPr>
          <a:lstStyle/>
          <a:p>
            <a:pPr algn="l" defTabSz="1507846" rtl="0"/>
            <a:r>
              <a:rPr lang="en-GB" sz="2968" kern="1200">
                <a:solidFill>
                  <a:srgbClr val="2B0A3D"/>
                </a:solidFill>
                <a:latin typeface="Ubuntu" panose="020B0504030602030204" pitchFamily="34" charset="0"/>
                <a:ea typeface="+mn-ea"/>
                <a:cs typeface="+mn-cs"/>
              </a:rPr>
              <a:t>Portfolio 2020</a:t>
            </a:r>
          </a:p>
        </p:txBody>
      </p:sp>
      <p:sp>
        <p:nvSpPr>
          <p:cNvPr id="21" name="Rectángulo 20">
            <a:extLst>
              <a:ext uri="{FF2B5EF4-FFF2-40B4-BE49-F238E27FC236}">
                <a16:creationId xmlns:a16="http://schemas.microsoft.com/office/drawing/2014/main" id="{C549AD9E-6296-4811-80F6-CD623ACCADC4}"/>
              </a:ext>
            </a:extLst>
          </p:cNvPr>
          <p:cNvSpPr/>
          <p:nvPr/>
        </p:nvSpPr>
        <p:spPr>
          <a:xfrm>
            <a:off x="1593568" y="3172082"/>
            <a:ext cx="16046307" cy="1490152"/>
          </a:xfrm>
          <a:prstGeom prst="rect">
            <a:avLst/>
          </a:prstGeom>
        </p:spPr>
        <p:txBody>
          <a:bodyPr wrap="square">
            <a:spAutoFit/>
          </a:bodyPr>
          <a:lstStyle/>
          <a:p>
            <a:pPr algn="l" defTabSz="1507846" rtl="0">
              <a:lnSpc>
                <a:spcPts val="10883"/>
              </a:lnSpc>
            </a:pPr>
            <a:r>
              <a:rPr lang="en-US" sz="10883" kern="1200">
                <a:solidFill>
                  <a:srgbClr val="12ABDB"/>
                </a:solidFill>
                <a:latin typeface="Ubuntu" panose="020B0504030602030204" pitchFamily="34" charset="0"/>
                <a:ea typeface="+mn-ea"/>
                <a:cs typeface="+mn-cs"/>
              </a:rPr>
              <a:t>QA</a:t>
            </a:r>
            <a:r>
              <a:rPr lang="en-US" sz="10883" b="1" kern="1200">
                <a:solidFill>
                  <a:srgbClr val="95E616"/>
                </a:solidFill>
                <a:latin typeface="Ubuntu" panose="020B0504030602030204" pitchFamily="34" charset="0"/>
                <a:ea typeface="+mn-ea"/>
                <a:cs typeface="+mn-cs"/>
              </a:rPr>
              <a:t>Dashboards</a:t>
            </a:r>
            <a:r>
              <a:rPr lang="en-US" sz="10883" b="1" kern="1200">
                <a:solidFill>
                  <a:srgbClr val="FFFFFF"/>
                </a:solidFill>
                <a:latin typeface="Ubuntu" panose="020B0504030602030204" pitchFamily="34" charset="0"/>
                <a:ea typeface="+mn-ea"/>
                <a:cs typeface="+mn-cs"/>
              </a:rPr>
              <a:t>.</a:t>
            </a:r>
          </a:p>
        </p:txBody>
      </p:sp>
      <p:sp>
        <p:nvSpPr>
          <p:cNvPr id="31" name="Rectángulo 30">
            <a:extLst>
              <a:ext uri="{FF2B5EF4-FFF2-40B4-BE49-F238E27FC236}">
                <a16:creationId xmlns:a16="http://schemas.microsoft.com/office/drawing/2014/main" id="{D7EEFE8A-784E-4B22-B972-F76C321346E8}"/>
              </a:ext>
            </a:extLst>
          </p:cNvPr>
          <p:cNvSpPr/>
          <p:nvPr/>
        </p:nvSpPr>
        <p:spPr>
          <a:xfrm>
            <a:off x="17709057" y="10181619"/>
            <a:ext cx="1901483" cy="872098"/>
          </a:xfrm>
          <a:prstGeom prst="rect">
            <a:avLst/>
          </a:prstGeom>
        </p:spPr>
        <p:txBody>
          <a:bodyPr wrap="none">
            <a:spAutoFit/>
          </a:bodyPr>
          <a:lstStyle/>
          <a:p>
            <a:pPr algn="l" defTabSz="1507846" rtl="0">
              <a:lnSpc>
                <a:spcPts val="7256"/>
              </a:lnSpc>
            </a:pPr>
            <a:r>
              <a:rPr lang="en-US" sz="2968" kern="1200">
                <a:solidFill>
                  <a:srgbClr val="FFFFFF"/>
                </a:solidFill>
                <a:latin typeface="Ubuntu Mono" panose="020B0509030602030204" pitchFamily="49" charset="0"/>
                <a:ea typeface="+mn-ea"/>
                <a:cs typeface="+mn-cs"/>
              </a:rPr>
              <a:t>sogeti.es</a:t>
            </a:r>
            <a:endParaRPr lang="en-GB" sz="2968" kern="1200">
              <a:solidFill>
                <a:srgbClr val="FFFFFF"/>
              </a:solidFill>
              <a:latin typeface="Ubuntu Mono" panose="020B0509030602030204" pitchFamily="49" charset="0"/>
              <a:ea typeface="+mn-ea"/>
              <a:cs typeface="+mn-cs"/>
            </a:endParaRPr>
          </a:p>
        </p:txBody>
      </p:sp>
      <p:pic>
        <p:nvPicPr>
          <p:cNvPr id="33" name="Imagen 32" descr="Imagen que contiene dibujo&#10;&#10;Descripción generada automáticamente">
            <a:extLst>
              <a:ext uri="{FF2B5EF4-FFF2-40B4-BE49-F238E27FC236}">
                <a16:creationId xmlns:a16="http://schemas.microsoft.com/office/drawing/2014/main" id="{6B5CD1D5-6629-4F48-8DC3-EEF3963E7DCD}"/>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18059567" y="10020783"/>
            <a:ext cx="1624836" cy="673055"/>
          </a:xfrm>
          <a:prstGeom prst="rect">
            <a:avLst/>
          </a:prstGeom>
        </p:spPr>
      </p:pic>
      <p:pic>
        <p:nvPicPr>
          <p:cNvPr id="23" name="pasted-image.pdf" descr="pasted-image.pdf">
            <a:extLst>
              <a:ext uri="{FF2B5EF4-FFF2-40B4-BE49-F238E27FC236}">
                <a16:creationId xmlns:a16="http://schemas.microsoft.com/office/drawing/2014/main" id="{E459E36F-52A0-8E44-8D70-35D19A2B1226}"/>
              </a:ext>
            </a:extLst>
          </p:cNvPr>
          <p:cNvPicPr>
            <a:picLocks noChangeAspect="1"/>
          </p:cNvPicPr>
          <p:nvPr/>
        </p:nvPicPr>
        <p:blipFill>
          <a:blip r:embed="rId4"/>
          <a:stretch>
            <a:fillRect/>
          </a:stretch>
        </p:blipFill>
        <p:spPr>
          <a:xfrm>
            <a:off x="14366045" y="4251596"/>
            <a:ext cx="4801562" cy="3075075"/>
          </a:xfrm>
          <a:prstGeom prst="rect">
            <a:avLst/>
          </a:prstGeom>
          <a:ln w="12700">
            <a:miter lim="400000"/>
          </a:ln>
        </p:spPr>
      </p:pic>
      <p:pic>
        <p:nvPicPr>
          <p:cNvPr id="27" name="pasted-image.pdf" descr="pasted-image.pdf">
            <a:extLst>
              <a:ext uri="{FF2B5EF4-FFF2-40B4-BE49-F238E27FC236}">
                <a16:creationId xmlns:a16="http://schemas.microsoft.com/office/drawing/2014/main" id="{C52A657F-A87A-4840-A6FC-65EF6C1BDF5D}"/>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2908464" y="2154964"/>
            <a:ext cx="10416453" cy="7865818"/>
          </a:xfrm>
          <a:prstGeom prst="rect">
            <a:avLst/>
          </a:prstGeom>
          <a:ln w="12700">
            <a:miter lim="400000"/>
          </a:ln>
        </p:spPr>
      </p:pic>
    </p:spTree>
    <p:extLst>
      <p:ext uri="{BB962C8B-B14F-4D97-AF65-F5344CB8AC3E}">
        <p14:creationId xmlns:p14="http://schemas.microsoft.com/office/powerpoint/2010/main" val="398904091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Freeform 11">
            <a:extLst>
              <a:ext uri="{FF2B5EF4-FFF2-40B4-BE49-F238E27FC236}">
                <a16:creationId xmlns:a16="http://schemas.microsoft.com/office/drawing/2014/main" id="{989FAB72-E17B-0D41-A6AE-3BB44413317B}"/>
              </a:ext>
            </a:extLst>
          </p:cNvPr>
          <p:cNvSpPr/>
          <p:nvPr/>
        </p:nvSpPr>
        <p:spPr>
          <a:xfrm>
            <a:off x="0" y="6172172"/>
            <a:ext cx="14050748" cy="5164615"/>
          </a:xfrm>
          <a:custGeom>
            <a:avLst/>
            <a:gdLst>
              <a:gd name="connsiteX0" fmla="*/ 4395998 w 7237505"/>
              <a:gd name="connsiteY0" fmla="*/ 58 h 4933262"/>
              <a:gd name="connsiteX1" fmla="*/ 7233138 w 7237505"/>
              <a:gd name="connsiteY1" fmla="*/ 4903565 h 4933262"/>
              <a:gd name="connsiteX2" fmla="*/ 7237505 w 7237505"/>
              <a:gd name="connsiteY2" fmla="*/ 4933262 h 4933262"/>
              <a:gd name="connsiteX3" fmla="*/ 0 w 7237505"/>
              <a:gd name="connsiteY3" fmla="*/ 4933262 h 4933262"/>
              <a:gd name="connsiteX4" fmla="*/ 0 w 7237505"/>
              <a:gd name="connsiteY4" fmla="*/ 1491292 h 4933262"/>
              <a:gd name="connsiteX5" fmla="*/ 148016 w 7237505"/>
              <a:gd name="connsiteY5" fmla="*/ 1437398 h 4933262"/>
              <a:gd name="connsiteX6" fmla="*/ 3756131 w 7237505"/>
              <a:gd name="connsiteY6" fmla="*/ 123640 h 4933262"/>
              <a:gd name="connsiteX7" fmla="*/ 4395998 w 7237505"/>
              <a:gd name="connsiteY7" fmla="*/ 58 h 4933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37505" h="4933262">
                <a:moveTo>
                  <a:pt x="4395998" y="58"/>
                </a:moveTo>
                <a:cubicBezTo>
                  <a:pt x="6238787" y="-15730"/>
                  <a:pt x="6966936" y="3156975"/>
                  <a:pt x="7233138" y="4903565"/>
                </a:cubicBezTo>
                <a:lnTo>
                  <a:pt x="7237505" y="4933262"/>
                </a:lnTo>
                <a:lnTo>
                  <a:pt x="0" y="4933262"/>
                </a:lnTo>
                <a:lnTo>
                  <a:pt x="0" y="1491292"/>
                </a:lnTo>
                <a:lnTo>
                  <a:pt x="148016" y="1437398"/>
                </a:lnTo>
                <a:cubicBezTo>
                  <a:pt x="1090161" y="1094352"/>
                  <a:pt x="2272461" y="663862"/>
                  <a:pt x="3756131" y="123640"/>
                </a:cubicBezTo>
                <a:cubicBezTo>
                  <a:pt x="3983091" y="41001"/>
                  <a:pt x="4196102" y="1771"/>
                  <a:pt x="4395998" y="58"/>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507846" rtl="0">
              <a:defRPr/>
            </a:pPr>
            <a:endParaRPr lang="en-US" sz="2968" kern="1200">
              <a:solidFill>
                <a:srgbClr val="FFFFFF"/>
              </a:solidFill>
              <a:latin typeface="Verdana"/>
            </a:endParaRPr>
          </a:p>
        </p:txBody>
      </p:sp>
      <p:sp>
        <p:nvSpPr>
          <p:cNvPr id="6" name="Título 5">
            <a:extLst>
              <a:ext uri="{FF2B5EF4-FFF2-40B4-BE49-F238E27FC236}">
                <a16:creationId xmlns:a16="http://schemas.microsoft.com/office/drawing/2014/main" id="{6544D870-628D-8A4C-800B-C2769A7BB13F}"/>
              </a:ext>
            </a:extLst>
          </p:cNvPr>
          <p:cNvSpPr>
            <a:spLocks noGrp="1"/>
          </p:cNvSpPr>
          <p:nvPr>
            <p:ph type="title"/>
          </p:nvPr>
        </p:nvSpPr>
        <p:spPr>
          <a:xfrm>
            <a:off x="1095999" y="865974"/>
            <a:ext cx="4092485" cy="3813229"/>
          </a:xfrm>
        </p:spPr>
        <p:txBody>
          <a:bodyPr>
            <a:noAutofit/>
          </a:bodyPr>
          <a:lstStyle/>
          <a:p>
            <a:r>
              <a:rPr lang="en-US"/>
              <a:t>QA Dashboards</a:t>
            </a:r>
          </a:p>
        </p:txBody>
      </p:sp>
      <p:sp>
        <p:nvSpPr>
          <p:cNvPr id="12" name="CuadroTexto 11">
            <a:extLst>
              <a:ext uri="{FF2B5EF4-FFF2-40B4-BE49-F238E27FC236}">
                <a16:creationId xmlns:a16="http://schemas.microsoft.com/office/drawing/2014/main" id="{97D825F2-DEBF-D247-86B7-976BCD7FEEE0}"/>
              </a:ext>
            </a:extLst>
          </p:cNvPr>
          <p:cNvSpPr txBox="1"/>
          <p:nvPr/>
        </p:nvSpPr>
        <p:spPr>
          <a:xfrm>
            <a:off x="5623515" y="489173"/>
            <a:ext cx="7526308" cy="1817677"/>
          </a:xfrm>
          <a:prstGeom prst="rect">
            <a:avLst/>
          </a:prstGeom>
          <a:noFill/>
        </p:spPr>
        <p:txBody>
          <a:bodyPr wrap="square" rtlCol="0">
            <a:spAutoFit/>
          </a:bodyPr>
          <a:lstStyle/>
          <a:p>
            <a:pPr algn="l" defTabSz="1507846" rtl="0">
              <a:defRPr/>
            </a:pPr>
            <a:r>
              <a:rPr lang="en-US" sz="2803" kern="1200">
                <a:solidFill>
                  <a:srgbClr val="12ABDB"/>
                </a:solidFill>
                <a:latin typeface="Ubuntu" panose="020B0504030602030204" pitchFamily="34" charset="0"/>
                <a:ea typeface="+mn-ea"/>
                <a:cs typeface="+mn-cs"/>
              </a:rPr>
              <a:t>We process data related to quality assurance and we design &amp; implement </a:t>
            </a:r>
            <a:r>
              <a:rPr lang="en-US" sz="2803" b="1" kern="1200">
                <a:solidFill>
                  <a:srgbClr val="12ABDB"/>
                </a:solidFill>
                <a:latin typeface="Ubuntu" panose="020B0504030602030204" pitchFamily="34" charset="0"/>
                <a:ea typeface="+mn-ea"/>
                <a:cs typeface="+mn-cs"/>
              </a:rPr>
              <a:t>fully customized dashboards</a:t>
            </a:r>
            <a:r>
              <a:rPr lang="en-US" sz="2803" kern="1200">
                <a:solidFill>
                  <a:srgbClr val="12ABDB"/>
                </a:solidFill>
                <a:latin typeface="Ubuntu" panose="020B0504030602030204" pitchFamily="34" charset="0"/>
                <a:ea typeface="+mn-ea"/>
                <a:cs typeface="+mn-cs"/>
              </a:rPr>
              <a:t> and analytical systems for testing &amp; QA informed analysis.</a:t>
            </a:r>
          </a:p>
        </p:txBody>
      </p:sp>
      <p:sp>
        <p:nvSpPr>
          <p:cNvPr id="31" name="CuadroTexto 30">
            <a:extLst>
              <a:ext uri="{FF2B5EF4-FFF2-40B4-BE49-F238E27FC236}">
                <a16:creationId xmlns:a16="http://schemas.microsoft.com/office/drawing/2014/main" id="{6B28FF72-4F40-2049-A944-4C1DFF421BCE}"/>
              </a:ext>
            </a:extLst>
          </p:cNvPr>
          <p:cNvSpPr txBox="1"/>
          <p:nvPr/>
        </p:nvSpPr>
        <p:spPr>
          <a:xfrm>
            <a:off x="1033621" y="1806658"/>
            <a:ext cx="3839956" cy="3289427"/>
          </a:xfrm>
          <a:prstGeom prst="rect">
            <a:avLst/>
          </a:prstGeom>
          <a:noFill/>
        </p:spPr>
        <p:txBody>
          <a:bodyPr wrap="square" rtlCol="0">
            <a:spAutoFit/>
          </a:bodyPr>
          <a:lstStyle/>
          <a:p>
            <a:pPr algn="l" defTabSz="1507846" rtl="0">
              <a:buClr>
                <a:srgbClr val="2B0A3D"/>
              </a:buClr>
              <a:defRPr/>
            </a:pPr>
            <a:r>
              <a:rPr lang="en-US" sz="2968" kern="1200">
                <a:solidFill>
                  <a:srgbClr val="000000"/>
                </a:solidFill>
                <a:latin typeface="Ubuntu Light" panose="020B0304030602030204" pitchFamily="34" charset="0"/>
                <a:ea typeface="+mn-ea"/>
                <a:cs typeface="+mn-cs"/>
              </a:rPr>
              <a:t>“Take data further than operative use, improving analytics capabilities through customized and extensible automatic dashboards”</a:t>
            </a:r>
          </a:p>
        </p:txBody>
      </p:sp>
      <p:pic>
        <p:nvPicPr>
          <p:cNvPr id="10" name="Imagen 9" descr="Imagen que contiene objeto&#10;&#10;Descripción generada automáticamente">
            <a:extLst>
              <a:ext uri="{FF2B5EF4-FFF2-40B4-BE49-F238E27FC236}">
                <a16:creationId xmlns:a16="http://schemas.microsoft.com/office/drawing/2014/main" id="{1DDBF39A-85FE-7845-8AED-7D1349C88F11}"/>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520418" y="3814506"/>
            <a:ext cx="6200575" cy="9300860"/>
          </a:xfrm>
          <a:prstGeom prst="rect">
            <a:avLst/>
          </a:prstGeom>
        </p:spPr>
      </p:pic>
      <p:sp>
        <p:nvSpPr>
          <p:cNvPr id="20" name="Freeform 9635">
            <a:extLst>
              <a:ext uri="{FF2B5EF4-FFF2-40B4-BE49-F238E27FC236}">
                <a16:creationId xmlns:a16="http://schemas.microsoft.com/office/drawing/2014/main" id="{AC80AC7E-5F3C-3341-9BEC-B5346495094C}"/>
              </a:ext>
            </a:extLst>
          </p:cNvPr>
          <p:cNvSpPr>
            <a:spLocks noChangeAspect="1"/>
          </p:cNvSpPr>
          <p:nvPr/>
        </p:nvSpPr>
        <p:spPr bwMode="auto">
          <a:xfrm>
            <a:off x="13773562" y="2505418"/>
            <a:ext cx="1071312" cy="1006793"/>
          </a:xfrm>
          <a:custGeom>
            <a:avLst/>
            <a:gdLst>
              <a:gd name="T0" fmla="*/ 43 w 301"/>
              <a:gd name="T1" fmla="*/ 219 h 281"/>
              <a:gd name="T2" fmla="*/ 72 w 301"/>
              <a:gd name="T3" fmla="*/ 42 h 281"/>
              <a:gd name="T4" fmla="*/ 257 w 301"/>
              <a:gd name="T5" fmla="*/ 68 h 281"/>
              <a:gd name="T6" fmla="*/ 224 w 301"/>
              <a:gd name="T7" fmla="*/ 239 h 281"/>
              <a:gd name="T8" fmla="*/ 43 w 301"/>
              <a:gd name="T9" fmla="*/ 219 h 281"/>
            </a:gdLst>
            <a:ahLst/>
            <a:cxnLst>
              <a:cxn ang="0">
                <a:pos x="T0" y="T1"/>
              </a:cxn>
              <a:cxn ang="0">
                <a:pos x="T2" y="T3"/>
              </a:cxn>
              <a:cxn ang="0">
                <a:pos x="T4" y="T5"/>
              </a:cxn>
              <a:cxn ang="0">
                <a:pos x="T6" y="T7"/>
              </a:cxn>
              <a:cxn ang="0">
                <a:pos x="T8" y="T9"/>
              </a:cxn>
            </a:cxnLst>
            <a:rect l="0" t="0" r="r" b="b"/>
            <a:pathLst>
              <a:path w="301" h="281">
                <a:moveTo>
                  <a:pt x="43" y="219"/>
                </a:moveTo>
                <a:cubicBezTo>
                  <a:pt x="0" y="163"/>
                  <a:pt x="13" y="83"/>
                  <a:pt x="72" y="42"/>
                </a:cubicBezTo>
                <a:cubicBezTo>
                  <a:pt x="131" y="0"/>
                  <a:pt x="214" y="12"/>
                  <a:pt x="257" y="68"/>
                </a:cubicBezTo>
                <a:cubicBezTo>
                  <a:pt x="301" y="124"/>
                  <a:pt x="283" y="197"/>
                  <a:pt x="224" y="239"/>
                </a:cubicBezTo>
                <a:cubicBezTo>
                  <a:pt x="165" y="281"/>
                  <a:pt x="87" y="276"/>
                  <a:pt x="43" y="219"/>
                </a:cubicBezTo>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0781" tIns="75390" rIns="150781" bIns="75390" numCol="1" anchor="t" anchorCtr="0" compatLnSpc="1">
            <a:prstTxWarp prst="textNoShape">
              <a:avLst/>
            </a:prstTxWarp>
          </a:bodyPr>
          <a:lstStyle/>
          <a:p>
            <a:pPr algn="l" defTabSz="1507846" rtl="0">
              <a:defRPr/>
            </a:pPr>
            <a:endParaRPr lang="en-US" sz="2309" kern="1200">
              <a:solidFill>
                <a:srgbClr val="000000"/>
              </a:solidFill>
              <a:latin typeface="Verdana"/>
              <a:ea typeface="+mn-ea"/>
              <a:cs typeface="+mn-cs"/>
            </a:endParaRPr>
          </a:p>
        </p:txBody>
      </p:sp>
      <p:sp>
        <p:nvSpPr>
          <p:cNvPr id="22" name="Freeform 9635">
            <a:extLst>
              <a:ext uri="{FF2B5EF4-FFF2-40B4-BE49-F238E27FC236}">
                <a16:creationId xmlns:a16="http://schemas.microsoft.com/office/drawing/2014/main" id="{FA1F5328-3608-FB40-AEA3-59F3D4EA9532}"/>
              </a:ext>
            </a:extLst>
          </p:cNvPr>
          <p:cNvSpPr>
            <a:spLocks noChangeAspect="1"/>
          </p:cNvSpPr>
          <p:nvPr/>
        </p:nvSpPr>
        <p:spPr bwMode="auto">
          <a:xfrm>
            <a:off x="13787495" y="3747382"/>
            <a:ext cx="1071312" cy="1006793"/>
          </a:xfrm>
          <a:custGeom>
            <a:avLst/>
            <a:gdLst>
              <a:gd name="T0" fmla="*/ 43 w 301"/>
              <a:gd name="T1" fmla="*/ 219 h 281"/>
              <a:gd name="T2" fmla="*/ 72 w 301"/>
              <a:gd name="T3" fmla="*/ 42 h 281"/>
              <a:gd name="T4" fmla="*/ 257 w 301"/>
              <a:gd name="T5" fmla="*/ 68 h 281"/>
              <a:gd name="T6" fmla="*/ 224 w 301"/>
              <a:gd name="T7" fmla="*/ 239 h 281"/>
              <a:gd name="T8" fmla="*/ 43 w 301"/>
              <a:gd name="T9" fmla="*/ 219 h 281"/>
            </a:gdLst>
            <a:ahLst/>
            <a:cxnLst>
              <a:cxn ang="0">
                <a:pos x="T0" y="T1"/>
              </a:cxn>
              <a:cxn ang="0">
                <a:pos x="T2" y="T3"/>
              </a:cxn>
              <a:cxn ang="0">
                <a:pos x="T4" y="T5"/>
              </a:cxn>
              <a:cxn ang="0">
                <a:pos x="T6" y="T7"/>
              </a:cxn>
              <a:cxn ang="0">
                <a:pos x="T8" y="T9"/>
              </a:cxn>
            </a:cxnLst>
            <a:rect l="0" t="0" r="r" b="b"/>
            <a:pathLst>
              <a:path w="301" h="281">
                <a:moveTo>
                  <a:pt x="43" y="219"/>
                </a:moveTo>
                <a:cubicBezTo>
                  <a:pt x="0" y="163"/>
                  <a:pt x="13" y="83"/>
                  <a:pt x="72" y="42"/>
                </a:cubicBezTo>
                <a:cubicBezTo>
                  <a:pt x="131" y="0"/>
                  <a:pt x="214" y="12"/>
                  <a:pt x="257" y="68"/>
                </a:cubicBezTo>
                <a:cubicBezTo>
                  <a:pt x="301" y="124"/>
                  <a:pt x="283" y="197"/>
                  <a:pt x="224" y="239"/>
                </a:cubicBezTo>
                <a:cubicBezTo>
                  <a:pt x="165" y="281"/>
                  <a:pt x="87" y="276"/>
                  <a:pt x="43" y="219"/>
                </a:cubicBezTo>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0781" tIns="75390" rIns="150781" bIns="75390" numCol="1" anchor="t" anchorCtr="0" compatLnSpc="1">
            <a:prstTxWarp prst="textNoShape">
              <a:avLst/>
            </a:prstTxWarp>
          </a:bodyPr>
          <a:lstStyle/>
          <a:p>
            <a:pPr algn="l" defTabSz="1507846" rtl="0">
              <a:defRPr/>
            </a:pPr>
            <a:endParaRPr lang="en-US" sz="2309" kern="1200">
              <a:solidFill>
                <a:srgbClr val="000000"/>
              </a:solidFill>
              <a:latin typeface="Verdana"/>
              <a:ea typeface="+mn-ea"/>
              <a:cs typeface="+mn-cs"/>
            </a:endParaRPr>
          </a:p>
        </p:txBody>
      </p:sp>
      <p:sp>
        <p:nvSpPr>
          <p:cNvPr id="24" name="Freeform 9633">
            <a:extLst>
              <a:ext uri="{FF2B5EF4-FFF2-40B4-BE49-F238E27FC236}">
                <a16:creationId xmlns:a16="http://schemas.microsoft.com/office/drawing/2014/main" id="{2BA181A4-F6A4-0845-A146-EE20BD2B563E}"/>
              </a:ext>
            </a:extLst>
          </p:cNvPr>
          <p:cNvSpPr>
            <a:spLocks noChangeAspect="1"/>
          </p:cNvSpPr>
          <p:nvPr/>
        </p:nvSpPr>
        <p:spPr bwMode="auto">
          <a:xfrm>
            <a:off x="13787495" y="5106718"/>
            <a:ext cx="1071251" cy="1009565"/>
          </a:xfrm>
          <a:custGeom>
            <a:avLst/>
            <a:gdLst>
              <a:gd name="T0" fmla="*/ 43 w 300"/>
              <a:gd name="T1" fmla="*/ 219 h 281"/>
              <a:gd name="T2" fmla="*/ 72 w 300"/>
              <a:gd name="T3" fmla="*/ 42 h 281"/>
              <a:gd name="T4" fmla="*/ 257 w 300"/>
              <a:gd name="T5" fmla="*/ 68 h 281"/>
              <a:gd name="T6" fmla="*/ 224 w 300"/>
              <a:gd name="T7" fmla="*/ 239 h 281"/>
              <a:gd name="T8" fmla="*/ 43 w 300"/>
              <a:gd name="T9" fmla="*/ 219 h 281"/>
            </a:gdLst>
            <a:ahLst/>
            <a:cxnLst>
              <a:cxn ang="0">
                <a:pos x="T0" y="T1"/>
              </a:cxn>
              <a:cxn ang="0">
                <a:pos x="T2" y="T3"/>
              </a:cxn>
              <a:cxn ang="0">
                <a:pos x="T4" y="T5"/>
              </a:cxn>
              <a:cxn ang="0">
                <a:pos x="T6" y="T7"/>
              </a:cxn>
              <a:cxn ang="0">
                <a:pos x="T8" y="T9"/>
              </a:cxn>
            </a:cxnLst>
            <a:rect l="0" t="0" r="r" b="b"/>
            <a:pathLst>
              <a:path w="300" h="281">
                <a:moveTo>
                  <a:pt x="43" y="219"/>
                </a:moveTo>
                <a:cubicBezTo>
                  <a:pt x="0" y="163"/>
                  <a:pt x="13" y="83"/>
                  <a:pt x="72" y="42"/>
                </a:cubicBezTo>
                <a:cubicBezTo>
                  <a:pt x="131" y="0"/>
                  <a:pt x="214" y="12"/>
                  <a:pt x="257" y="68"/>
                </a:cubicBezTo>
                <a:cubicBezTo>
                  <a:pt x="300" y="124"/>
                  <a:pt x="283" y="197"/>
                  <a:pt x="224" y="239"/>
                </a:cubicBezTo>
                <a:cubicBezTo>
                  <a:pt x="164" y="281"/>
                  <a:pt x="86" y="276"/>
                  <a:pt x="43" y="219"/>
                </a:cubicBezTo>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0781" tIns="75390" rIns="150781" bIns="75390" numCol="1" anchor="t" anchorCtr="0" compatLnSpc="1">
            <a:prstTxWarp prst="textNoShape">
              <a:avLst/>
            </a:prstTxWarp>
          </a:bodyPr>
          <a:lstStyle/>
          <a:p>
            <a:pPr algn="l" defTabSz="1507846" rtl="0">
              <a:defRPr/>
            </a:pPr>
            <a:endParaRPr lang="en-US" sz="2309" kern="1200">
              <a:solidFill>
                <a:srgbClr val="000000"/>
              </a:solidFill>
              <a:latin typeface="Verdana"/>
              <a:ea typeface="+mn-ea"/>
              <a:cs typeface="+mn-cs"/>
            </a:endParaRPr>
          </a:p>
        </p:txBody>
      </p:sp>
      <p:sp>
        <p:nvSpPr>
          <p:cNvPr id="14" name="CuadroTexto 13">
            <a:extLst>
              <a:ext uri="{FF2B5EF4-FFF2-40B4-BE49-F238E27FC236}">
                <a16:creationId xmlns:a16="http://schemas.microsoft.com/office/drawing/2014/main" id="{7CBFBAA1-719D-9346-B395-02CD93319B3D}"/>
              </a:ext>
            </a:extLst>
          </p:cNvPr>
          <p:cNvSpPr txBox="1"/>
          <p:nvPr/>
        </p:nvSpPr>
        <p:spPr>
          <a:xfrm>
            <a:off x="14858807" y="2527630"/>
            <a:ext cx="4801435" cy="955262"/>
          </a:xfrm>
          <a:prstGeom prst="rect">
            <a:avLst/>
          </a:prstGeom>
          <a:noFill/>
        </p:spPr>
        <p:txBody>
          <a:bodyPr wrap="square" rtlCol="0">
            <a:spAutoFit/>
          </a:bodyPr>
          <a:lstStyle/>
          <a:p>
            <a:pPr algn="l" defTabSz="1507846" rtl="0">
              <a:defRPr/>
            </a:pPr>
            <a:r>
              <a:rPr lang="en-US" sz="1979" b="1" kern="1200">
                <a:solidFill>
                  <a:srgbClr val="12ABDB"/>
                </a:solidFill>
                <a:latin typeface="Ubuntu Light" panose="020B0304030602030204" pitchFamily="34" charset="0"/>
                <a:ea typeface="+mn-ea"/>
                <a:cs typeface="+mn-cs"/>
              </a:rPr>
              <a:t>Fully customized quality dashboards</a:t>
            </a:r>
          </a:p>
          <a:p>
            <a:pPr algn="l" defTabSz="1507846" rtl="0">
              <a:defRPr/>
            </a:pPr>
            <a:r>
              <a:rPr lang="en-US" sz="1814" kern="1200">
                <a:solidFill>
                  <a:srgbClr val="2B0A3D"/>
                </a:solidFill>
                <a:latin typeface="Ubuntu Light" panose="020B0304030602030204" pitchFamily="34" charset="0"/>
                <a:ea typeface="+mn-ea"/>
                <a:cs typeface="+mn-cs"/>
              </a:rPr>
              <a:t>based on PowerBI and QADashboards platform, deployable on-premises or cloud.</a:t>
            </a:r>
            <a:endParaRPr lang="en-US" sz="1814" kern="1200">
              <a:solidFill>
                <a:srgbClr val="000000"/>
              </a:solidFill>
              <a:latin typeface="Ubuntu Light" panose="020B0304030602030204" pitchFamily="34" charset="0"/>
              <a:ea typeface="+mn-ea"/>
              <a:cs typeface="+mn-cs"/>
            </a:endParaRPr>
          </a:p>
        </p:txBody>
      </p:sp>
      <p:sp>
        <p:nvSpPr>
          <p:cNvPr id="17" name="CuadroTexto 16">
            <a:extLst>
              <a:ext uri="{FF2B5EF4-FFF2-40B4-BE49-F238E27FC236}">
                <a16:creationId xmlns:a16="http://schemas.microsoft.com/office/drawing/2014/main" id="{F5D32450-ADA7-D34C-97D0-ED0839C65E83}"/>
              </a:ext>
            </a:extLst>
          </p:cNvPr>
          <p:cNvSpPr txBox="1"/>
          <p:nvPr/>
        </p:nvSpPr>
        <p:spPr>
          <a:xfrm>
            <a:off x="14858807" y="3817176"/>
            <a:ext cx="4644870" cy="955262"/>
          </a:xfrm>
          <a:prstGeom prst="rect">
            <a:avLst/>
          </a:prstGeom>
          <a:noFill/>
        </p:spPr>
        <p:txBody>
          <a:bodyPr wrap="square" rtlCol="0">
            <a:spAutoFit/>
          </a:bodyPr>
          <a:lstStyle/>
          <a:p>
            <a:pPr algn="l" defTabSz="1507846" rtl="0">
              <a:defRPr/>
            </a:pPr>
            <a:r>
              <a:rPr lang="en-US" sz="1979" b="1" kern="1200">
                <a:solidFill>
                  <a:srgbClr val="12ABDB"/>
                </a:solidFill>
                <a:latin typeface="Ubuntu Light" panose="020B0304030602030204" pitchFamily="34" charset="0"/>
                <a:ea typeface="+mn-ea"/>
                <a:cs typeface="+mn-cs"/>
              </a:rPr>
              <a:t>Unified data model</a:t>
            </a:r>
          </a:p>
          <a:p>
            <a:pPr algn="l" defTabSz="1507846" rtl="0">
              <a:defRPr/>
            </a:pPr>
            <a:r>
              <a:rPr lang="en-US" sz="1814" b="1" kern="1200">
                <a:solidFill>
                  <a:srgbClr val="2B0A3D"/>
                </a:solidFill>
                <a:latin typeface="Ubuntu Light" panose="020B0304030602030204" pitchFamily="34" charset="0"/>
                <a:ea typeface="+mn-ea"/>
                <a:cs typeface="+mn-cs"/>
              </a:rPr>
              <a:t>that allows reliable dashboards development </a:t>
            </a:r>
            <a:r>
              <a:rPr lang="en-US" sz="1814" kern="1200">
                <a:solidFill>
                  <a:srgbClr val="000000"/>
                </a:solidFill>
                <a:latin typeface="Ubuntu Light" panose="020B0304030602030204" pitchFamily="34" charset="0"/>
                <a:ea typeface="+mn-ea"/>
                <a:cs typeface="+mn-cs"/>
              </a:rPr>
              <a:t>and reduces maintenance.</a:t>
            </a:r>
          </a:p>
        </p:txBody>
      </p:sp>
      <p:sp>
        <p:nvSpPr>
          <p:cNvPr id="19" name="CuadroTexto 18">
            <a:extLst>
              <a:ext uri="{FF2B5EF4-FFF2-40B4-BE49-F238E27FC236}">
                <a16:creationId xmlns:a16="http://schemas.microsoft.com/office/drawing/2014/main" id="{08D6C392-B4F9-6B41-8207-E3AC9193945D}"/>
              </a:ext>
            </a:extLst>
          </p:cNvPr>
          <p:cNvSpPr txBox="1"/>
          <p:nvPr/>
        </p:nvSpPr>
        <p:spPr>
          <a:xfrm>
            <a:off x="14903513" y="5126398"/>
            <a:ext cx="4572380" cy="955262"/>
          </a:xfrm>
          <a:prstGeom prst="rect">
            <a:avLst/>
          </a:prstGeom>
          <a:noFill/>
        </p:spPr>
        <p:txBody>
          <a:bodyPr wrap="square" rtlCol="0">
            <a:spAutoFit/>
          </a:bodyPr>
          <a:lstStyle/>
          <a:p>
            <a:pPr algn="l" defTabSz="1507846" rtl="0">
              <a:defRPr/>
            </a:pPr>
            <a:r>
              <a:rPr lang="en-US" sz="1979" b="1" kern="1200">
                <a:solidFill>
                  <a:srgbClr val="12ABDB"/>
                </a:solidFill>
                <a:latin typeface="Ubuntu Light" panose="020B0304030602030204" pitchFamily="34" charset="0"/>
                <a:ea typeface="+mn-ea"/>
                <a:cs typeface="+mn-cs"/>
              </a:rPr>
              <a:t>Automatic visualization</a:t>
            </a:r>
          </a:p>
          <a:p>
            <a:pPr algn="l" defTabSz="1507846" rtl="0">
              <a:defRPr/>
            </a:pPr>
            <a:r>
              <a:rPr lang="en-US" sz="1814" b="1" kern="1200">
                <a:solidFill>
                  <a:srgbClr val="2B0A3D"/>
                </a:solidFill>
                <a:latin typeface="Ubuntu Light" panose="020B0304030602030204" pitchFamily="34" charset="0"/>
                <a:ea typeface="+mn-ea"/>
                <a:cs typeface="+mn-cs"/>
              </a:rPr>
              <a:t>of metrics, filters and KPIs </a:t>
            </a:r>
            <a:r>
              <a:rPr lang="en-US" sz="1814" kern="1200">
                <a:solidFill>
                  <a:srgbClr val="2B0A3D"/>
                </a:solidFill>
                <a:latin typeface="Ubuntu Light" panose="020B0304030602030204" pitchFamily="34" charset="0"/>
                <a:ea typeface="+mn-ea"/>
                <a:cs typeface="+mn-cs"/>
              </a:rPr>
              <a:t>customized for each customer.</a:t>
            </a:r>
            <a:endParaRPr lang="en-US" sz="1814" kern="1200">
              <a:solidFill>
                <a:srgbClr val="000000"/>
              </a:solidFill>
              <a:latin typeface="Ubuntu Light" panose="020B0304030602030204" pitchFamily="34" charset="0"/>
              <a:ea typeface="+mn-ea"/>
              <a:cs typeface="+mn-cs"/>
            </a:endParaRPr>
          </a:p>
        </p:txBody>
      </p:sp>
      <p:pic>
        <p:nvPicPr>
          <p:cNvPr id="23" name="Picture 108065">
            <a:extLst>
              <a:ext uri="{FF2B5EF4-FFF2-40B4-BE49-F238E27FC236}">
                <a16:creationId xmlns:a16="http://schemas.microsoft.com/office/drawing/2014/main" id="{0C9B41F7-82D4-F64F-8D1C-5FF7DA9E8162}"/>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3832202" y="3750326"/>
            <a:ext cx="987952" cy="987952"/>
          </a:xfrm>
          <a:prstGeom prst="rect">
            <a:avLst/>
          </a:prstGeom>
        </p:spPr>
      </p:pic>
      <p:pic>
        <p:nvPicPr>
          <p:cNvPr id="26" name="Picture 5436">
            <a:extLst>
              <a:ext uri="{FF2B5EF4-FFF2-40B4-BE49-F238E27FC236}">
                <a16:creationId xmlns:a16="http://schemas.microsoft.com/office/drawing/2014/main" id="{2F30659B-C445-DC49-8048-A0A039DB0F4B}"/>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3834227" y="5111665"/>
            <a:ext cx="987952" cy="987952"/>
          </a:xfrm>
          <a:prstGeom prst="rect">
            <a:avLst/>
          </a:prstGeom>
        </p:spPr>
      </p:pic>
      <p:pic>
        <p:nvPicPr>
          <p:cNvPr id="16" name="Imagen 15">
            <a:extLst>
              <a:ext uri="{FF2B5EF4-FFF2-40B4-BE49-F238E27FC236}">
                <a16:creationId xmlns:a16="http://schemas.microsoft.com/office/drawing/2014/main" id="{0612648A-287B-544E-8BE7-8B71285F71AE}"/>
              </a:ext>
            </a:extLst>
          </p:cNvPr>
          <p:cNvPicPr>
            <a:picLocks noChangeAspect="1"/>
          </p:cNvPicPr>
          <p:nvPr/>
        </p:nvPicPr>
        <p:blipFill>
          <a:blip r:embed="rId6"/>
          <a:stretch>
            <a:fillRect/>
          </a:stretch>
        </p:blipFill>
        <p:spPr>
          <a:xfrm>
            <a:off x="18777409" y="3584228"/>
            <a:ext cx="516352" cy="435937"/>
          </a:xfrm>
          <a:prstGeom prst="rect">
            <a:avLst/>
          </a:prstGeom>
        </p:spPr>
      </p:pic>
      <p:sp>
        <p:nvSpPr>
          <p:cNvPr id="27" name="Freeform 9635">
            <a:extLst>
              <a:ext uri="{FF2B5EF4-FFF2-40B4-BE49-F238E27FC236}">
                <a16:creationId xmlns:a16="http://schemas.microsoft.com/office/drawing/2014/main" id="{F5DE4792-7340-4356-B048-16541830F51E}"/>
              </a:ext>
            </a:extLst>
          </p:cNvPr>
          <p:cNvSpPr>
            <a:spLocks noChangeAspect="1"/>
          </p:cNvSpPr>
          <p:nvPr/>
        </p:nvSpPr>
        <p:spPr bwMode="auto">
          <a:xfrm>
            <a:off x="13832201" y="6437762"/>
            <a:ext cx="1071312" cy="1006793"/>
          </a:xfrm>
          <a:custGeom>
            <a:avLst/>
            <a:gdLst>
              <a:gd name="T0" fmla="*/ 43 w 301"/>
              <a:gd name="T1" fmla="*/ 219 h 281"/>
              <a:gd name="T2" fmla="*/ 72 w 301"/>
              <a:gd name="T3" fmla="*/ 42 h 281"/>
              <a:gd name="T4" fmla="*/ 257 w 301"/>
              <a:gd name="T5" fmla="*/ 68 h 281"/>
              <a:gd name="T6" fmla="*/ 224 w 301"/>
              <a:gd name="T7" fmla="*/ 239 h 281"/>
              <a:gd name="T8" fmla="*/ 43 w 301"/>
              <a:gd name="T9" fmla="*/ 219 h 281"/>
            </a:gdLst>
            <a:ahLst/>
            <a:cxnLst>
              <a:cxn ang="0">
                <a:pos x="T0" y="T1"/>
              </a:cxn>
              <a:cxn ang="0">
                <a:pos x="T2" y="T3"/>
              </a:cxn>
              <a:cxn ang="0">
                <a:pos x="T4" y="T5"/>
              </a:cxn>
              <a:cxn ang="0">
                <a:pos x="T6" y="T7"/>
              </a:cxn>
              <a:cxn ang="0">
                <a:pos x="T8" y="T9"/>
              </a:cxn>
            </a:cxnLst>
            <a:rect l="0" t="0" r="r" b="b"/>
            <a:pathLst>
              <a:path w="301" h="281">
                <a:moveTo>
                  <a:pt x="43" y="219"/>
                </a:moveTo>
                <a:cubicBezTo>
                  <a:pt x="0" y="163"/>
                  <a:pt x="13" y="83"/>
                  <a:pt x="72" y="42"/>
                </a:cubicBezTo>
                <a:cubicBezTo>
                  <a:pt x="131" y="0"/>
                  <a:pt x="214" y="12"/>
                  <a:pt x="257" y="68"/>
                </a:cubicBezTo>
                <a:cubicBezTo>
                  <a:pt x="301" y="124"/>
                  <a:pt x="283" y="197"/>
                  <a:pt x="224" y="239"/>
                </a:cubicBezTo>
                <a:cubicBezTo>
                  <a:pt x="165" y="281"/>
                  <a:pt x="87" y="276"/>
                  <a:pt x="43" y="219"/>
                </a:cubicBezTo>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0781" tIns="75390" rIns="150781" bIns="75390" numCol="1" anchor="t" anchorCtr="0" compatLnSpc="1">
            <a:prstTxWarp prst="textNoShape">
              <a:avLst/>
            </a:prstTxWarp>
          </a:bodyPr>
          <a:lstStyle/>
          <a:p>
            <a:pPr algn="l" defTabSz="1507846" rtl="0">
              <a:defRPr/>
            </a:pPr>
            <a:endParaRPr lang="en-US" sz="2309" kern="1200">
              <a:solidFill>
                <a:srgbClr val="000000"/>
              </a:solidFill>
              <a:latin typeface="Verdana"/>
              <a:ea typeface="+mn-ea"/>
              <a:cs typeface="+mn-cs"/>
            </a:endParaRPr>
          </a:p>
        </p:txBody>
      </p:sp>
      <p:sp>
        <p:nvSpPr>
          <p:cNvPr id="28" name="Freeform 9635">
            <a:extLst>
              <a:ext uri="{FF2B5EF4-FFF2-40B4-BE49-F238E27FC236}">
                <a16:creationId xmlns:a16="http://schemas.microsoft.com/office/drawing/2014/main" id="{B6A5F4D4-4888-41FD-81F4-AA20CB84293D}"/>
              </a:ext>
            </a:extLst>
          </p:cNvPr>
          <p:cNvSpPr>
            <a:spLocks noChangeAspect="1"/>
          </p:cNvSpPr>
          <p:nvPr/>
        </p:nvSpPr>
        <p:spPr bwMode="auto">
          <a:xfrm>
            <a:off x="13846133" y="7679726"/>
            <a:ext cx="1071312" cy="1006793"/>
          </a:xfrm>
          <a:custGeom>
            <a:avLst/>
            <a:gdLst>
              <a:gd name="T0" fmla="*/ 43 w 301"/>
              <a:gd name="T1" fmla="*/ 219 h 281"/>
              <a:gd name="T2" fmla="*/ 72 w 301"/>
              <a:gd name="T3" fmla="*/ 42 h 281"/>
              <a:gd name="T4" fmla="*/ 257 w 301"/>
              <a:gd name="T5" fmla="*/ 68 h 281"/>
              <a:gd name="T6" fmla="*/ 224 w 301"/>
              <a:gd name="T7" fmla="*/ 239 h 281"/>
              <a:gd name="T8" fmla="*/ 43 w 301"/>
              <a:gd name="T9" fmla="*/ 219 h 281"/>
            </a:gdLst>
            <a:ahLst/>
            <a:cxnLst>
              <a:cxn ang="0">
                <a:pos x="T0" y="T1"/>
              </a:cxn>
              <a:cxn ang="0">
                <a:pos x="T2" y="T3"/>
              </a:cxn>
              <a:cxn ang="0">
                <a:pos x="T4" y="T5"/>
              </a:cxn>
              <a:cxn ang="0">
                <a:pos x="T6" y="T7"/>
              </a:cxn>
              <a:cxn ang="0">
                <a:pos x="T8" y="T9"/>
              </a:cxn>
            </a:cxnLst>
            <a:rect l="0" t="0" r="r" b="b"/>
            <a:pathLst>
              <a:path w="301" h="281">
                <a:moveTo>
                  <a:pt x="43" y="219"/>
                </a:moveTo>
                <a:cubicBezTo>
                  <a:pt x="0" y="163"/>
                  <a:pt x="13" y="83"/>
                  <a:pt x="72" y="42"/>
                </a:cubicBezTo>
                <a:cubicBezTo>
                  <a:pt x="131" y="0"/>
                  <a:pt x="214" y="12"/>
                  <a:pt x="257" y="68"/>
                </a:cubicBezTo>
                <a:cubicBezTo>
                  <a:pt x="301" y="124"/>
                  <a:pt x="283" y="197"/>
                  <a:pt x="224" y="239"/>
                </a:cubicBezTo>
                <a:cubicBezTo>
                  <a:pt x="165" y="281"/>
                  <a:pt x="87" y="276"/>
                  <a:pt x="43" y="219"/>
                </a:cubicBezTo>
              </a:path>
            </a:pathLst>
          </a:custGeom>
          <a:solidFill>
            <a:srgbClr val="2C0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0781" tIns="75390" rIns="150781" bIns="75390" numCol="1" anchor="t" anchorCtr="0" compatLnSpc="1">
            <a:prstTxWarp prst="textNoShape">
              <a:avLst/>
            </a:prstTxWarp>
          </a:bodyPr>
          <a:lstStyle/>
          <a:p>
            <a:pPr algn="l" defTabSz="1507846" rtl="0">
              <a:defRPr/>
            </a:pPr>
            <a:endParaRPr lang="en-US" sz="2309" kern="1200">
              <a:solidFill>
                <a:srgbClr val="000000"/>
              </a:solidFill>
              <a:latin typeface="Verdana"/>
              <a:ea typeface="+mn-ea"/>
              <a:cs typeface="+mn-cs"/>
            </a:endParaRPr>
          </a:p>
        </p:txBody>
      </p:sp>
      <p:sp>
        <p:nvSpPr>
          <p:cNvPr id="32" name="CuadroTexto 31">
            <a:extLst>
              <a:ext uri="{FF2B5EF4-FFF2-40B4-BE49-F238E27FC236}">
                <a16:creationId xmlns:a16="http://schemas.microsoft.com/office/drawing/2014/main" id="{0997D7CB-A9FF-4BB0-8244-138DF9209952}"/>
              </a:ext>
            </a:extLst>
          </p:cNvPr>
          <p:cNvSpPr txBox="1"/>
          <p:nvPr/>
        </p:nvSpPr>
        <p:spPr>
          <a:xfrm>
            <a:off x="14917446" y="6459974"/>
            <a:ext cx="4431732" cy="955262"/>
          </a:xfrm>
          <a:prstGeom prst="rect">
            <a:avLst/>
          </a:prstGeom>
          <a:noFill/>
        </p:spPr>
        <p:txBody>
          <a:bodyPr wrap="square" rtlCol="0">
            <a:spAutoFit/>
          </a:bodyPr>
          <a:lstStyle/>
          <a:p>
            <a:pPr algn="l" defTabSz="1507846" rtl="0">
              <a:defRPr/>
            </a:pPr>
            <a:r>
              <a:rPr lang="en-US" sz="1979" b="1" kern="1200">
                <a:solidFill>
                  <a:srgbClr val="12ABDB"/>
                </a:solidFill>
                <a:latin typeface="Ubuntu Light" panose="020B0304030602030204" pitchFamily="34" charset="0"/>
                <a:ea typeface="+mn-ea"/>
                <a:cs typeface="+mn-cs"/>
              </a:rPr>
              <a:t>Mutiple data source dashboards</a:t>
            </a:r>
          </a:p>
          <a:p>
            <a:pPr algn="l" defTabSz="1507846" rtl="0">
              <a:defRPr/>
            </a:pPr>
            <a:r>
              <a:rPr lang="en-US" sz="1814" b="1" kern="1200">
                <a:solidFill>
                  <a:srgbClr val="2B0A3D"/>
                </a:solidFill>
                <a:latin typeface="Ubuntu Light" panose="020B0304030602030204" pitchFamily="34" charset="0"/>
                <a:ea typeface="+mn-ea"/>
                <a:cs typeface="+mn-cs"/>
              </a:rPr>
              <a:t>We have predeveloped connectors </a:t>
            </a:r>
            <a:r>
              <a:rPr lang="en-US" sz="1814" kern="1200">
                <a:solidFill>
                  <a:srgbClr val="000000"/>
                </a:solidFill>
                <a:latin typeface="Ubuntu Light" panose="020B0304030602030204" pitchFamily="34" charset="0"/>
                <a:ea typeface="+mn-ea"/>
                <a:cs typeface="+mn-cs"/>
              </a:rPr>
              <a:t>to most of the existing QA related tools.</a:t>
            </a:r>
          </a:p>
        </p:txBody>
      </p:sp>
      <p:sp>
        <p:nvSpPr>
          <p:cNvPr id="33" name="CuadroTexto 32">
            <a:extLst>
              <a:ext uri="{FF2B5EF4-FFF2-40B4-BE49-F238E27FC236}">
                <a16:creationId xmlns:a16="http://schemas.microsoft.com/office/drawing/2014/main" id="{EF5779BF-43A8-4CD0-B0FB-E023458706CC}"/>
              </a:ext>
            </a:extLst>
          </p:cNvPr>
          <p:cNvSpPr txBox="1"/>
          <p:nvPr/>
        </p:nvSpPr>
        <p:spPr>
          <a:xfrm>
            <a:off x="14917446" y="7749520"/>
            <a:ext cx="4644870" cy="955262"/>
          </a:xfrm>
          <a:prstGeom prst="rect">
            <a:avLst/>
          </a:prstGeom>
          <a:noFill/>
        </p:spPr>
        <p:txBody>
          <a:bodyPr wrap="square" rtlCol="0">
            <a:spAutoFit/>
          </a:bodyPr>
          <a:lstStyle/>
          <a:p>
            <a:pPr algn="l" defTabSz="1507846" rtl="0">
              <a:defRPr/>
            </a:pPr>
            <a:r>
              <a:rPr lang="en-US" sz="1979" b="1" kern="1200">
                <a:solidFill>
                  <a:srgbClr val="12ABDB"/>
                </a:solidFill>
                <a:latin typeface="Ubuntu Light" panose="020B0304030602030204" pitchFamily="34" charset="0"/>
                <a:ea typeface="+mn-ea"/>
                <a:cs typeface="+mn-cs"/>
              </a:rPr>
              <a:t>The base for CognitiveQA</a:t>
            </a:r>
          </a:p>
          <a:p>
            <a:pPr algn="l" defTabSz="1507846" rtl="0">
              <a:defRPr/>
            </a:pPr>
            <a:r>
              <a:rPr lang="en-US" sz="1814" b="1" kern="1200">
                <a:solidFill>
                  <a:srgbClr val="2B0A3D"/>
                </a:solidFill>
                <a:latin typeface="Ubuntu Light" panose="020B0304030602030204" pitchFamily="34" charset="0"/>
                <a:ea typeface="+mn-ea"/>
                <a:cs typeface="+mn-cs"/>
              </a:rPr>
              <a:t>QADashboards </a:t>
            </a:r>
            <a:r>
              <a:rPr lang="en-US" sz="1814" kern="1200">
                <a:solidFill>
                  <a:srgbClr val="000000"/>
                </a:solidFill>
                <a:latin typeface="Ubuntu Light" panose="020B0304030602030204" pitchFamily="34" charset="0"/>
                <a:ea typeface="+mn-ea"/>
                <a:cs typeface="+mn-cs"/>
              </a:rPr>
              <a:t>is a base to be extended with CognitiveQA models.</a:t>
            </a:r>
          </a:p>
        </p:txBody>
      </p:sp>
      <p:pic>
        <p:nvPicPr>
          <p:cNvPr id="35" name="Picture 391">
            <a:extLst>
              <a:ext uri="{FF2B5EF4-FFF2-40B4-BE49-F238E27FC236}">
                <a16:creationId xmlns:a16="http://schemas.microsoft.com/office/drawing/2014/main" id="{4AD124C1-BA1E-4AF1-BBE7-FA17C52B1115}"/>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3861337" y="6459974"/>
            <a:ext cx="987952" cy="984580"/>
          </a:xfrm>
          <a:prstGeom prst="rect">
            <a:avLst/>
          </a:prstGeom>
        </p:spPr>
      </p:pic>
      <p:pic>
        <p:nvPicPr>
          <p:cNvPr id="38" name="Picture 9854">
            <a:extLst>
              <a:ext uri="{FF2B5EF4-FFF2-40B4-BE49-F238E27FC236}">
                <a16:creationId xmlns:a16="http://schemas.microsoft.com/office/drawing/2014/main" id="{40AAADA9-3E18-4904-8DC2-BA1D90EFA18D}"/>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3759631" y="2491400"/>
            <a:ext cx="1071251" cy="1074920"/>
          </a:xfrm>
          <a:prstGeom prst="rect">
            <a:avLst/>
          </a:prstGeom>
        </p:spPr>
      </p:pic>
      <p:pic>
        <p:nvPicPr>
          <p:cNvPr id="39" name="Picture 102944">
            <a:extLst>
              <a:ext uri="{FF2B5EF4-FFF2-40B4-BE49-F238E27FC236}">
                <a16:creationId xmlns:a16="http://schemas.microsoft.com/office/drawing/2014/main" id="{2012C800-9B9F-4E81-B302-05859A777367}"/>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3815934" y="7656914"/>
            <a:ext cx="1103846" cy="1107627"/>
          </a:xfrm>
          <a:prstGeom prst="rect">
            <a:avLst/>
          </a:prstGeom>
        </p:spPr>
      </p:pic>
      <p:grpSp>
        <p:nvGrpSpPr>
          <p:cNvPr id="8" name="Grupo 7">
            <a:extLst>
              <a:ext uri="{FF2B5EF4-FFF2-40B4-BE49-F238E27FC236}">
                <a16:creationId xmlns:a16="http://schemas.microsoft.com/office/drawing/2014/main" id="{044E50A9-CA66-44F8-A347-D03D1ADD4B4D}"/>
              </a:ext>
            </a:extLst>
          </p:cNvPr>
          <p:cNvGrpSpPr/>
          <p:nvPr/>
        </p:nvGrpSpPr>
        <p:grpSpPr>
          <a:xfrm>
            <a:off x="5899570" y="3101672"/>
            <a:ext cx="6366753" cy="2667094"/>
            <a:chOff x="3271660" y="1867427"/>
            <a:chExt cx="3861076" cy="1617442"/>
          </a:xfrm>
        </p:grpSpPr>
        <p:pic>
          <p:nvPicPr>
            <p:cNvPr id="29" name="Imagen 38">
              <a:extLst>
                <a:ext uri="{FF2B5EF4-FFF2-40B4-BE49-F238E27FC236}">
                  <a16:creationId xmlns:a16="http://schemas.microsoft.com/office/drawing/2014/main" id="{5BEFE085-4C00-470F-A832-CB1469FE4487}"/>
                </a:ext>
              </a:extLst>
            </p:cNvPr>
            <p:cNvPicPr>
              <a:picLocks noChangeAspect="1"/>
            </p:cNvPicPr>
            <p:nvPr/>
          </p:nvPicPr>
          <p:blipFill>
            <a:blip r:embed="rId10"/>
            <a:stretch>
              <a:fillRect/>
            </a:stretch>
          </p:blipFill>
          <p:spPr>
            <a:xfrm>
              <a:off x="3271660" y="1867427"/>
              <a:ext cx="3861076" cy="1372592"/>
            </a:xfrm>
            <a:prstGeom prst="rect">
              <a:avLst/>
            </a:prstGeom>
          </p:spPr>
        </p:pic>
        <p:sp>
          <p:nvSpPr>
            <p:cNvPr id="3" name="Rectángulo 2">
              <a:extLst>
                <a:ext uri="{FF2B5EF4-FFF2-40B4-BE49-F238E27FC236}">
                  <a16:creationId xmlns:a16="http://schemas.microsoft.com/office/drawing/2014/main" id="{1A0D6038-0EBD-4870-8D8C-56D04441458C}"/>
                </a:ext>
              </a:extLst>
            </p:cNvPr>
            <p:cNvSpPr/>
            <p:nvPr/>
          </p:nvSpPr>
          <p:spPr>
            <a:xfrm>
              <a:off x="4837519" y="2484360"/>
              <a:ext cx="584689" cy="522028"/>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507846" rtl="0">
                <a:defRPr/>
              </a:pPr>
              <a:endParaRPr lang="es-ES" sz="2309" kern="1200">
                <a:solidFill>
                  <a:srgbClr val="000000"/>
                </a:solidFill>
                <a:latin typeface="Verdana"/>
              </a:endParaRPr>
            </a:p>
          </p:txBody>
        </p:sp>
        <p:sp>
          <p:nvSpPr>
            <p:cNvPr id="7" name="CuadroTexto 6">
              <a:extLst>
                <a:ext uri="{FF2B5EF4-FFF2-40B4-BE49-F238E27FC236}">
                  <a16:creationId xmlns:a16="http://schemas.microsoft.com/office/drawing/2014/main" id="{C98FB395-B21E-4440-B5D8-1FCC15B1CD17}"/>
                </a:ext>
              </a:extLst>
            </p:cNvPr>
            <p:cNvSpPr txBox="1"/>
            <p:nvPr/>
          </p:nvSpPr>
          <p:spPr>
            <a:xfrm>
              <a:off x="3524628" y="3321162"/>
              <a:ext cx="2462601" cy="163707"/>
            </a:xfrm>
            <a:prstGeom prst="rect">
              <a:avLst/>
            </a:prstGeom>
            <a:noFill/>
          </p:spPr>
          <p:txBody>
            <a:bodyPr wrap="none" rtlCol="0">
              <a:spAutoFit/>
            </a:bodyPr>
            <a:lstStyle/>
            <a:p>
              <a:pPr algn="l" defTabSz="1507846" rtl="0">
                <a:defRPr/>
              </a:pPr>
              <a:r>
                <a:rPr lang="es-ES" sz="1154" i="1" kern="1200">
                  <a:solidFill>
                    <a:srgbClr val="EDEDED">
                      <a:lumMod val="50000"/>
                    </a:srgbClr>
                  </a:solidFill>
                  <a:latin typeface="Verdana"/>
                  <a:ea typeface="+mn-ea"/>
                  <a:cs typeface="+mn-cs"/>
                </a:rPr>
                <a:t>The VOICE model. Quality For DevOps teams book. </a:t>
              </a:r>
            </a:p>
          </p:txBody>
        </p:sp>
      </p:grpSp>
      <p:grpSp>
        <p:nvGrpSpPr>
          <p:cNvPr id="9" name="Grupo 8">
            <a:extLst>
              <a:ext uri="{FF2B5EF4-FFF2-40B4-BE49-F238E27FC236}">
                <a16:creationId xmlns:a16="http://schemas.microsoft.com/office/drawing/2014/main" id="{63426131-B237-4054-A109-60EA6D41E755}"/>
              </a:ext>
            </a:extLst>
          </p:cNvPr>
          <p:cNvGrpSpPr/>
          <p:nvPr/>
        </p:nvGrpSpPr>
        <p:grpSpPr>
          <a:xfrm>
            <a:off x="4873578" y="6185457"/>
            <a:ext cx="7670505" cy="4693140"/>
            <a:chOff x="1386502" y="2607213"/>
            <a:chExt cx="6585704" cy="4029411"/>
          </a:xfrm>
        </p:grpSpPr>
        <p:grpSp>
          <p:nvGrpSpPr>
            <p:cNvPr id="40" name="Grupo 39">
              <a:extLst>
                <a:ext uri="{FF2B5EF4-FFF2-40B4-BE49-F238E27FC236}">
                  <a16:creationId xmlns:a16="http://schemas.microsoft.com/office/drawing/2014/main" id="{050A390E-E819-4196-A4A3-5FA417F2247C}"/>
                </a:ext>
              </a:extLst>
            </p:cNvPr>
            <p:cNvGrpSpPr/>
            <p:nvPr/>
          </p:nvGrpSpPr>
          <p:grpSpPr>
            <a:xfrm>
              <a:off x="4135654" y="2807516"/>
              <a:ext cx="3836552" cy="3127958"/>
              <a:chOff x="-21321" y="981315"/>
              <a:chExt cx="6498321" cy="5471872"/>
            </a:xfrm>
          </p:grpSpPr>
          <p:pic>
            <p:nvPicPr>
              <p:cNvPr id="41" name="Picture 4">
                <a:extLst>
                  <a:ext uri="{FF2B5EF4-FFF2-40B4-BE49-F238E27FC236}">
                    <a16:creationId xmlns:a16="http://schemas.microsoft.com/office/drawing/2014/main" id="{91145157-372E-46EB-B2D4-E345A80C5A3B}"/>
                  </a:ext>
                </a:extLst>
              </p:cNvPr>
              <p:cNvPicPr>
                <a:picLocks noChangeAspect="1"/>
              </p:cNvPicPr>
              <p:nvPr/>
            </p:nvPicPr>
            <p:blipFill>
              <a:blip r:embed="rId11"/>
              <a:stretch>
                <a:fillRect/>
              </a:stretch>
            </p:blipFill>
            <p:spPr>
              <a:xfrm>
                <a:off x="-3000" y="981315"/>
                <a:ext cx="6480000" cy="3655271"/>
              </a:xfrm>
              <a:prstGeom prst="rect">
                <a:avLst/>
              </a:prstGeom>
            </p:spPr>
          </p:pic>
          <p:pic>
            <p:nvPicPr>
              <p:cNvPr id="42" name="Picture 5">
                <a:extLst>
                  <a:ext uri="{FF2B5EF4-FFF2-40B4-BE49-F238E27FC236}">
                    <a16:creationId xmlns:a16="http://schemas.microsoft.com/office/drawing/2014/main" id="{E28BB5FE-2F2D-4DF7-8C06-F850E04EE188}"/>
                  </a:ext>
                </a:extLst>
              </p:cNvPr>
              <p:cNvPicPr>
                <a:picLocks noChangeAspect="1"/>
              </p:cNvPicPr>
              <p:nvPr/>
            </p:nvPicPr>
            <p:blipFill>
              <a:blip r:embed="rId12"/>
              <a:stretch>
                <a:fillRect/>
              </a:stretch>
            </p:blipFill>
            <p:spPr>
              <a:xfrm>
                <a:off x="-21321" y="4628054"/>
                <a:ext cx="3240000" cy="1825133"/>
              </a:xfrm>
              <a:prstGeom prst="rect">
                <a:avLst/>
              </a:prstGeom>
            </p:spPr>
          </p:pic>
          <p:pic>
            <p:nvPicPr>
              <p:cNvPr id="43" name="Picture 6">
                <a:extLst>
                  <a:ext uri="{FF2B5EF4-FFF2-40B4-BE49-F238E27FC236}">
                    <a16:creationId xmlns:a16="http://schemas.microsoft.com/office/drawing/2014/main" id="{CEDE2331-E4D7-4B10-9ACB-EC75C27BB860}"/>
                  </a:ext>
                </a:extLst>
              </p:cNvPr>
              <p:cNvPicPr>
                <a:picLocks noChangeAspect="1"/>
              </p:cNvPicPr>
              <p:nvPr/>
            </p:nvPicPr>
            <p:blipFill>
              <a:blip r:embed="rId13"/>
              <a:stretch>
                <a:fillRect/>
              </a:stretch>
            </p:blipFill>
            <p:spPr>
              <a:xfrm>
                <a:off x="3218679" y="4637193"/>
                <a:ext cx="3240000" cy="1815994"/>
              </a:xfrm>
              <a:prstGeom prst="rect">
                <a:avLst/>
              </a:prstGeom>
            </p:spPr>
          </p:pic>
        </p:grpSp>
        <p:sp>
          <p:nvSpPr>
            <p:cNvPr id="44" name="Rectángulo 43">
              <a:extLst>
                <a:ext uri="{FF2B5EF4-FFF2-40B4-BE49-F238E27FC236}">
                  <a16:creationId xmlns:a16="http://schemas.microsoft.com/office/drawing/2014/main" id="{FCCF48FB-7C9A-47AE-8F5F-4D6D08B981F6}"/>
                </a:ext>
              </a:extLst>
            </p:cNvPr>
            <p:cNvSpPr/>
            <p:nvPr/>
          </p:nvSpPr>
          <p:spPr>
            <a:xfrm>
              <a:off x="4135654" y="2807516"/>
              <a:ext cx="3836552" cy="2039512"/>
            </a:xfrm>
            <a:prstGeom prst="rect">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507846" rtl="0">
                <a:defRPr/>
              </a:pPr>
              <a:endParaRPr lang="es-ES" sz="1731" kern="1200">
                <a:solidFill>
                  <a:srgbClr val="000000"/>
                </a:solidFill>
                <a:latin typeface="Verdana"/>
              </a:endParaRPr>
            </a:p>
          </p:txBody>
        </p:sp>
        <p:cxnSp>
          <p:nvCxnSpPr>
            <p:cNvPr id="45" name="Conector recto 44">
              <a:extLst>
                <a:ext uri="{FF2B5EF4-FFF2-40B4-BE49-F238E27FC236}">
                  <a16:creationId xmlns:a16="http://schemas.microsoft.com/office/drawing/2014/main" id="{4A78BE3B-A9E1-4D73-BE5D-23F4F6A2C277}"/>
                </a:ext>
              </a:extLst>
            </p:cNvPr>
            <p:cNvCxnSpPr/>
            <p:nvPr/>
          </p:nvCxnSpPr>
          <p:spPr>
            <a:xfrm>
              <a:off x="2550756" y="3895667"/>
              <a:ext cx="1584897" cy="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46" name="CuadroTexto 45">
              <a:extLst>
                <a:ext uri="{FF2B5EF4-FFF2-40B4-BE49-F238E27FC236}">
                  <a16:creationId xmlns:a16="http://schemas.microsoft.com/office/drawing/2014/main" id="{4557E1CA-5DFD-4839-97B6-00FA8A861373}"/>
                </a:ext>
              </a:extLst>
            </p:cNvPr>
            <p:cNvSpPr txBox="1"/>
            <p:nvPr/>
          </p:nvSpPr>
          <p:spPr>
            <a:xfrm>
              <a:off x="2429732" y="3510235"/>
              <a:ext cx="751735" cy="340772"/>
            </a:xfrm>
            <a:prstGeom prst="rect">
              <a:avLst/>
            </a:prstGeom>
            <a:noFill/>
          </p:spPr>
          <p:txBody>
            <a:bodyPr wrap="none" rtlCol="0">
              <a:spAutoFit/>
            </a:bodyPr>
            <a:lstStyle/>
            <a:p>
              <a:pPr algn="l" defTabSz="1507846" rtl="0">
                <a:defRPr/>
              </a:pPr>
              <a:r>
                <a:rPr lang="es-ES" sz="1979" kern="1200">
                  <a:solidFill>
                    <a:srgbClr val="2B0A3D"/>
                  </a:solidFill>
                  <a:latin typeface="Ubuntu" panose="020B0504030602030204" pitchFamily="34" charset="0"/>
                  <a:ea typeface="+mn-ea"/>
                  <a:cs typeface="+mn-cs"/>
                </a:rPr>
                <a:t>Pages</a:t>
              </a:r>
            </a:p>
          </p:txBody>
        </p:sp>
        <p:sp>
          <p:nvSpPr>
            <p:cNvPr id="47" name="Rectángulo 46">
              <a:extLst>
                <a:ext uri="{FF2B5EF4-FFF2-40B4-BE49-F238E27FC236}">
                  <a16:creationId xmlns:a16="http://schemas.microsoft.com/office/drawing/2014/main" id="{CB00BC7A-9CDB-47E1-B808-723999D5F130}"/>
                </a:ext>
              </a:extLst>
            </p:cNvPr>
            <p:cNvSpPr/>
            <p:nvPr/>
          </p:nvSpPr>
          <p:spPr>
            <a:xfrm>
              <a:off x="4278771" y="3285775"/>
              <a:ext cx="734183" cy="809310"/>
            </a:xfrm>
            <a:prstGeom prst="rect">
              <a:avLst/>
            </a:prstGeom>
            <a:no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507846" rtl="0">
                <a:defRPr/>
              </a:pPr>
              <a:endParaRPr lang="es-ES" sz="1731" kern="1200">
                <a:solidFill>
                  <a:srgbClr val="000000"/>
                </a:solidFill>
                <a:latin typeface="Verdana"/>
              </a:endParaRPr>
            </a:p>
          </p:txBody>
        </p:sp>
        <p:cxnSp>
          <p:nvCxnSpPr>
            <p:cNvPr id="48" name="Conector recto 47">
              <a:extLst>
                <a:ext uri="{FF2B5EF4-FFF2-40B4-BE49-F238E27FC236}">
                  <a16:creationId xmlns:a16="http://schemas.microsoft.com/office/drawing/2014/main" id="{392E972C-F883-425B-8899-F1A428CEEDF2}"/>
                </a:ext>
              </a:extLst>
            </p:cNvPr>
            <p:cNvCxnSpPr>
              <a:cxnSpLocks/>
            </p:cNvCxnSpPr>
            <p:nvPr/>
          </p:nvCxnSpPr>
          <p:spPr>
            <a:xfrm>
              <a:off x="4645862" y="4089759"/>
              <a:ext cx="0" cy="253494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49" name="CuadroTexto 48">
              <a:extLst>
                <a:ext uri="{FF2B5EF4-FFF2-40B4-BE49-F238E27FC236}">
                  <a16:creationId xmlns:a16="http://schemas.microsoft.com/office/drawing/2014/main" id="{5965C6E9-6AC2-4F87-BE76-D916CF885564}"/>
                </a:ext>
              </a:extLst>
            </p:cNvPr>
            <p:cNvSpPr txBox="1"/>
            <p:nvPr/>
          </p:nvSpPr>
          <p:spPr>
            <a:xfrm>
              <a:off x="4762333" y="6120862"/>
              <a:ext cx="2035820" cy="340772"/>
            </a:xfrm>
            <a:prstGeom prst="rect">
              <a:avLst/>
            </a:prstGeom>
            <a:noFill/>
          </p:spPr>
          <p:txBody>
            <a:bodyPr wrap="none" rtlCol="0">
              <a:spAutoFit/>
            </a:bodyPr>
            <a:lstStyle/>
            <a:p>
              <a:pPr algn="l" defTabSz="1507846" rtl="0">
                <a:defRPr/>
              </a:pPr>
              <a:r>
                <a:rPr lang="es-ES" sz="1979" kern="1200">
                  <a:solidFill>
                    <a:srgbClr val="2B0A3D"/>
                  </a:solidFill>
                  <a:latin typeface="Ubuntu" panose="020B0504030602030204" pitchFamily="34" charset="0"/>
                  <a:ea typeface="+mn-ea"/>
                  <a:cs typeface="+mn-cs"/>
                </a:rPr>
                <a:t>Visual components</a:t>
              </a:r>
            </a:p>
          </p:txBody>
        </p:sp>
        <p:sp>
          <p:nvSpPr>
            <p:cNvPr id="50" name="CuadroTexto 49">
              <a:extLst>
                <a:ext uri="{FF2B5EF4-FFF2-40B4-BE49-F238E27FC236}">
                  <a16:creationId xmlns:a16="http://schemas.microsoft.com/office/drawing/2014/main" id="{DDF313AC-4D26-4701-9C70-BF48B32CF22C}"/>
                </a:ext>
              </a:extLst>
            </p:cNvPr>
            <p:cNvSpPr txBox="1"/>
            <p:nvPr/>
          </p:nvSpPr>
          <p:spPr>
            <a:xfrm>
              <a:off x="2454710" y="3936542"/>
              <a:ext cx="1525095" cy="384262"/>
            </a:xfrm>
            <a:prstGeom prst="rect">
              <a:avLst/>
            </a:prstGeom>
            <a:noFill/>
          </p:spPr>
          <p:txBody>
            <a:bodyPr wrap="square" rtlCol="0">
              <a:spAutoFit/>
            </a:bodyPr>
            <a:lstStyle/>
            <a:p>
              <a:pPr algn="l" defTabSz="1507846" rtl="0">
                <a:defRPr/>
              </a:pPr>
              <a:r>
                <a:rPr lang="en-US" sz="1154" kern="1200">
                  <a:solidFill>
                    <a:srgbClr val="000000"/>
                  </a:solidFill>
                  <a:latin typeface="Ubuntu Light" panose="020B0304030602030204" pitchFamily="34" charset="0"/>
                  <a:ea typeface="+mn-ea"/>
                  <a:cs typeface="+mn-cs"/>
                </a:rPr>
                <a:t>Visual components aggregator</a:t>
              </a:r>
            </a:p>
          </p:txBody>
        </p:sp>
        <p:sp>
          <p:nvSpPr>
            <p:cNvPr id="51" name="CuadroTexto 50">
              <a:extLst>
                <a:ext uri="{FF2B5EF4-FFF2-40B4-BE49-F238E27FC236}">
                  <a16:creationId xmlns:a16="http://schemas.microsoft.com/office/drawing/2014/main" id="{47CFBFBB-EDCC-41BD-880F-D059C811152B}"/>
                </a:ext>
              </a:extLst>
            </p:cNvPr>
            <p:cNvSpPr txBox="1"/>
            <p:nvPr/>
          </p:nvSpPr>
          <p:spPr>
            <a:xfrm>
              <a:off x="4762333" y="6404855"/>
              <a:ext cx="2656936" cy="231769"/>
            </a:xfrm>
            <a:prstGeom prst="rect">
              <a:avLst/>
            </a:prstGeom>
            <a:noFill/>
          </p:spPr>
          <p:txBody>
            <a:bodyPr wrap="square" rtlCol="0">
              <a:spAutoFit/>
            </a:bodyPr>
            <a:lstStyle/>
            <a:p>
              <a:pPr algn="l" defTabSz="1507846" rtl="0">
                <a:defRPr/>
              </a:pPr>
              <a:r>
                <a:rPr lang="es-ES" sz="1154" kern="1200" err="1">
                  <a:solidFill>
                    <a:srgbClr val="000000"/>
                  </a:solidFill>
                  <a:latin typeface="Ubuntu Light" panose="020B0304030602030204" pitchFamily="34" charset="0"/>
                  <a:ea typeface="+mn-ea"/>
                  <a:cs typeface="+mn-cs"/>
                </a:rPr>
                <a:t>Graphical</a:t>
              </a:r>
              <a:r>
                <a:rPr lang="es-ES" sz="1154" kern="1200">
                  <a:solidFill>
                    <a:srgbClr val="000000"/>
                  </a:solidFill>
                  <a:latin typeface="Ubuntu Light" panose="020B0304030602030204" pitchFamily="34" charset="0"/>
                  <a:ea typeface="+mn-ea"/>
                  <a:cs typeface="+mn-cs"/>
                </a:rPr>
                <a:t> </a:t>
              </a:r>
              <a:r>
                <a:rPr lang="es-ES" sz="1154" kern="1200" err="1">
                  <a:solidFill>
                    <a:srgbClr val="000000"/>
                  </a:solidFill>
                  <a:latin typeface="Ubuntu Light" panose="020B0304030602030204" pitchFamily="34" charset="0"/>
                  <a:ea typeface="+mn-ea"/>
                  <a:cs typeface="+mn-cs"/>
                </a:rPr>
                <a:t>visualization</a:t>
              </a:r>
              <a:r>
                <a:rPr lang="es-ES" sz="1154" kern="1200">
                  <a:solidFill>
                    <a:srgbClr val="000000"/>
                  </a:solidFill>
                  <a:latin typeface="Ubuntu Light" panose="020B0304030602030204" pitchFamily="34" charset="0"/>
                  <a:ea typeface="+mn-ea"/>
                  <a:cs typeface="+mn-cs"/>
                </a:rPr>
                <a:t> of an </a:t>
              </a:r>
              <a:r>
                <a:rPr lang="es-ES" sz="1154" kern="1200" err="1">
                  <a:solidFill>
                    <a:srgbClr val="000000"/>
                  </a:solidFill>
                  <a:latin typeface="Ubuntu Light" panose="020B0304030602030204" pitchFamily="34" charset="0"/>
                  <a:ea typeface="+mn-ea"/>
                  <a:cs typeface="+mn-cs"/>
                </a:rPr>
                <a:t>indicator</a:t>
              </a:r>
              <a:endParaRPr lang="es-ES" sz="1154" kern="1200">
                <a:solidFill>
                  <a:srgbClr val="000000"/>
                </a:solidFill>
                <a:latin typeface="Ubuntu Light" panose="020B0304030602030204" pitchFamily="34" charset="0"/>
                <a:ea typeface="+mn-ea"/>
                <a:cs typeface="+mn-cs"/>
              </a:endParaRPr>
            </a:p>
          </p:txBody>
        </p:sp>
        <p:sp>
          <p:nvSpPr>
            <p:cNvPr id="52" name="Rectángulo 51">
              <a:extLst>
                <a:ext uri="{FF2B5EF4-FFF2-40B4-BE49-F238E27FC236}">
                  <a16:creationId xmlns:a16="http://schemas.microsoft.com/office/drawing/2014/main" id="{8DF1BB30-135C-4045-B41A-5BBCEB3D340A}"/>
                </a:ext>
              </a:extLst>
            </p:cNvPr>
            <p:cNvSpPr/>
            <p:nvPr/>
          </p:nvSpPr>
          <p:spPr>
            <a:xfrm>
              <a:off x="4955374" y="2807170"/>
              <a:ext cx="2064551" cy="207479"/>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507846" rtl="0">
                <a:defRPr/>
              </a:pPr>
              <a:endParaRPr lang="es-ES" sz="1731" kern="1200">
                <a:solidFill>
                  <a:srgbClr val="000000"/>
                </a:solidFill>
                <a:latin typeface="Verdana"/>
              </a:endParaRPr>
            </a:p>
          </p:txBody>
        </p:sp>
        <p:cxnSp>
          <p:nvCxnSpPr>
            <p:cNvPr id="53" name="Conector recto 52">
              <a:extLst>
                <a:ext uri="{FF2B5EF4-FFF2-40B4-BE49-F238E27FC236}">
                  <a16:creationId xmlns:a16="http://schemas.microsoft.com/office/drawing/2014/main" id="{5C199631-16F5-4B10-ADA6-40A1227B4CE2}"/>
                </a:ext>
              </a:extLst>
            </p:cNvPr>
            <p:cNvCxnSpPr>
              <a:cxnSpLocks/>
            </p:cNvCxnSpPr>
            <p:nvPr/>
          </p:nvCxnSpPr>
          <p:spPr>
            <a:xfrm>
              <a:off x="1485062" y="2976545"/>
              <a:ext cx="3465549"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54" name="CuadroTexto 53">
              <a:extLst>
                <a:ext uri="{FF2B5EF4-FFF2-40B4-BE49-F238E27FC236}">
                  <a16:creationId xmlns:a16="http://schemas.microsoft.com/office/drawing/2014/main" id="{F176935E-A1AB-4CB1-9E5E-70E5C004636B}"/>
                </a:ext>
              </a:extLst>
            </p:cNvPr>
            <p:cNvSpPr txBox="1"/>
            <p:nvPr/>
          </p:nvSpPr>
          <p:spPr>
            <a:xfrm>
              <a:off x="1386502" y="2607213"/>
              <a:ext cx="782013" cy="340772"/>
            </a:xfrm>
            <a:prstGeom prst="rect">
              <a:avLst/>
            </a:prstGeom>
            <a:noFill/>
          </p:spPr>
          <p:txBody>
            <a:bodyPr wrap="none" rtlCol="0">
              <a:spAutoFit/>
            </a:bodyPr>
            <a:lstStyle/>
            <a:p>
              <a:pPr algn="l" defTabSz="1507846" rtl="0">
                <a:defRPr/>
              </a:pPr>
              <a:r>
                <a:rPr lang="es-ES" sz="1979" kern="1200" err="1">
                  <a:solidFill>
                    <a:srgbClr val="2B0A3D"/>
                  </a:solidFill>
                  <a:latin typeface="Ubuntu" panose="020B0504030602030204" pitchFamily="34" charset="0"/>
                  <a:ea typeface="+mn-ea"/>
                  <a:cs typeface="+mn-cs"/>
                </a:rPr>
                <a:t>Filters</a:t>
              </a:r>
              <a:endParaRPr lang="es-ES" sz="1979" kern="1200">
                <a:solidFill>
                  <a:srgbClr val="2B0A3D"/>
                </a:solidFill>
                <a:latin typeface="Ubuntu" panose="020B0504030602030204" pitchFamily="34" charset="0"/>
                <a:ea typeface="+mn-ea"/>
                <a:cs typeface="+mn-cs"/>
              </a:endParaRPr>
            </a:p>
          </p:txBody>
        </p:sp>
        <p:sp>
          <p:nvSpPr>
            <p:cNvPr id="55" name="CuadroTexto 54">
              <a:extLst>
                <a:ext uri="{FF2B5EF4-FFF2-40B4-BE49-F238E27FC236}">
                  <a16:creationId xmlns:a16="http://schemas.microsoft.com/office/drawing/2014/main" id="{6694A213-ECDF-4BFB-B3FC-A57617C5A94A}"/>
                </a:ext>
              </a:extLst>
            </p:cNvPr>
            <p:cNvSpPr txBox="1"/>
            <p:nvPr/>
          </p:nvSpPr>
          <p:spPr>
            <a:xfrm>
              <a:off x="1386503" y="3005581"/>
              <a:ext cx="2442549" cy="231769"/>
            </a:xfrm>
            <a:prstGeom prst="rect">
              <a:avLst/>
            </a:prstGeom>
            <a:noFill/>
          </p:spPr>
          <p:txBody>
            <a:bodyPr wrap="square" rtlCol="0">
              <a:spAutoFit/>
            </a:bodyPr>
            <a:lstStyle/>
            <a:p>
              <a:pPr algn="l" defTabSz="1507846" rtl="0">
                <a:defRPr/>
              </a:pPr>
              <a:r>
                <a:rPr lang="en-US" sz="1154" kern="1200">
                  <a:solidFill>
                    <a:srgbClr val="000000"/>
                  </a:solidFill>
                  <a:latin typeface="Ubuntu Light" panose="020B0304030602030204" pitchFamily="34" charset="0"/>
                  <a:ea typeface="+mn-ea"/>
                  <a:cs typeface="+mn-cs"/>
                </a:rPr>
                <a:t>Dynamic filters with customized criteria. </a:t>
              </a:r>
            </a:p>
          </p:txBody>
        </p:sp>
      </p:grpSp>
      <p:pic>
        <p:nvPicPr>
          <p:cNvPr id="11" name="Imagen 10" descr="Interfaz de usuario gráfica&#10;&#10;Descripción generada automáticamente">
            <a:extLst>
              <a:ext uri="{FF2B5EF4-FFF2-40B4-BE49-F238E27FC236}">
                <a16:creationId xmlns:a16="http://schemas.microsoft.com/office/drawing/2014/main" id="{4A28D316-50C5-4FD3-BB4C-7E90F9AD102E}"/>
              </a:ext>
            </a:extLst>
          </p:cNvPr>
          <p:cNvPicPr>
            <a:picLocks noChangeAspect="1"/>
          </p:cNvPicPr>
          <p:nvPr/>
        </p:nvPicPr>
        <p:blipFill>
          <a:blip r:embed="rId14"/>
          <a:stretch>
            <a:fillRect/>
          </a:stretch>
        </p:blipFill>
        <p:spPr>
          <a:xfrm>
            <a:off x="13759630" y="606385"/>
            <a:ext cx="3031363" cy="1440400"/>
          </a:xfrm>
          <a:prstGeom prst="rect">
            <a:avLst/>
          </a:prstGeom>
        </p:spPr>
      </p:pic>
    </p:spTree>
    <p:extLst>
      <p:ext uri="{BB962C8B-B14F-4D97-AF65-F5344CB8AC3E}">
        <p14:creationId xmlns:p14="http://schemas.microsoft.com/office/powerpoint/2010/main" val="170444782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4ED7EB9-1010-9551-7EC6-354F14AD6252}"/>
              </a:ext>
            </a:extLst>
          </p:cNvPr>
          <p:cNvPicPr>
            <a:picLocks noChangeAspect="1"/>
          </p:cNvPicPr>
          <p:nvPr/>
        </p:nvPicPr>
        <p:blipFill>
          <a:blip r:embed="rId2"/>
          <a:stretch>
            <a:fillRect/>
          </a:stretch>
        </p:blipFill>
        <p:spPr>
          <a:xfrm>
            <a:off x="7240312" y="3356188"/>
            <a:ext cx="6753280" cy="3818076"/>
          </a:xfrm>
          <a:prstGeom prst="rect">
            <a:avLst/>
          </a:prstGeom>
        </p:spPr>
      </p:pic>
      <p:pic>
        <p:nvPicPr>
          <p:cNvPr id="5" name="Picture 4">
            <a:extLst>
              <a:ext uri="{FF2B5EF4-FFF2-40B4-BE49-F238E27FC236}">
                <a16:creationId xmlns:a16="http://schemas.microsoft.com/office/drawing/2014/main" id="{191CB24C-3520-85AE-36F6-EFE587F6C06C}"/>
              </a:ext>
            </a:extLst>
          </p:cNvPr>
          <p:cNvPicPr>
            <a:picLocks noChangeAspect="1"/>
          </p:cNvPicPr>
          <p:nvPr/>
        </p:nvPicPr>
        <p:blipFill>
          <a:blip r:embed="rId3"/>
          <a:stretch>
            <a:fillRect/>
          </a:stretch>
        </p:blipFill>
        <p:spPr>
          <a:xfrm>
            <a:off x="12031510" y="1994743"/>
            <a:ext cx="6946853" cy="3864632"/>
          </a:xfrm>
          <a:prstGeom prst="rect">
            <a:avLst/>
          </a:prstGeom>
        </p:spPr>
      </p:pic>
      <p:sp>
        <p:nvSpPr>
          <p:cNvPr id="3" name="Título 2">
            <a:extLst>
              <a:ext uri="{FF2B5EF4-FFF2-40B4-BE49-F238E27FC236}">
                <a16:creationId xmlns:a16="http://schemas.microsoft.com/office/drawing/2014/main" id="{CA30DD93-8CB8-D94F-AC13-BE988FDF4853}"/>
              </a:ext>
            </a:extLst>
          </p:cNvPr>
          <p:cNvSpPr>
            <a:spLocks noGrp="1"/>
          </p:cNvSpPr>
          <p:nvPr>
            <p:ph type="title"/>
          </p:nvPr>
        </p:nvSpPr>
        <p:spPr>
          <a:xfrm>
            <a:off x="672755" y="677442"/>
            <a:ext cx="6332013" cy="1424040"/>
          </a:xfrm>
        </p:spPr>
        <p:txBody>
          <a:bodyPr/>
          <a:lstStyle/>
          <a:p>
            <a:r>
              <a:rPr lang="es-ES" dirty="0" err="1"/>
              <a:t>Metrics</a:t>
            </a:r>
            <a:r>
              <a:rPr lang="es-ES" dirty="0"/>
              <a:t> and </a:t>
            </a:r>
            <a:r>
              <a:rPr lang="es-ES" dirty="0" err="1"/>
              <a:t>KPIs</a:t>
            </a:r>
            <a:endParaRPr lang="es-ES" dirty="0"/>
          </a:p>
        </p:txBody>
      </p:sp>
      <p:sp>
        <p:nvSpPr>
          <p:cNvPr id="94" name="Google Shape;164;p16">
            <a:extLst>
              <a:ext uri="{FF2B5EF4-FFF2-40B4-BE49-F238E27FC236}">
                <a16:creationId xmlns:a16="http://schemas.microsoft.com/office/drawing/2014/main" id="{A801331C-8959-493E-A2FF-38CBE0046C02}"/>
              </a:ext>
            </a:extLst>
          </p:cNvPr>
          <p:cNvSpPr/>
          <p:nvPr/>
        </p:nvSpPr>
        <p:spPr>
          <a:xfrm>
            <a:off x="10843248" y="970512"/>
            <a:ext cx="177712" cy="179524"/>
          </a:xfrm>
          <a:custGeom>
            <a:avLst/>
            <a:gdLst/>
            <a:ahLst/>
            <a:cxnLst/>
            <a:rect l="l" t="t" r="r" b="b"/>
            <a:pathLst>
              <a:path w="3042" h="3073" extrusionOk="0">
                <a:moveTo>
                  <a:pt x="1521" y="1"/>
                </a:moveTo>
                <a:cubicBezTo>
                  <a:pt x="666" y="1"/>
                  <a:pt x="1" y="697"/>
                  <a:pt x="1" y="1552"/>
                </a:cubicBezTo>
                <a:cubicBezTo>
                  <a:pt x="1" y="2376"/>
                  <a:pt x="666" y="3072"/>
                  <a:pt x="1521" y="3072"/>
                </a:cubicBezTo>
                <a:cubicBezTo>
                  <a:pt x="2376" y="3072"/>
                  <a:pt x="3041" y="2376"/>
                  <a:pt x="3041" y="1552"/>
                </a:cubicBezTo>
                <a:cubicBezTo>
                  <a:pt x="3041" y="697"/>
                  <a:pt x="2376" y="1"/>
                  <a:pt x="1521" y="1"/>
                </a:cubicBezTo>
                <a:close/>
              </a:path>
            </a:pathLst>
          </a:custGeom>
          <a:solidFill>
            <a:schemeClr val="accent3"/>
          </a:solidFill>
          <a:ln>
            <a:noFill/>
          </a:ln>
        </p:spPr>
        <p:txBody>
          <a:bodyPr spcFirstLastPara="1" wrap="square" lIns="150756" tIns="150756" rIns="150756" bIns="150756" anchor="ctr" anchorCtr="0">
            <a:noAutofit/>
          </a:bodyPr>
          <a:lstStyle/>
          <a:p>
            <a:pPr algn="l" defTabSz="1507846" rtl="0">
              <a:defRPr/>
            </a:pPr>
            <a:endParaRPr sz="2968" kern="1200">
              <a:solidFill>
                <a:srgbClr val="000000"/>
              </a:solidFill>
              <a:latin typeface="Verdana"/>
              <a:ea typeface="+mn-ea"/>
              <a:cs typeface="+mn-cs"/>
            </a:endParaRPr>
          </a:p>
        </p:txBody>
      </p:sp>
      <p:cxnSp>
        <p:nvCxnSpPr>
          <p:cNvPr id="95" name="Straight Connector 94">
            <a:extLst>
              <a:ext uri="{FF2B5EF4-FFF2-40B4-BE49-F238E27FC236}">
                <a16:creationId xmlns:a16="http://schemas.microsoft.com/office/drawing/2014/main" id="{A7066C07-7A66-4348-9CF3-C366C456CC3D}"/>
              </a:ext>
            </a:extLst>
          </p:cNvPr>
          <p:cNvCxnSpPr>
            <a:cxnSpLocks/>
          </p:cNvCxnSpPr>
          <p:nvPr/>
        </p:nvCxnSpPr>
        <p:spPr>
          <a:xfrm>
            <a:off x="11055970" y="1061571"/>
            <a:ext cx="1429530"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
        <p:nvSpPr>
          <p:cNvPr id="96" name="Elipse 90">
            <a:extLst>
              <a:ext uri="{FF2B5EF4-FFF2-40B4-BE49-F238E27FC236}">
                <a16:creationId xmlns:a16="http://schemas.microsoft.com/office/drawing/2014/main" id="{9DD7967F-827B-4882-B67D-F4275CE55F1D}"/>
              </a:ext>
            </a:extLst>
          </p:cNvPr>
          <p:cNvSpPr/>
          <p:nvPr/>
        </p:nvSpPr>
        <p:spPr>
          <a:xfrm>
            <a:off x="12501929" y="704575"/>
            <a:ext cx="711394" cy="711394"/>
          </a:xfrm>
          <a:prstGeom prst="ellipse">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507846" rtl="0">
              <a:defRPr/>
            </a:pPr>
            <a:endParaRPr lang="es-ES" sz="2309" kern="1200" dirty="0">
              <a:solidFill>
                <a:srgbClr val="000000"/>
              </a:solidFill>
              <a:latin typeface="Verdana"/>
            </a:endParaRPr>
          </a:p>
        </p:txBody>
      </p:sp>
      <p:sp>
        <p:nvSpPr>
          <p:cNvPr id="97" name="Google Shape;178;p16">
            <a:extLst>
              <a:ext uri="{FF2B5EF4-FFF2-40B4-BE49-F238E27FC236}">
                <a16:creationId xmlns:a16="http://schemas.microsoft.com/office/drawing/2014/main" id="{20E3C0E6-F9CE-49FF-A443-FFA58D988824}"/>
              </a:ext>
            </a:extLst>
          </p:cNvPr>
          <p:cNvSpPr txBox="1"/>
          <p:nvPr/>
        </p:nvSpPr>
        <p:spPr>
          <a:xfrm>
            <a:off x="13315807" y="606276"/>
            <a:ext cx="2403640" cy="907992"/>
          </a:xfrm>
          <a:prstGeom prst="rect">
            <a:avLst/>
          </a:prstGeom>
          <a:noFill/>
          <a:ln>
            <a:noFill/>
          </a:ln>
        </p:spPr>
        <p:txBody>
          <a:bodyPr spcFirstLastPara="1" wrap="square" lIns="150756" tIns="150756" rIns="150756" bIns="150756" anchor="ctr" anchorCtr="0">
            <a:noAutofit/>
          </a:bodyPr>
          <a:lstStyle/>
          <a:p>
            <a:pPr algn="l" defTabSz="1507846" rtl="0">
              <a:lnSpc>
                <a:spcPts val="1979"/>
              </a:lnSpc>
              <a:defRPr/>
            </a:pPr>
            <a:r>
              <a:rPr lang="es-ES" sz="1979" b="1" kern="1200" dirty="0" err="1">
                <a:solidFill>
                  <a:srgbClr val="2B0A3D"/>
                </a:solidFill>
                <a:latin typeface="Ubuntu" panose="020B0504030602030204" pitchFamily="34" charset="0"/>
                <a:ea typeface="+mn-ea"/>
                <a:cs typeface="+mn-cs"/>
                <a:sym typeface="Fira Sans Medium"/>
              </a:rPr>
              <a:t>Metrics</a:t>
            </a:r>
            <a:r>
              <a:rPr lang="es-ES" sz="1979" b="1" kern="1200" dirty="0">
                <a:solidFill>
                  <a:srgbClr val="2B0A3D"/>
                </a:solidFill>
                <a:latin typeface="Ubuntu" panose="020B0504030602030204" pitchFamily="34" charset="0"/>
                <a:ea typeface="+mn-ea"/>
                <a:cs typeface="+mn-cs"/>
                <a:sym typeface="Fira Sans Medium"/>
              </a:rPr>
              <a:t> and </a:t>
            </a:r>
            <a:r>
              <a:rPr lang="es-ES" sz="1979" b="1" kern="1200" dirty="0" err="1">
                <a:solidFill>
                  <a:srgbClr val="2B0A3D"/>
                </a:solidFill>
                <a:latin typeface="Ubuntu" panose="020B0504030602030204" pitchFamily="34" charset="0"/>
                <a:ea typeface="+mn-ea"/>
                <a:cs typeface="+mn-cs"/>
                <a:sym typeface="Fira Sans Medium"/>
              </a:rPr>
              <a:t>KPIs</a:t>
            </a:r>
            <a:endParaRPr lang="en" sz="1979" b="1" kern="1200" dirty="0">
              <a:solidFill>
                <a:srgbClr val="2B0A3D"/>
              </a:solidFill>
              <a:latin typeface="Ubuntu" panose="020B0504030602030204" pitchFamily="34" charset="0"/>
              <a:ea typeface="+mn-ea"/>
              <a:cs typeface="+mn-cs"/>
              <a:sym typeface="Fira Sans Medium"/>
            </a:endParaRPr>
          </a:p>
        </p:txBody>
      </p:sp>
      <p:pic>
        <p:nvPicPr>
          <p:cNvPr id="98" name="Graphic 97" descr="Pie chart">
            <a:extLst>
              <a:ext uri="{FF2B5EF4-FFF2-40B4-BE49-F238E27FC236}">
                <a16:creationId xmlns:a16="http://schemas.microsoft.com/office/drawing/2014/main" id="{52AC9DC5-2AA2-4BDE-B300-2E9D7AD1AF8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2548143" y="750790"/>
            <a:ext cx="618965" cy="618965"/>
          </a:xfrm>
          <a:prstGeom prst="rect">
            <a:avLst/>
          </a:prstGeom>
        </p:spPr>
      </p:pic>
      <p:sp>
        <p:nvSpPr>
          <p:cNvPr id="101" name="TextBox 100">
            <a:extLst>
              <a:ext uri="{FF2B5EF4-FFF2-40B4-BE49-F238E27FC236}">
                <a16:creationId xmlns:a16="http://schemas.microsoft.com/office/drawing/2014/main" id="{B68B200A-9490-4814-B362-7277517146BC}"/>
              </a:ext>
            </a:extLst>
          </p:cNvPr>
          <p:cNvSpPr txBox="1"/>
          <p:nvPr/>
        </p:nvSpPr>
        <p:spPr>
          <a:xfrm>
            <a:off x="13430356" y="549814"/>
            <a:ext cx="2174542" cy="358688"/>
          </a:xfrm>
          <a:prstGeom prst="rect">
            <a:avLst/>
          </a:prstGeom>
          <a:noFill/>
        </p:spPr>
        <p:txBody>
          <a:bodyPr wrap="square" rtlCol="0">
            <a:spAutoFit/>
          </a:bodyPr>
          <a:lstStyle/>
          <a:p>
            <a:pPr algn="l" defTabSz="1507846" rtl="0">
              <a:defRPr/>
            </a:pPr>
            <a:r>
              <a:rPr lang="es-ES" sz="1731" kern="1200" dirty="0" err="1">
                <a:solidFill>
                  <a:srgbClr val="2B0A3D"/>
                </a:solidFill>
                <a:latin typeface="Ubuntu Mono" panose="020B0509030602030204" pitchFamily="49" charset="0"/>
                <a:ea typeface="+mn-ea"/>
                <a:cs typeface="+mn-cs"/>
              </a:rPr>
              <a:t>Make</a:t>
            </a:r>
            <a:r>
              <a:rPr lang="es-ES" sz="1731" kern="1200" dirty="0">
                <a:solidFill>
                  <a:srgbClr val="2B0A3D"/>
                </a:solidFill>
                <a:latin typeface="Ubuntu Mono" panose="020B0509030602030204" pitchFamily="49" charset="0"/>
                <a:ea typeface="+mn-ea"/>
                <a:cs typeface="+mn-cs"/>
              </a:rPr>
              <a:t> visible</a:t>
            </a:r>
            <a:endParaRPr lang="en-GB" sz="1731" kern="1200" dirty="0">
              <a:solidFill>
                <a:srgbClr val="2B0A3D"/>
              </a:solidFill>
              <a:latin typeface="Ubuntu Mono" panose="020B0509030602030204" pitchFamily="49" charset="0"/>
              <a:ea typeface="+mn-ea"/>
              <a:cs typeface="+mn-cs"/>
            </a:endParaRPr>
          </a:p>
        </p:txBody>
      </p:sp>
      <p:pic>
        <p:nvPicPr>
          <p:cNvPr id="103" name="Graphic 102" descr="Pie chart">
            <a:extLst>
              <a:ext uri="{FF2B5EF4-FFF2-40B4-BE49-F238E27FC236}">
                <a16:creationId xmlns:a16="http://schemas.microsoft.com/office/drawing/2014/main" id="{028A4B92-A97F-437A-B398-99AC9262F8F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82170" y="1415969"/>
            <a:ext cx="2683048" cy="2683048"/>
          </a:xfrm>
          <a:prstGeom prst="rect">
            <a:avLst/>
          </a:prstGeom>
        </p:spPr>
      </p:pic>
      <p:pic>
        <p:nvPicPr>
          <p:cNvPr id="9" name="Picture 8">
            <a:extLst>
              <a:ext uri="{FF2B5EF4-FFF2-40B4-BE49-F238E27FC236}">
                <a16:creationId xmlns:a16="http://schemas.microsoft.com/office/drawing/2014/main" id="{C4257E05-DD33-1D99-9DB7-73C181C3FF97}"/>
              </a:ext>
            </a:extLst>
          </p:cNvPr>
          <p:cNvPicPr>
            <a:picLocks noChangeAspect="1"/>
          </p:cNvPicPr>
          <p:nvPr/>
        </p:nvPicPr>
        <p:blipFill>
          <a:blip r:embed="rId6"/>
          <a:stretch>
            <a:fillRect/>
          </a:stretch>
        </p:blipFill>
        <p:spPr>
          <a:xfrm>
            <a:off x="10591396" y="6052057"/>
            <a:ext cx="7206304" cy="4024173"/>
          </a:xfrm>
          <a:prstGeom prst="rect">
            <a:avLst/>
          </a:prstGeom>
        </p:spPr>
      </p:pic>
      <p:pic>
        <p:nvPicPr>
          <p:cNvPr id="107" name="Imagen 33">
            <a:extLst>
              <a:ext uri="{FF2B5EF4-FFF2-40B4-BE49-F238E27FC236}">
                <a16:creationId xmlns:a16="http://schemas.microsoft.com/office/drawing/2014/main" id="{43CA356D-FE53-4FF4-A2E8-734B8A8393A1}"/>
              </a:ext>
            </a:extLst>
          </p:cNvPr>
          <p:cNvPicPr>
            <a:picLocks noChangeAspect="1"/>
          </p:cNvPicPr>
          <p:nvPr/>
        </p:nvPicPr>
        <p:blipFill>
          <a:blip r:embed="rId7"/>
          <a:stretch>
            <a:fillRect/>
          </a:stretch>
        </p:blipFill>
        <p:spPr>
          <a:xfrm>
            <a:off x="5289753" y="5265226"/>
            <a:ext cx="4944857" cy="5447585"/>
          </a:xfrm>
          <a:prstGeom prst="rect">
            <a:avLst/>
          </a:prstGeom>
        </p:spPr>
      </p:pic>
      <p:sp>
        <p:nvSpPr>
          <p:cNvPr id="13" name="TextBox 12">
            <a:extLst>
              <a:ext uri="{FF2B5EF4-FFF2-40B4-BE49-F238E27FC236}">
                <a16:creationId xmlns:a16="http://schemas.microsoft.com/office/drawing/2014/main" id="{EB0BB27A-EF90-CB6D-63BE-4B28190DD9A5}"/>
              </a:ext>
            </a:extLst>
          </p:cNvPr>
          <p:cNvSpPr txBox="1"/>
          <p:nvPr/>
        </p:nvSpPr>
        <p:spPr>
          <a:xfrm>
            <a:off x="584982" y="4397677"/>
            <a:ext cx="6123061" cy="523220"/>
          </a:xfrm>
          <a:prstGeom prst="rect">
            <a:avLst/>
          </a:prstGeom>
          <a:noFill/>
        </p:spPr>
        <p:txBody>
          <a:bodyPr wrap="square">
            <a:spAutoFit/>
          </a:bodyPr>
          <a:lstStyle/>
          <a:p>
            <a:r>
              <a:rPr lang="en-US" sz="2800" b="1" dirty="0" err="1">
                <a:solidFill>
                  <a:schemeClr val="tx2"/>
                </a:solidFill>
              </a:rPr>
              <a:t>QADashboards</a:t>
            </a:r>
            <a:r>
              <a:rPr lang="en-US" sz="2800" b="1" dirty="0">
                <a:solidFill>
                  <a:schemeClr val="tx2"/>
                </a:solidFill>
              </a:rPr>
              <a:t> to make decisions</a:t>
            </a:r>
          </a:p>
        </p:txBody>
      </p:sp>
      <p:sp>
        <p:nvSpPr>
          <p:cNvPr id="16" name="TextBox 15">
            <a:extLst>
              <a:ext uri="{FF2B5EF4-FFF2-40B4-BE49-F238E27FC236}">
                <a16:creationId xmlns:a16="http://schemas.microsoft.com/office/drawing/2014/main" id="{08A78B76-5676-6FB4-B3C3-0E9320B9F5E9}"/>
              </a:ext>
            </a:extLst>
          </p:cNvPr>
          <p:cNvSpPr txBox="1"/>
          <p:nvPr/>
        </p:nvSpPr>
        <p:spPr>
          <a:xfrm>
            <a:off x="595815" y="4999845"/>
            <a:ext cx="3655759" cy="1719060"/>
          </a:xfrm>
          <a:prstGeom prst="rect">
            <a:avLst/>
          </a:prstGeom>
          <a:noFill/>
        </p:spPr>
        <p:txBody>
          <a:bodyPr wrap="square">
            <a:spAutoFit/>
          </a:bodyPr>
          <a:lstStyle/>
          <a:p>
            <a:pPr lvl="0" algn="just">
              <a:lnSpc>
                <a:spcPct val="120000"/>
              </a:lnSpc>
            </a:pPr>
            <a:r>
              <a:rPr lang="en-US" sz="1800" dirty="0">
                <a:solidFill>
                  <a:schemeClr val="tx2"/>
                </a:solidFill>
                <a:latin typeface="+mn-lt"/>
              </a:rPr>
              <a:t>We take advantage of the capabilities and techniques of Business Intelligence (BI) for analysis, through custom dashboards.</a:t>
            </a:r>
            <a:endParaRPr lang="es-ES_tradnl" sz="1800" dirty="0">
              <a:solidFill>
                <a:schemeClr val="tx2"/>
              </a:solidFill>
              <a:latin typeface="+mn-lt"/>
            </a:endParaRPr>
          </a:p>
        </p:txBody>
      </p:sp>
    </p:spTree>
    <p:extLst>
      <p:ext uri="{BB962C8B-B14F-4D97-AF65-F5344CB8AC3E}">
        <p14:creationId xmlns:p14="http://schemas.microsoft.com/office/powerpoint/2010/main" val="336626061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object 11"/>
          <p:cNvSpPr txBox="1"/>
          <p:nvPr/>
        </p:nvSpPr>
        <p:spPr>
          <a:xfrm>
            <a:off x="1247298" y="2876861"/>
            <a:ext cx="4894234" cy="3754618"/>
          </a:xfrm>
          <a:prstGeom prst="rect">
            <a:avLst/>
          </a:prstGeom>
        </p:spPr>
        <p:txBody>
          <a:bodyPr vert="horz" wrap="square" lIns="0" tIns="164465" rIns="0" bIns="0" rtlCol="0">
            <a:spAutoFit/>
          </a:bodyPr>
          <a:lstStyle/>
          <a:p>
            <a:pPr marL="12700" marR="0" lvl="0" indent="0" defTabSz="914400" eaLnBrk="1" fontAlgn="auto" latinLnBrk="0" hangingPunct="1">
              <a:lnSpc>
                <a:spcPct val="100000"/>
              </a:lnSpc>
              <a:spcBef>
                <a:spcPts val="1295"/>
              </a:spcBef>
              <a:spcAft>
                <a:spcPts val="0"/>
              </a:spcAft>
              <a:buClrTx/>
              <a:buSzTx/>
              <a:buFontTx/>
              <a:buNone/>
              <a:tabLst/>
              <a:defRPr/>
            </a:pPr>
            <a:r>
              <a:rPr kumimoji="0" lang="en-US" sz="2300" b="0" i="0" u="none" strike="noStrike" kern="0" cap="none" spc="-10" normalizeH="0" baseline="0" noProof="0" dirty="0">
                <a:ln>
                  <a:noFill/>
                </a:ln>
                <a:solidFill>
                  <a:srgbClr val="FFFFFF"/>
                </a:solidFill>
                <a:effectLst/>
                <a:uLnTx/>
                <a:uFillTx/>
                <a:latin typeface="Ubuntu"/>
                <a:cs typeface="Ubuntu"/>
              </a:rPr>
              <a:t>Through our solutions </a:t>
            </a:r>
            <a:r>
              <a:rPr kumimoji="0" lang="en-US" sz="2300" b="0" i="1" u="none" strike="noStrike" kern="0" cap="none" spc="-10" normalizeH="0" baseline="0" noProof="0" dirty="0">
                <a:ln>
                  <a:noFill/>
                </a:ln>
                <a:solidFill>
                  <a:srgbClr val="FFFFFF"/>
                </a:solidFill>
                <a:effectLst/>
                <a:uLnTx/>
                <a:uFillTx/>
                <a:latin typeface="Ubuntu"/>
                <a:cs typeface="Ubuntu"/>
              </a:rPr>
              <a:t>QADashboards, QualityEye and CognitiveQA </a:t>
            </a:r>
            <a:r>
              <a:rPr kumimoji="0" lang="en-US" sz="2300" b="0" i="0" u="none" strike="noStrike" kern="0" cap="none" spc="-10" normalizeH="0" baseline="0" noProof="0" dirty="0">
                <a:ln>
                  <a:noFill/>
                </a:ln>
                <a:solidFill>
                  <a:srgbClr val="FFFFFF"/>
                </a:solidFill>
                <a:effectLst/>
                <a:uLnTx/>
                <a:uFillTx/>
                <a:latin typeface="Ubuntu"/>
                <a:cs typeface="Ubuntu"/>
              </a:rPr>
              <a:t>we provide automated dashboards, insights and AI-based models to support Quality Engineering.</a:t>
            </a:r>
          </a:p>
          <a:p>
            <a:pPr marL="12700" marR="0" lvl="0" indent="0" defTabSz="914400" eaLnBrk="1" fontAlgn="auto" latinLnBrk="0" hangingPunct="1">
              <a:lnSpc>
                <a:spcPct val="100000"/>
              </a:lnSpc>
              <a:spcBef>
                <a:spcPts val="1295"/>
              </a:spcBef>
              <a:spcAft>
                <a:spcPts val="0"/>
              </a:spcAft>
              <a:buClrTx/>
              <a:buSzTx/>
              <a:buFontTx/>
              <a:buNone/>
              <a:tabLst/>
              <a:defRPr/>
            </a:pPr>
            <a:endParaRPr kumimoji="0" lang="en-US" sz="1500" b="1" i="0" u="none" strike="noStrike" kern="0" cap="none" spc="-10" normalizeH="0" baseline="0" noProof="0" dirty="0">
              <a:ln>
                <a:noFill/>
              </a:ln>
              <a:solidFill>
                <a:srgbClr val="FFFFFF"/>
              </a:solidFill>
              <a:effectLst/>
              <a:uLnTx/>
              <a:uFillTx/>
              <a:latin typeface="Ubuntu"/>
              <a:cs typeface="Ubuntu"/>
            </a:endParaRPr>
          </a:p>
          <a:p>
            <a:pPr marL="12700" marR="0" lvl="0" indent="0" defTabSz="914400" eaLnBrk="1" fontAlgn="auto" latinLnBrk="0" hangingPunct="1">
              <a:lnSpc>
                <a:spcPct val="100000"/>
              </a:lnSpc>
              <a:spcBef>
                <a:spcPts val="1295"/>
              </a:spcBef>
              <a:spcAft>
                <a:spcPts val="0"/>
              </a:spcAft>
              <a:buClrTx/>
              <a:buSzTx/>
              <a:buFontTx/>
              <a:buNone/>
              <a:tabLst/>
              <a:defRPr/>
            </a:pPr>
            <a:r>
              <a:rPr kumimoji="0" lang="en-US" sz="2800" b="1" i="0" u="none" strike="noStrike" kern="0" cap="none" spc="-10" normalizeH="0" baseline="0" noProof="0" dirty="0">
                <a:ln>
                  <a:noFill/>
                </a:ln>
                <a:solidFill>
                  <a:srgbClr val="FFFFFF"/>
                </a:solidFill>
                <a:effectLst/>
                <a:uLnTx/>
                <a:uFillTx/>
                <a:latin typeface="Ubuntu"/>
                <a:cs typeface="Ubuntu"/>
              </a:rPr>
              <a:t>Value we bring</a:t>
            </a:r>
          </a:p>
          <a:p>
            <a:pPr marL="459740" marR="104775" lvl="0" indent="-428625" defTabSz="914400" eaLnBrk="1" fontAlgn="auto" latinLnBrk="0" hangingPunct="1">
              <a:lnSpc>
                <a:spcPct val="110500"/>
              </a:lnSpc>
              <a:spcBef>
                <a:spcPts val="910"/>
              </a:spcBef>
              <a:spcAft>
                <a:spcPts val="0"/>
              </a:spcAft>
              <a:buClr>
                <a:srgbClr val="FFFFFF"/>
              </a:buClr>
              <a:buSzTx/>
              <a:buFont typeface="Wingdings"/>
              <a:buChar char=""/>
              <a:tabLst>
                <a:tab pos="485140" algn="l"/>
                <a:tab pos="485775" algn="l"/>
              </a:tabLst>
              <a:defRPr/>
            </a:pPr>
            <a:endParaRPr kumimoji="0" lang="en-US" sz="2300" b="0" i="0" u="none" strike="noStrike" kern="0" cap="none" spc="0" normalizeH="0" baseline="0" noProof="0" dirty="0">
              <a:ln>
                <a:noFill/>
              </a:ln>
              <a:solidFill>
                <a:sysClr val="windowText" lastClr="000000"/>
              </a:solidFill>
              <a:effectLst/>
              <a:uLnTx/>
              <a:uFillTx/>
              <a:latin typeface="Ubuntu Light"/>
              <a:cs typeface="Ubuntu Light"/>
            </a:endParaRPr>
          </a:p>
        </p:txBody>
      </p:sp>
      <p:sp>
        <p:nvSpPr>
          <p:cNvPr id="12" name="object 12"/>
          <p:cNvSpPr txBox="1"/>
          <p:nvPr/>
        </p:nvSpPr>
        <p:spPr>
          <a:xfrm>
            <a:off x="1247298" y="2067467"/>
            <a:ext cx="5868953" cy="659796"/>
          </a:xfrm>
          <a:prstGeom prst="rect">
            <a:avLst/>
          </a:prstGeom>
        </p:spPr>
        <p:txBody>
          <a:bodyPr vert="horz" wrap="square" lIns="0" tIns="13335" rIns="0" bIns="0" rtlCol="0">
            <a:spAutoFit/>
          </a:bodyPr>
          <a:lstStyle/>
          <a:p>
            <a:pPr marL="12700" marR="0" lvl="0" indent="0" defTabSz="914400" eaLnBrk="1" fontAlgn="auto" latinLnBrk="0" hangingPunct="1">
              <a:lnSpc>
                <a:spcPct val="100000"/>
              </a:lnSpc>
              <a:spcBef>
                <a:spcPts val="105"/>
              </a:spcBef>
              <a:spcAft>
                <a:spcPts val="0"/>
              </a:spcAft>
              <a:buClrTx/>
              <a:buSzTx/>
              <a:buFontTx/>
              <a:buNone/>
              <a:tabLst/>
              <a:defRPr/>
            </a:pPr>
            <a:r>
              <a:rPr kumimoji="0" lang="en-US" sz="4200" b="1" i="0" u="none" strike="noStrike" kern="0" cap="none" spc="-30" normalizeH="0" baseline="0" noProof="0" dirty="0">
                <a:ln>
                  <a:noFill/>
                </a:ln>
                <a:solidFill>
                  <a:srgbClr val="FFFFFF"/>
                </a:solidFill>
                <a:effectLst/>
                <a:uLnTx/>
                <a:uFillTx/>
                <a:latin typeface="Ubuntu"/>
                <a:cs typeface="Ubuntu"/>
              </a:rPr>
              <a:t>Smart QA</a:t>
            </a:r>
            <a:endParaRPr kumimoji="0" lang="en-US" sz="4200" b="0" i="0" u="none" strike="noStrike" kern="0" cap="none" spc="0" normalizeH="0" baseline="0" noProof="0" dirty="0">
              <a:ln>
                <a:noFill/>
              </a:ln>
              <a:solidFill>
                <a:sysClr val="windowText" lastClr="000000"/>
              </a:solidFill>
              <a:effectLst/>
              <a:uLnTx/>
              <a:uFillTx/>
              <a:latin typeface="Ubuntu"/>
              <a:cs typeface="Ubuntu"/>
            </a:endParaRPr>
          </a:p>
        </p:txBody>
      </p:sp>
      <p:sp>
        <p:nvSpPr>
          <p:cNvPr id="13" name="object 13"/>
          <p:cNvSpPr txBox="1">
            <a:spLocks noGrp="1"/>
          </p:cNvSpPr>
          <p:nvPr>
            <p:ph type="title" idx="4294967295"/>
          </p:nvPr>
        </p:nvSpPr>
        <p:spPr>
          <a:xfrm>
            <a:off x="8490469" y="1428614"/>
            <a:ext cx="3349682" cy="4694875"/>
          </a:xfrm>
          <a:prstGeom prst="rect">
            <a:avLst/>
          </a:prstGeom>
        </p:spPr>
        <p:txBody>
          <a:bodyPr vert="horz" wrap="square" lIns="0" tIns="187325" rIns="0" bIns="0" rtlCol="0">
            <a:spAutoFit/>
          </a:bodyPr>
          <a:lstStyle/>
          <a:p>
            <a:pPr marL="12700">
              <a:lnSpc>
                <a:spcPct val="100000"/>
              </a:lnSpc>
              <a:spcBef>
                <a:spcPts val="1475"/>
              </a:spcBef>
            </a:pPr>
            <a:r>
              <a:rPr lang="en-US" sz="2850" b="1" dirty="0">
                <a:solidFill>
                  <a:srgbClr val="0070AD"/>
                </a:solidFill>
                <a:latin typeface="Ubuntu"/>
                <a:cs typeface="Ubuntu"/>
              </a:rPr>
              <a:t>QADashboards &amp; QualityEye</a:t>
            </a:r>
            <a:br>
              <a:rPr lang="en-US" sz="2850" b="1" dirty="0">
                <a:solidFill>
                  <a:srgbClr val="0070AD"/>
                </a:solidFill>
                <a:latin typeface="Ubuntu"/>
                <a:cs typeface="Ubuntu"/>
              </a:rPr>
            </a:br>
            <a:endParaRPr lang="en-US" sz="2850" dirty="0">
              <a:latin typeface="Ubuntu"/>
              <a:cs typeface="Ubuntu"/>
            </a:endParaRPr>
          </a:p>
          <a:p>
            <a:pPr marL="12700" marR="5080">
              <a:lnSpc>
                <a:spcPct val="110500"/>
              </a:lnSpc>
              <a:spcBef>
                <a:spcPts val="795"/>
              </a:spcBef>
            </a:pPr>
            <a:r>
              <a:rPr lang="en-US" sz="2000" spc="-10" dirty="0">
                <a:solidFill>
                  <a:srgbClr val="404040"/>
                </a:solidFill>
              </a:rPr>
              <a:t>QADashboards is a PowerBI-based solution to implement customized and automated quality dashboards.  </a:t>
            </a:r>
            <a:br>
              <a:rPr lang="en-US" sz="2000" spc="-10" dirty="0">
                <a:solidFill>
                  <a:srgbClr val="404040"/>
                </a:solidFill>
              </a:rPr>
            </a:br>
            <a:br>
              <a:rPr lang="en-US" sz="2000" spc="-10" dirty="0">
                <a:solidFill>
                  <a:srgbClr val="404040"/>
                </a:solidFill>
              </a:rPr>
            </a:br>
            <a:r>
              <a:rPr lang="en-US" sz="2000" spc="-10" dirty="0">
                <a:solidFill>
                  <a:srgbClr val="404040"/>
                </a:solidFill>
              </a:rPr>
              <a:t>Quality Eye is a standalone implementation with predefined KPIs.</a:t>
            </a:r>
            <a:br>
              <a:rPr lang="en-US" sz="2300" spc="-10" dirty="0">
                <a:solidFill>
                  <a:srgbClr val="404040"/>
                </a:solidFill>
              </a:rPr>
            </a:br>
            <a:endParaRPr lang="en-US" sz="2300" spc="-10" dirty="0">
              <a:solidFill>
                <a:srgbClr val="404040"/>
              </a:solidFill>
            </a:endParaRPr>
          </a:p>
        </p:txBody>
      </p:sp>
      <p:sp>
        <p:nvSpPr>
          <p:cNvPr id="14" name="object 14"/>
          <p:cNvSpPr txBox="1"/>
          <p:nvPr/>
        </p:nvSpPr>
        <p:spPr>
          <a:xfrm>
            <a:off x="772681" y="728582"/>
            <a:ext cx="5164569" cy="367408"/>
          </a:xfrm>
          <a:prstGeom prst="rect">
            <a:avLst/>
          </a:prstGeom>
        </p:spPr>
        <p:txBody>
          <a:bodyPr vert="horz" wrap="square" lIns="0" tIns="13335" rIns="0" bIns="0" rtlCol="0">
            <a:spAutoFit/>
          </a:bodyPr>
          <a:lstStyle/>
          <a:p>
            <a:pPr marL="12700" marR="0" lvl="0" indent="0" defTabSz="914400" eaLnBrk="1" fontAlgn="auto" latinLnBrk="0" hangingPunct="1">
              <a:lnSpc>
                <a:spcPct val="100000"/>
              </a:lnSpc>
              <a:spcBef>
                <a:spcPts val="105"/>
              </a:spcBef>
              <a:spcAft>
                <a:spcPts val="0"/>
              </a:spcAft>
              <a:buClrTx/>
              <a:buSzTx/>
              <a:buFontTx/>
              <a:buNone/>
              <a:tabLst/>
              <a:defRPr/>
            </a:pPr>
            <a:r>
              <a:rPr kumimoji="0" sz="2300" b="0" i="0" u="none" strike="noStrike" kern="0" cap="none" spc="0" normalizeH="0" baseline="0" noProof="0" dirty="0">
                <a:ln>
                  <a:noFill/>
                </a:ln>
                <a:solidFill>
                  <a:srgbClr val="2B0A3D"/>
                </a:solidFill>
                <a:effectLst/>
                <a:uLnTx/>
                <a:uFillTx/>
                <a:latin typeface="Ubuntu Light"/>
                <a:cs typeface="Ubuntu Light"/>
              </a:rPr>
              <a:t>Sogeti </a:t>
            </a:r>
            <a:r>
              <a:rPr kumimoji="0" lang="es-ES" sz="2300" b="0" i="0" u="none" strike="noStrike" kern="0" cap="none" spc="0" normalizeH="0" baseline="0" noProof="0" dirty="0">
                <a:ln>
                  <a:noFill/>
                </a:ln>
                <a:solidFill>
                  <a:srgbClr val="2B0A3D"/>
                </a:solidFill>
                <a:effectLst/>
                <a:uLnTx/>
                <a:uFillTx/>
                <a:latin typeface="Ubuntu Light"/>
                <a:cs typeface="Ubuntu Light"/>
              </a:rPr>
              <a:t>Spain · Solution passports</a:t>
            </a:r>
            <a:endParaRPr kumimoji="0" sz="2300" b="0" i="0" u="none" strike="noStrike" kern="0" cap="none" spc="0" normalizeH="0" baseline="0" noProof="0" dirty="0">
              <a:ln>
                <a:noFill/>
              </a:ln>
              <a:solidFill>
                <a:sysClr val="windowText" lastClr="000000"/>
              </a:solidFill>
              <a:effectLst/>
              <a:uLnTx/>
              <a:uFillTx/>
              <a:latin typeface="Ubuntu Light"/>
              <a:cs typeface="Ubuntu Light"/>
            </a:endParaRPr>
          </a:p>
        </p:txBody>
      </p:sp>
      <p:sp>
        <p:nvSpPr>
          <p:cNvPr id="55" name="CuadroTexto 54">
            <a:extLst>
              <a:ext uri="{FF2B5EF4-FFF2-40B4-BE49-F238E27FC236}">
                <a16:creationId xmlns:a16="http://schemas.microsoft.com/office/drawing/2014/main" id="{15A2AC3A-FDCD-BBB4-01F3-003B2E179A43}"/>
              </a:ext>
            </a:extLst>
          </p:cNvPr>
          <p:cNvSpPr txBox="1"/>
          <p:nvPr/>
        </p:nvSpPr>
        <p:spPr>
          <a:xfrm>
            <a:off x="1153088" y="6420058"/>
            <a:ext cx="4123433" cy="3603038"/>
          </a:xfrm>
          <a:prstGeom prst="rect">
            <a:avLst/>
          </a:prstGeom>
          <a:noFill/>
        </p:spPr>
        <p:txBody>
          <a:bodyPr wrap="square">
            <a:spAutoFit/>
          </a:bodyPr>
          <a:lstStyle/>
          <a:p>
            <a:pPr marL="459105" marR="5080" lvl="0" indent="-428625" defTabSz="914400" eaLnBrk="1" fontAlgn="auto" latinLnBrk="0" hangingPunct="1">
              <a:lnSpc>
                <a:spcPct val="110500"/>
              </a:lnSpc>
              <a:spcBef>
                <a:spcPts val="905"/>
              </a:spcBef>
              <a:spcAft>
                <a:spcPts val="0"/>
              </a:spcAft>
              <a:buClr>
                <a:srgbClr val="FFFFFF"/>
              </a:buClr>
              <a:buSzTx/>
              <a:buFont typeface="Wingdings"/>
              <a:buChar char=""/>
              <a:tabLst>
                <a:tab pos="485140" algn="l"/>
                <a:tab pos="485775" algn="l"/>
              </a:tabLst>
              <a:defRPr/>
            </a:pPr>
            <a:r>
              <a:rPr kumimoji="0" lang="en-US" sz="2000" b="0" i="0" u="none" strike="noStrike" kern="0" cap="none" spc="-10" normalizeH="0" baseline="0" noProof="0" dirty="0">
                <a:ln>
                  <a:noFill/>
                </a:ln>
                <a:solidFill>
                  <a:srgbClr val="FFFFFF"/>
                </a:solidFill>
                <a:effectLst/>
                <a:uLnTx/>
                <a:uFillTx/>
                <a:latin typeface="Ubuntu Light"/>
              </a:rPr>
              <a:t>Visibility of testing and quality engineering activities</a:t>
            </a:r>
          </a:p>
          <a:p>
            <a:pPr marL="459105" marR="5080" lvl="0" indent="-428625" defTabSz="914400" eaLnBrk="1" fontAlgn="auto" latinLnBrk="0" hangingPunct="1">
              <a:lnSpc>
                <a:spcPct val="110500"/>
              </a:lnSpc>
              <a:spcBef>
                <a:spcPts val="905"/>
              </a:spcBef>
              <a:spcAft>
                <a:spcPts val="0"/>
              </a:spcAft>
              <a:buClr>
                <a:srgbClr val="FFFFFF"/>
              </a:buClr>
              <a:buSzTx/>
              <a:buFont typeface="Wingdings"/>
              <a:buChar char=""/>
              <a:tabLst>
                <a:tab pos="485140" algn="l"/>
                <a:tab pos="485775" algn="l"/>
              </a:tabLst>
              <a:defRPr/>
            </a:pPr>
            <a:r>
              <a:rPr kumimoji="0" lang="en-US" sz="2000" b="0" i="0" u="none" strike="noStrike" kern="0" cap="none" spc="-10" normalizeH="0" baseline="0" noProof="0" dirty="0">
                <a:ln>
                  <a:noFill/>
                </a:ln>
                <a:solidFill>
                  <a:srgbClr val="FFFFFF"/>
                </a:solidFill>
                <a:effectLst/>
                <a:uLnTx/>
                <a:uFillTx/>
                <a:latin typeface="Ubuntu Light"/>
              </a:rPr>
              <a:t>AI-based assistance to prioritize test cases, maintain regression test cases, find duplicates,…</a:t>
            </a:r>
          </a:p>
          <a:p>
            <a:pPr marL="459105" marR="5080" lvl="0" indent="-428625" defTabSz="914400" eaLnBrk="1" fontAlgn="auto" latinLnBrk="0" hangingPunct="1">
              <a:lnSpc>
                <a:spcPct val="110500"/>
              </a:lnSpc>
              <a:spcBef>
                <a:spcPts val="905"/>
              </a:spcBef>
              <a:spcAft>
                <a:spcPts val="0"/>
              </a:spcAft>
              <a:buClr>
                <a:srgbClr val="FFFFFF"/>
              </a:buClr>
              <a:buSzTx/>
              <a:buFont typeface="Wingdings"/>
              <a:buChar char=""/>
              <a:tabLst>
                <a:tab pos="485140" algn="l"/>
                <a:tab pos="485775" algn="l"/>
              </a:tabLst>
              <a:defRPr/>
            </a:pPr>
            <a:r>
              <a:rPr kumimoji="0" lang="en-US" sz="2000" b="0" i="0" u="none" strike="noStrike" kern="0" cap="none" spc="-10" normalizeH="0" baseline="0" noProof="0" dirty="0" err="1">
                <a:ln>
                  <a:noFill/>
                </a:ln>
                <a:solidFill>
                  <a:srgbClr val="FFFFFF"/>
                </a:solidFill>
                <a:effectLst/>
                <a:uLnTx/>
                <a:uFillTx/>
                <a:latin typeface="Ubuntu Light"/>
              </a:rPr>
              <a:t>PowerBI</a:t>
            </a:r>
            <a:r>
              <a:rPr kumimoji="0" lang="en-US" sz="2000" b="0" i="0" u="none" strike="noStrike" kern="0" cap="none" spc="-10" normalizeH="0" baseline="0" noProof="0" dirty="0">
                <a:ln>
                  <a:noFill/>
                </a:ln>
                <a:solidFill>
                  <a:srgbClr val="FFFFFF"/>
                </a:solidFill>
                <a:effectLst/>
                <a:uLnTx/>
                <a:uFillTx/>
                <a:latin typeface="Ubuntu Light"/>
              </a:rPr>
              <a:t>-based or standalone implementations</a:t>
            </a:r>
          </a:p>
          <a:p>
            <a:pPr marL="459105" marR="5080" lvl="0" indent="-428625" defTabSz="914400" eaLnBrk="1" fontAlgn="auto" latinLnBrk="0" hangingPunct="1">
              <a:lnSpc>
                <a:spcPct val="110500"/>
              </a:lnSpc>
              <a:spcBef>
                <a:spcPts val="905"/>
              </a:spcBef>
              <a:spcAft>
                <a:spcPts val="0"/>
              </a:spcAft>
              <a:buClr>
                <a:srgbClr val="FFFFFF"/>
              </a:buClr>
              <a:buSzTx/>
              <a:buFont typeface="Wingdings"/>
              <a:buChar char=""/>
              <a:tabLst>
                <a:tab pos="485140" algn="l"/>
                <a:tab pos="485775" algn="l"/>
              </a:tabLst>
              <a:defRPr/>
            </a:pPr>
            <a:endParaRPr kumimoji="0" lang="en-US" sz="2800" b="0" i="0" u="none" strike="noStrike" kern="0" cap="none" spc="-10" normalizeH="0" baseline="0" noProof="0" dirty="0">
              <a:ln>
                <a:noFill/>
              </a:ln>
              <a:solidFill>
                <a:srgbClr val="FFFFFF"/>
              </a:solidFill>
              <a:effectLst/>
              <a:uLnTx/>
              <a:uFillTx/>
              <a:latin typeface="Ubuntu Light"/>
              <a:cs typeface="Ubuntu Light"/>
            </a:endParaRPr>
          </a:p>
        </p:txBody>
      </p:sp>
      <p:pic>
        <p:nvPicPr>
          <p:cNvPr id="3" name="Imagen 2" descr="Diagrama&#10;&#10;Descripción generada automáticamente">
            <a:extLst>
              <a:ext uri="{FF2B5EF4-FFF2-40B4-BE49-F238E27FC236}">
                <a16:creationId xmlns:a16="http://schemas.microsoft.com/office/drawing/2014/main" id="{505DEEFC-BDC6-C837-A333-B3662C224E47}"/>
              </a:ext>
            </a:extLst>
          </p:cNvPr>
          <p:cNvPicPr>
            <a:picLocks noChangeAspect="1"/>
          </p:cNvPicPr>
          <p:nvPr/>
        </p:nvPicPr>
        <p:blipFill>
          <a:blip r:embed="rId3"/>
          <a:stretch>
            <a:fillRect/>
          </a:stretch>
        </p:blipFill>
        <p:spPr>
          <a:xfrm>
            <a:off x="5101734" y="6098574"/>
            <a:ext cx="4446443" cy="4446443"/>
          </a:xfrm>
          <a:prstGeom prst="rect">
            <a:avLst/>
          </a:prstGeom>
        </p:spPr>
      </p:pic>
      <p:grpSp>
        <p:nvGrpSpPr>
          <p:cNvPr id="46" name="Grupo 45">
            <a:extLst>
              <a:ext uri="{FF2B5EF4-FFF2-40B4-BE49-F238E27FC236}">
                <a16:creationId xmlns:a16="http://schemas.microsoft.com/office/drawing/2014/main" id="{72872B16-C274-C35F-EBE0-5DAB752ADB7B}"/>
              </a:ext>
            </a:extLst>
          </p:cNvPr>
          <p:cNvGrpSpPr/>
          <p:nvPr/>
        </p:nvGrpSpPr>
        <p:grpSpPr>
          <a:xfrm>
            <a:off x="12287728" y="1559477"/>
            <a:ext cx="6785676" cy="4265122"/>
            <a:chOff x="1386502" y="2607213"/>
            <a:chExt cx="6585704" cy="4139428"/>
          </a:xfrm>
        </p:grpSpPr>
        <p:grpSp>
          <p:nvGrpSpPr>
            <p:cNvPr id="47" name="Grupo 46">
              <a:extLst>
                <a:ext uri="{FF2B5EF4-FFF2-40B4-BE49-F238E27FC236}">
                  <a16:creationId xmlns:a16="http://schemas.microsoft.com/office/drawing/2014/main" id="{DBDAFE21-D0D8-4AE9-C917-F7ED9452DFC3}"/>
                </a:ext>
              </a:extLst>
            </p:cNvPr>
            <p:cNvGrpSpPr/>
            <p:nvPr/>
          </p:nvGrpSpPr>
          <p:grpSpPr>
            <a:xfrm>
              <a:off x="4135654" y="2807516"/>
              <a:ext cx="3836552" cy="3127958"/>
              <a:chOff x="-21321" y="981315"/>
              <a:chExt cx="6498321" cy="5471872"/>
            </a:xfrm>
          </p:grpSpPr>
          <p:pic>
            <p:nvPicPr>
              <p:cNvPr id="61" name="Picture 4">
                <a:extLst>
                  <a:ext uri="{FF2B5EF4-FFF2-40B4-BE49-F238E27FC236}">
                    <a16:creationId xmlns:a16="http://schemas.microsoft.com/office/drawing/2014/main" id="{1DCB7CD1-6E18-D296-D692-EBE49B538B6C}"/>
                  </a:ext>
                </a:extLst>
              </p:cNvPr>
              <p:cNvPicPr>
                <a:picLocks noChangeAspect="1"/>
              </p:cNvPicPr>
              <p:nvPr/>
            </p:nvPicPr>
            <p:blipFill>
              <a:blip r:embed="rId4"/>
              <a:stretch>
                <a:fillRect/>
              </a:stretch>
            </p:blipFill>
            <p:spPr>
              <a:xfrm>
                <a:off x="-3000" y="981315"/>
                <a:ext cx="6480000" cy="3655271"/>
              </a:xfrm>
              <a:prstGeom prst="rect">
                <a:avLst/>
              </a:prstGeom>
            </p:spPr>
          </p:pic>
          <p:pic>
            <p:nvPicPr>
              <p:cNvPr id="62" name="Picture 5">
                <a:extLst>
                  <a:ext uri="{FF2B5EF4-FFF2-40B4-BE49-F238E27FC236}">
                    <a16:creationId xmlns:a16="http://schemas.microsoft.com/office/drawing/2014/main" id="{DC4A33DF-9AB9-0DBF-3B6E-B009546FBB38}"/>
                  </a:ext>
                </a:extLst>
              </p:cNvPr>
              <p:cNvPicPr>
                <a:picLocks noChangeAspect="1"/>
              </p:cNvPicPr>
              <p:nvPr/>
            </p:nvPicPr>
            <p:blipFill>
              <a:blip r:embed="rId5"/>
              <a:stretch>
                <a:fillRect/>
              </a:stretch>
            </p:blipFill>
            <p:spPr>
              <a:xfrm>
                <a:off x="-21321" y="4628054"/>
                <a:ext cx="3240000" cy="1825133"/>
              </a:xfrm>
              <a:prstGeom prst="rect">
                <a:avLst/>
              </a:prstGeom>
            </p:spPr>
          </p:pic>
          <p:pic>
            <p:nvPicPr>
              <p:cNvPr id="63" name="Picture 6">
                <a:extLst>
                  <a:ext uri="{FF2B5EF4-FFF2-40B4-BE49-F238E27FC236}">
                    <a16:creationId xmlns:a16="http://schemas.microsoft.com/office/drawing/2014/main" id="{F01A4443-2CD3-2976-5979-DDB2A1A090E0}"/>
                  </a:ext>
                </a:extLst>
              </p:cNvPr>
              <p:cNvPicPr>
                <a:picLocks noChangeAspect="1"/>
              </p:cNvPicPr>
              <p:nvPr/>
            </p:nvPicPr>
            <p:blipFill>
              <a:blip r:embed="rId6"/>
              <a:stretch>
                <a:fillRect/>
              </a:stretch>
            </p:blipFill>
            <p:spPr>
              <a:xfrm>
                <a:off x="3218679" y="4637193"/>
                <a:ext cx="3240000" cy="1815994"/>
              </a:xfrm>
              <a:prstGeom prst="rect">
                <a:avLst/>
              </a:prstGeom>
            </p:spPr>
          </p:pic>
        </p:grpSp>
        <p:sp>
          <p:nvSpPr>
            <p:cNvPr id="48" name="Rectángulo 47">
              <a:extLst>
                <a:ext uri="{FF2B5EF4-FFF2-40B4-BE49-F238E27FC236}">
                  <a16:creationId xmlns:a16="http://schemas.microsoft.com/office/drawing/2014/main" id="{237ECDAC-75DE-2728-14B0-E3FA7CC35E78}"/>
                </a:ext>
              </a:extLst>
            </p:cNvPr>
            <p:cNvSpPr/>
            <p:nvPr/>
          </p:nvSpPr>
          <p:spPr>
            <a:xfrm>
              <a:off x="4135654" y="2807516"/>
              <a:ext cx="3836552" cy="2039512"/>
            </a:xfrm>
            <a:prstGeom prst="rect">
              <a:avLst/>
            </a:prstGeom>
            <a:noFill/>
            <a:ln w="38100" cap="flat" cmpd="sng" algn="ctr">
              <a:solidFill>
                <a:srgbClr val="95E61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00000"/>
                </a:solidFill>
                <a:effectLst/>
                <a:uLnTx/>
                <a:uFillTx/>
                <a:latin typeface="Verdana"/>
                <a:ea typeface="+mn-ea"/>
                <a:cs typeface="+mn-cs"/>
              </a:endParaRPr>
            </a:p>
          </p:txBody>
        </p:sp>
        <p:cxnSp>
          <p:nvCxnSpPr>
            <p:cNvPr id="49" name="Conector recto 48">
              <a:extLst>
                <a:ext uri="{FF2B5EF4-FFF2-40B4-BE49-F238E27FC236}">
                  <a16:creationId xmlns:a16="http://schemas.microsoft.com/office/drawing/2014/main" id="{417677BE-6FAF-F094-245C-463193C50177}"/>
                </a:ext>
              </a:extLst>
            </p:cNvPr>
            <p:cNvCxnSpPr/>
            <p:nvPr/>
          </p:nvCxnSpPr>
          <p:spPr>
            <a:xfrm>
              <a:off x="2550756" y="3895667"/>
              <a:ext cx="1584897" cy="0"/>
            </a:xfrm>
            <a:prstGeom prst="line">
              <a:avLst/>
            </a:prstGeom>
            <a:noFill/>
            <a:ln w="28575" cap="flat" cmpd="sng" algn="ctr">
              <a:solidFill>
                <a:srgbClr val="95E616"/>
              </a:solidFill>
              <a:prstDash val="solid"/>
              <a:miter lim="800000"/>
            </a:ln>
            <a:effectLst/>
          </p:spPr>
        </p:cxnSp>
        <p:sp>
          <p:nvSpPr>
            <p:cNvPr id="50" name="CuadroTexto 49">
              <a:extLst>
                <a:ext uri="{FF2B5EF4-FFF2-40B4-BE49-F238E27FC236}">
                  <a16:creationId xmlns:a16="http://schemas.microsoft.com/office/drawing/2014/main" id="{52BC700E-D700-6450-3103-ACB55DEA946B}"/>
                </a:ext>
              </a:extLst>
            </p:cNvPr>
            <p:cNvSpPr txBox="1"/>
            <p:nvPr/>
          </p:nvSpPr>
          <p:spPr>
            <a:xfrm>
              <a:off x="2429732" y="3510235"/>
              <a:ext cx="984114" cy="44806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2400" b="0" i="0" u="none" strike="noStrike" kern="1200" cap="none" spc="0" normalizeH="0" baseline="0" noProof="0">
                  <a:ln>
                    <a:noFill/>
                  </a:ln>
                  <a:solidFill>
                    <a:srgbClr val="2B0A3D"/>
                  </a:solidFill>
                  <a:effectLst/>
                  <a:uLnTx/>
                  <a:uFillTx/>
                  <a:latin typeface="Ubuntu" panose="020B0504030602030204" pitchFamily="34" charset="0"/>
                  <a:ea typeface="+mn-ea"/>
                  <a:cs typeface="+mn-cs"/>
                </a:rPr>
                <a:t>Pages</a:t>
              </a:r>
            </a:p>
          </p:txBody>
        </p:sp>
        <p:sp>
          <p:nvSpPr>
            <p:cNvPr id="51" name="Rectángulo 50">
              <a:extLst>
                <a:ext uri="{FF2B5EF4-FFF2-40B4-BE49-F238E27FC236}">
                  <a16:creationId xmlns:a16="http://schemas.microsoft.com/office/drawing/2014/main" id="{E1C14CAC-5AE5-2EBF-3AC9-16AFEC40EB76}"/>
                </a:ext>
              </a:extLst>
            </p:cNvPr>
            <p:cNvSpPr/>
            <p:nvPr/>
          </p:nvSpPr>
          <p:spPr>
            <a:xfrm>
              <a:off x="4278771" y="3285775"/>
              <a:ext cx="734183" cy="809310"/>
            </a:xfrm>
            <a:prstGeom prst="rect">
              <a:avLst/>
            </a:prstGeom>
            <a:noFill/>
            <a:ln w="38100" cap="flat" cmpd="sng" algn="ctr">
              <a:solidFill>
                <a:srgbClr val="FF304C"/>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00000"/>
                </a:solidFill>
                <a:effectLst/>
                <a:uLnTx/>
                <a:uFillTx/>
                <a:latin typeface="Verdana"/>
                <a:ea typeface="+mn-ea"/>
                <a:cs typeface="+mn-cs"/>
              </a:endParaRPr>
            </a:p>
          </p:txBody>
        </p:sp>
        <p:cxnSp>
          <p:nvCxnSpPr>
            <p:cNvPr id="52" name="Conector recto 51">
              <a:extLst>
                <a:ext uri="{FF2B5EF4-FFF2-40B4-BE49-F238E27FC236}">
                  <a16:creationId xmlns:a16="http://schemas.microsoft.com/office/drawing/2014/main" id="{8E8ED656-5048-B81E-2810-F7E3E34C7A84}"/>
                </a:ext>
              </a:extLst>
            </p:cNvPr>
            <p:cNvCxnSpPr>
              <a:cxnSpLocks/>
            </p:cNvCxnSpPr>
            <p:nvPr/>
          </p:nvCxnSpPr>
          <p:spPr>
            <a:xfrm>
              <a:off x="4645862" y="4089759"/>
              <a:ext cx="0" cy="2534940"/>
            </a:xfrm>
            <a:prstGeom prst="line">
              <a:avLst/>
            </a:prstGeom>
            <a:noFill/>
            <a:ln w="28575" cap="flat" cmpd="sng" algn="ctr">
              <a:solidFill>
                <a:srgbClr val="FF304C"/>
              </a:solidFill>
              <a:prstDash val="solid"/>
              <a:miter lim="800000"/>
            </a:ln>
            <a:effectLst/>
          </p:spPr>
        </p:cxnSp>
        <p:sp>
          <p:nvSpPr>
            <p:cNvPr id="53" name="CuadroTexto 52">
              <a:extLst>
                <a:ext uri="{FF2B5EF4-FFF2-40B4-BE49-F238E27FC236}">
                  <a16:creationId xmlns:a16="http://schemas.microsoft.com/office/drawing/2014/main" id="{41664761-03CE-BECE-3FB3-42829613889C}"/>
                </a:ext>
              </a:extLst>
            </p:cNvPr>
            <p:cNvSpPr txBox="1"/>
            <p:nvPr/>
          </p:nvSpPr>
          <p:spPr>
            <a:xfrm>
              <a:off x="4762333" y="6120862"/>
              <a:ext cx="2742374" cy="44806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2400" b="0" i="0" u="none" strike="noStrike" kern="1200" cap="none" spc="0" normalizeH="0" baseline="0" noProof="0">
                  <a:ln>
                    <a:noFill/>
                  </a:ln>
                  <a:solidFill>
                    <a:srgbClr val="2B0A3D"/>
                  </a:solidFill>
                  <a:effectLst/>
                  <a:uLnTx/>
                  <a:uFillTx/>
                  <a:latin typeface="Ubuntu" panose="020B0504030602030204" pitchFamily="34" charset="0"/>
                  <a:ea typeface="+mn-ea"/>
                  <a:cs typeface="+mn-cs"/>
                </a:rPr>
                <a:t>Visual components</a:t>
              </a:r>
            </a:p>
          </p:txBody>
        </p:sp>
        <p:sp>
          <p:nvSpPr>
            <p:cNvPr id="54" name="CuadroTexto 53">
              <a:extLst>
                <a:ext uri="{FF2B5EF4-FFF2-40B4-BE49-F238E27FC236}">
                  <a16:creationId xmlns:a16="http://schemas.microsoft.com/office/drawing/2014/main" id="{10898EAB-E46D-78AF-53C2-50ED5E9CFFE6}"/>
                </a:ext>
              </a:extLst>
            </p:cNvPr>
            <p:cNvSpPr txBox="1"/>
            <p:nvPr/>
          </p:nvSpPr>
          <p:spPr>
            <a:xfrm>
              <a:off x="2454710" y="3936542"/>
              <a:ext cx="1525095" cy="41818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Ubuntu Light" panose="020B0304030602030204" pitchFamily="34" charset="0"/>
                  <a:ea typeface="+mn-ea"/>
                  <a:cs typeface="+mn-cs"/>
                </a:rPr>
                <a:t>Visual components aggregator</a:t>
              </a:r>
            </a:p>
          </p:txBody>
        </p:sp>
        <p:sp>
          <p:nvSpPr>
            <p:cNvPr id="56" name="CuadroTexto 55">
              <a:extLst>
                <a:ext uri="{FF2B5EF4-FFF2-40B4-BE49-F238E27FC236}">
                  <a16:creationId xmlns:a16="http://schemas.microsoft.com/office/drawing/2014/main" id="{FF3E2634-A25F-6A43-1B11-CD17B6C73083}"/>
                </a:ext>
              </a:extLst>
            </p:cNvPr>
            <p:cNvSpPr txBox="1"/>
            <p:nvPr/>
          </p:nvSpPr>
          <p:spPr>
            <a:xfrm>
              <a:off x="4784153" y="6492741"/>
              <a:ext cx="2656936" cy="25390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0" normalizeH="0" baseline="0" noProof="0" dirty="0" err="1">
                  <a:ln>
                    <a:noFill/>
                  </a:ln>
                  <a:solidFill>
                    <a:srgbClr val="000000"/>
                  </a:solidFill>
                  <a:effectLst/>
                  <a:uLnTx/>
                  <a:uFillTx/>
                  <a:latin typeface="Ubuntu Light" panose="020B0304030602030204" pitchFamily="34" charset="0"/>
                  <a:ea typeface="+mn-ea"/>
                  <a:cs typeface="+mn-cs"/>
                </a:rPr>
                <a:t>Graphical</a:t>
              </a:r>
              <a:r>
                <a:rPr kumimoji="0" lang="es-ES" sz="1100" b="0" i="0" u="none" strike="noStrike" kern="1200" cap="none" spc="0" normalizeH="0" baseline="0" noProof="0" dirty="0">
                  <a:ln>
                    <a:noFill/>
                  </a:ln>
                  <a:solidFill>
                    <a:srgbClr val="000000"/>
                  </a:solidFill>
                  <a:effectLst/>
                  <a:uLnTx/>
                  <a:uFillTx/>
                  <a:latin typeface="Ubuntu Light" panose="020B0304030602030204" pitchFamily="34" charset="0"/>
                  <a:ea typeface="+mn-ea"/>
                  <a:cs typeface="+mn-cs"/>
                </a:rPr>
                <a:t> </a:t>
              </a:r>
              <a:r>
                <a:rPr kumimoji="0" lang="es-ES" sz="1100" b="0" i="0" u="none" strike="noStrike" kern="1200" cap="none" spc="0" normalizeH="0" baseline="0" noProof="0" dirty="0" err="1">
                  <a:ln>
                    <a:noFill/>
                  </a:ln>
                  <a:solidFill>
                    <a:srgbClr val="000000"/>
                  </a:solidFill>
                  <a:effectLst/>
                  <a:uLnTx/>
                  <a:uFillTx/>
                  <a:latin typeface="Ubuntu Light" panose="020B0304030602030204" pitchFamily="34" charset="0"/>
                  <a:ea typeface="+mn-ea"/>
                  <a:cs typeface="+mn-cs"/>
                </a:rPr>
                <a:t>visualization</a:t>
              </a:r>
              <a:r>
                <a:rPr kumimoji="0" lang="es-ES" sz="1100" b="0" i="0" u="none" strike="noStrike" kern="1200" cap="none" spc="0" normalizeH="0" baseline="0" noProof="0" dirty="0">
                  <a:ln>
                    <a:noFill/>
                  </a:ln>
                  <a:solidFill>
                    <a:srgbClr val="000000"/>
                  </a:solidFill>
                  <a:effectLst/>
                  <a:uLnTx/>
                  <a:uFillTx/>
                  <a:latin typeface="Ubuntu Light" panose="020B0304030602030204" pitchFamily="34" charset="0"/>
                  <a:ea typeface="+mn-ea"/>
                  <a:cs typeface="+mn-cs"/>
                </a:rPr>
                <a:t> </a:t>
              </a:r>
              <a:r>
                <a:rPr kumimoji="0" lang="es-ES" sz="1100" b="0" i="0" u="none" strike="noStrike" kern="1200" cap="none" spc="0" normalizeH="0" baseline="0" noProof="0" dirty="0" err="1">
                  <a:ln>
                    <a:noFill/>
                  </a:ln>
                  <a:solidFill>
                    <a:srgbClr val="000000"/>
                  </a:solidFill>
                  <a:effectLst/>
                  <a:uLnTx/>
                  <a:uFillTx/>
                  <a:latin typeface="Ubuntu Light" panose="020B0304030602030204" pitchFamily="34" charset="0"/>
                  <a:ea typeface="+mn-ea"/>
                  <a:cs typeface="+mn-cs"/>
                </a:rPr>
                <a:t>of</a:t>
              </a:r>
              <a:r>
                <a:rPr kumimoji="0" lang="es-ES" sz="1100" b="0" i="0" u="none" strike="noStrike" kern="1200" cap="none" spc="0" normalizeH="0" baseline="0" noProof="0" dirty="0">
                  <a:ln>
                    <a:noFill/>
                  </a:ln>
                  <a:solidFill>
                    <a:srgbClr val="000000"/>
                  </a:solidFill>
                  <a:effectLst/>
                  <a:uLnTx/>
                  <a:uFillTx/>
                  <a:latin typeface="Ubuntu Light" panose="020B0304030602030204" pitchFamily="34" charset="0"/>
                  <a:ea typeface="+mn-ea"/>
                  <a:cs typeface="+mn-cs"/>
                </a:rPr>
                <a:t> </a:t>
              </a:r>
              <a:r>
                <a:rPr kumimoji="0" lang="es-ES" sz="1100" b="0" i="0" u="none" strike="noStrike" kern="1200" cap="none" spc="0" normalizeH="0" baseline="0" noProof="0" dirty="0" err="1">
                  <a:ln>
                    <a:noFill/>
                  </a:ln>
                  <a:solidFill>
                    <a:srgbClr val="000000"/>
                  </a:solidFill>
                  <a:effectLst/>
                  <a:uLnTx/>
                  <a:uFillTx/>
                  <a:latin typeface="Ubuntu Light" panose="020B0304030602030204" pitchFamily="34" charset="0"/>
                  <a:ea typeface="+mn-ea"/>
                  <a:cs typeface="+mn-cs"/>
                </a:rPr>
                <a:t>an</a:t>
              </a:r>
              <a:r>
                <a:rPr kumimoji="0" lang="es-ES" sz="1100" b="0" i="0" u="none" strike="noStrike" kern="1200" cap="none" spc="0" normalizeH="0" baseline="0" noProof="0" dirty="0">
                  <a:ln>
                    <a:noFill/>
                  </a:ln>
                  <a:solidFill>
                    <a:srgbClr val="000000"/>
                  </a:solidFill>
                  <a:effectLst/>
                  <a:uLnTx/>
                  <a:uFillTx/>
                  <a:latin typeface="Ubuntu Light" panose="020B0304030602030204" pitchFamily="34" charset="0"/>
                  <a:ea typeface="+mn-ea"/>
                  <a:cs typeface="+mn-cs"/>
                </a:rPr>
                <a:t> </a:t>
              </a:r>
              <a:r>
                <a:rPr kumimoji="0" lang="es-ES" sz="1100" b="0" i="0" u="none" strike="noStrike" kern="1200" cap="none" spc="0" normalizeH="0" baseline="0" noProof="0" dirty="0" err="1">
                  <a:ln>
                    <a:noFill/>
                  </a:ln>
                  <a:solidFill>
                    <a:srgbClr val="000000"/>
                  </a:solidFill>
                  <a:effectLst/>
                  <a:uLnTx/>
                  <a:uFillTx/>
                  <a:latin typeface="Ubuntu Light" panose="020B0304030602030204" pitchFamily="34" charset="0"/>
                  <a:ea typeface="+mn-ea"/>
                  <a:cs typeface="+mn-cs"/>
                </a:rPr>
                <a:t>indicator</a:t>
              </a:r>
              <a:endParaRPr kumimoji="0" lang="es-ES" sz="1100" b="0" i="0" u="none" strike="noStrike" kern="1200" cap="none" spc="0" normalizeH="0" baseline="0" noProof="0" dirty="0">
                <a:ln>
                  <a:noFill/>
                </a:ln>
                <a:solidFill>
                  <a:srgbClr val="000000"/>
                </a:solidFill>
                <a:effectLst/>
                <a:uLnTx/>
                <a:uFillTx/>
                <a:latin typeface="Ubuntu Light" panose="020B0304030602030204" pitchFamily="34" charset="0"/>
                <a:ea typeface="+mn-ea"/>
                <a:cs typeface="+mn-cs"/>
              </a:endParaRPr>
            </a:p>
          </p:txBody>
        </p:sp>
        <p:sp>
          <p:nvSpPr>
            <p:cNvPr id="57" name="Rectángulo 56">
              <a:extLst>
                <a:ext uri="{FF2B5EF4-FFF2-40B4-BE49-F238E27FC236}">
                  <a16:creationId xmlns:a16="http://schemas.microsoft.com/office/drawing/2014/main" id="{9B05AAC8-7ABB-4735-6BD8-E8D45779D316}"/>
                </a:ext>
              </a:extLst>
            </p:cNvPr>
            <p:cNvSpPr/>
            <p:nvPr/>
          </p:nvSpPr>
          <p:spPr>
            <a:xfrm>
              <a:off x="4955374" y="2807170"/>
              <a:ext cx="2064551" cy="207479"/>
            </a:xfrm>
            <a:prstGeom prst="rect">
              <a:avLst/>
            </a:prstGeom>
            <a:noFill/>
            <a:ln w="38100" cap="flat" cmpd="sng" algn="ctr">
              <a:solidFill>
                <a:srgbClr val="12ABDB"/>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00000"/>
                </a:solidFill>
                <a:effectLst/>
                <a:uLnTx/>
                <a:uFillTx/>
                <a:latin typeface="Verdana"/>
                <a:ea typeface="+mn-ea"/>
                <a:cs typeface="+mn-cs"/>
              </a:endParaRPr>
            </a:p>
          </p:txBody>
        </p:sp>
        <p:cxnSp>
          <p:nvCxnSpPr>
            <p:cNvPr id="58" name="Conector recto 57">
              <a:extLst>
                <a:ext uri="{FF2B5EF4-FFF2-40B4-BE49-F238E27FC236}">
                  <a16:creationId xmlns:a16="http://schemas.microsoft.com/office/drawing/2014/main" id="{5296E1C7-D6E8-CC30-F96A-E7E2BB9D74CB}"/>
                </a:ext>
              </a:extLst>
            </p:cNvPr>
            <p:cNvCxnSpPr>
              <a:cxnSpLocks/>
            </p:cNvCxnSpPr>
            <p:nvPr/>
          </p:nvCxnSpPr>
          <p:spPr>
            <a:xfrm>
              <a:off x="1485062" y="2976545"/>
              <a:ext cx="3465549" cy="0"/>
            </a:xfrm>
            <a:prstGeom prst="line">
              <a:avLst/>
            </a:prstGeom>
            <a:noFill/>
            <a:ln w="28575" cap="flat" cmpd="sng" algn="ctr">
              <a:solidFill>
                <a:srgbClr val="12ABDB"/>
              </a:solidFill>
              <a:prstDash val="solid"/>
              <a:miter lim="800000"/>
            </a:ln>
            <a:effectLst/>
          </p:spPr>
        </p:cxnSp>
        <p:sp>
          <p:nvSpPr>
            <p:cNvPr id="59" name="CuadroTexto 58">
              <a:extLst>
                <a:ext uri="{FF2B5EF4-FFF2-40B4-BE49-F238E27FC236}">
                  <a16:creationId xmlns:a16="http://schemas.microsoft.com/office/drawing/2014/main" id="{B164FD2F-7209-7DDB-DBAE-8464EFC72575}"/>
                </a:ext>
              </a:extLst>
            </p:cNvPr>
            <p:cNvSpPr txBox="1"/>
            <p:nvPr/>
          </p:nvSpPr>
          <p:spPr>
            <a:xfrm>
              <a:off x="1386502" y="2607213"/>
              <a:ext cx="1028795" cy="44806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2400" b="0" i="0" u="none" strike="noStrike" kern="1200" cap="none" spc="0" normalizeH="0" baseline="0" noProof="0" err="1">
                  <a:ln>
                    <a:noFill/>
                  </a:ln>
                  <a:solidFill>
                    <a:srgbClr val="2B0A3D"/>
                  </a:solidFill>
                  <a:effectLst/>
                  <a:uLnTx/>
                  <a:uFillTx/>
                  <a:latin typeface="Ubuntu" panose="020B0504030602030204" pitchFamily="34" charset="0"/>
                  <a:ea typeface="+mn-ea"/>
                  <a:cs typeface="+mn-cs"/>
                </a:rPr>
                <a:t>Filters</a:t>
              </a:r>
              <a:endParaRPr kumimoji="0" lang="es-ES" sz="2400" b="0" i="0" u="none" strike="noStrike" kern="1200" cap="none" spc="0" normalizeH="0" baseline="0" noProof="0">
                <a:ln>
                  <a:noFill/>
                </a:ln>
                <a:solidFill>
                  <a:srgbClr val="2B0A3D"/>
                </a:solidFill>
                <a:effectLst/>
                <a:uLnTx/>
                <a:uFillTx/>
                <a:latin typeface="Ubuntu" panose="020B0504030602030204" pitchFamily="34" charset="0"/>
                <a:ea typeface="+mn-ea"/>
                <a:cs typeface="+mn-cs"/>
              </a:endParaRPr>
            </a:p>
          </p:txBody>
        </p:sp>
        <p:sp>
          <p:nvSpPr>
            <p:cNvPr id="60" name="CuadroTexto 59">
              <a:extLst>
                <a:ext uri="{FF2B5EF4-FFF2-40B4-BE49-F238E27FC236}">
                  <a16:creationId xmlns:a16="http://schemas.microsoft.com/office/drawing/2014/main" id="{F6E58A42-5565-CC42-379C-4439864D12F9}"/>
                </a:ext>
              </a:extLst>
            </p:cNvPr>
            <p:cNvSpPr txBox="1"/>
            <p:nvPr/>
          </p:nvSpPr>
          <p:spPr>
            <a:xfrm>
              <a:off x="1386503" y="3005581"/>
              <a:ext cx="2442549" cy="41818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Ubuntu Light" panose="020B0304030602030204" pitchFamily="34" charset="0"/>
                  <a:ea typeface="+mn-ea"/>
                  <a:cs typeface="+mn-cs"/>
                </a:rPr>
                <a:t>Dynamic filters with customized criteria. </a:t>
              </a:r>
            </a:p>
          </p:txBody>
        </p:sp>
      </p:grpSp>
      <p:grpSp>
        <p:nvGrpSpPr>
          <p:cNvPr id="66" name="Grupo 65">
            <a:extLst>
              <a:ext uri="{FF2B5EF4-FFF2-40B4-BE49-F238E27FC236}">
                <a16:creationId xmlns:a16="http://schemas.microsoft.com/office/drawing/2014/main" id="{A6EFBA69-9758-5EE4-CAC8-BE5F10598079}"/>
              </a:ext>
            </a:extLst>
          </p:cNvPr>
          <p:cNvGrpSpPr/>
          <p:nvPr/>
        </p:nvGrpSpPr>
        <p:grpSpPr>
          <a:xfrm>
            <a:off x="12349672" y="3816531"/>
            <a:ext cx="1749782" cy="1746458"/>
            <a:chOff x="12325020" y="4502947"/>
            <a:chExt cx="1920760" cy="1917111"/>
          </a:xfrm>
        </p:grpSpPr>
        <p:pic>
          <p:nvPicPr>
            <p:cNvPr id="64" name="Imagen 63" descr="Icono&#10;&#10;Descripción generada automáticamente">
              <a:extLst>
                <a:ext uri="{FF2B5EF4-FFF2-40B4-BE49-F238E27FC236}">
                  <a16:creationId xmlns:a16="http://schemas.microsoft.com/office/drawing/2014/main" id="{50D2C1CA-2387-4E9B-F1A6-B1FDD0185ECD}"/>
                </a:ext>
              </a:extLst>
            </p:cNvPr>
            <p:cNvPicPr>
              <a:picLocks noChangeAspect="1"/>
            </p:cNvPicPr>
            <p:nvPr/>
          </p:nvPicPr>
          <p:blipFill>
            <a:blip r:embed="rId7"/>
            <a:stretch>
              <a:fillRect/>
            </a:stretch>
          </p:blipFill>
          <p:spPr>
            <a:xfrm>
              <a:off x="12325021" y="4502947"/>
              <a:ext cx="1920759" cy="912679"/>
            </a:xfrm>
            <a:prstGeom prst="rect">
              <a:avLst/>
            </a:prstGeom>
          </p:spPr>
        </p:pic>
        <p:pic>
          <p:nvPicPr>
            <p:cNvPr id="65" name="Imagen 64" descr="Interfaz de usuario gráfica&#10;&#10;Descripción generada automáticamente">
              <a:extLst>
                <a:ext uri="{FF2B5EF4-FFF2-40B4-BE49-F238E27FC236}">
                  <a16:creationId xmlns:a16="http://schemas.microsoft.com/office/drawing/2014/main" id="{91E39E74-1817-63DE-6A2C-8F1C6CBBEC97}"/>
                </a:ext>
              </a:extLst>
            </p:cNvPr>
            <p:cNvPicPr>
              <a:picLocks noChangeAspect="1"/>
            </p:cNvPicPr>
            <p:nvPr/>
          </p:nvPicPr>
          <p:blipFill>
            <a:blip r:embed="rId8"/>
            <a:stretch>
              <a:fillRect/>
            </a:stretch>
          </p:blipFill>
          <p:spPr>
            <a:xfrm>
              <a:off x="12325020" y="5546537"/>
              <a:ext cx="1920757" cy="873521"/>
            </a:xfrm>
            <a:prstGeom prst="rect">
              <a:avLst/>
            </a:prstGeom>
          </p:spPr>
        </p:pic>
      </p:grpSp>
      <p:sp>
        <p:nvSpPr>
          <p:cNvPr id="67" name="object 13">
            <a:extLst>
              <a:ext uri="{FF2B5EF4-FFF2-40B4-BE49-F238E27FC236}">
                <a16:creationId xmlns:a16="http://schemas.microsoft.com/office/drawing/2014/main" id="{DACE7D79-20D9-8D6D-F892-76859B838F48}"/>
              </a:ext>
            </a:extLst>
          </p:cNvPr>
          <p:cNvSpPr txBox="1">
            <a:spLocks/>
          </p:cNvSpPr>
          <p:nvPr/>
        </p:nvSpPr>
        <p:spPr>
          <a:xfrm>
            <a:off x="15504046" y="6542267"/>
            <a:ext cx="3446966" cy="3526799"/>
          </a:xfrm>
          <a:prstGeom prst="rect">
            <a:avLst/>
          </a:prstGeom>
        </p:spPr>
        <p:txBody>
          <a:bodyPr vert="horz" wrap="square" lIns="0" tIns="187325" rIns="0" bIns="0" rtlCol="0">
            <a:spAutoFit/>
          </a:bodyPr>
          <a:lstStyle>
            <a:lvl1pPr>
              <a:defRPr sz="4900" b="0" i="0">
                <a:solidFill>
                  <a:srgbClr val="2B0A3D"/>
                </a:solidFill>
                <a:latin typeface="Ubuntu Light"/>
                <a:ea typeface="+mj-ea"/>
                <a:cs typeface="Ubuntu Light"/>
              </a:defRPr>
            </a:lvl1pPr>
          </a:lstStyle>
          <a:p>
            <a:pPr marL="12700" marR="0" lvl="0" indent="0" defTabSz="914400" eaLnBrk="1" fontAlgn="auto" latinLnBrk="0" hangingPunct="1">
              <a:lnSpc>
                <a:spcPct val="100000"/>
              </a:lnSpc>
              <a:spcBef>
                <a:spcPts val="1475"/>
              </a:spcBef>
              <a:spcAft>
                <a:spcPts val="0"/>
              </a:spcAft>
              <a:buClrTx/>
              <a:buSzTx/>
              <a:buFontTx/>
              <a:buNone/>
              <a:tabLst/>
              <a:defRPr/>
            </a:pPr>
            <a:r>
              <a:rPr kumimoji="0" lang="en-US" sz="2850" b="1" i="0" u="none" strike="noStrike" kern="0" cap="none" spc="0" normalizeH="0" baseline="0" noProof="0" dirty="0">
                <a:ln>
                  <a:noFill/>
                </a:ln>
                <a:solidFill>
                  <a:srgbClr val="0070AD"/>
                </a:solidFill>
                <a:effectLst/>
                <a:uLnTx/>
                <a:uFillTx/>
                <a:latin typeface="Ubuntu"/>
                <a:ea typeface="+mj-ea"/>
                <a:cs typeface="Ubuntu"/>
              </a:rPr>
              <a:t>CognitiveQA</a:t>
            </a:r>
            <a:br>
              <a:rPr kumimoji="0" lang="en-US" sz="2850" b="1" i="0" u="none" strike="noStrike" kern="0" cap="none" spc="0" normalizeH="0" baseline="0" noProof="0" dirty="0">
                <a:ln>
                  <a:noFill/>
                </a:ln>
                <a:solidFill>
                  <a:srgbClr val="0070AD"/>
                </a:solidFill>
                <a:effectLst/>
                <a:uLnTx/>
                <a:uFillTx/>
                <a:latin typeface="Ubuntu"/>
                <a:ea typeface="+mj-ea"/>
                <a:cs typeface="Ubuntu"/>
              </a:rPr>
            </a:br>
            <a:endParaRPr kumimoji="0" lang="en-US" sz="2850" b="0" i="0" u="none" strike="noStrike" kern="0" cap="none" spc="0" normalizeH="0" baseline="0" noProof="0" dirty="0">
              <a:ln>
                <a:noFill/>
              </a:ln>
              <a:solidFill>
                <a:srgbClr val="2B0A3D"/>
              </a:solidFill>
              <a:effectLst/>
              <a:uLnTx/>
              <a:uFillTx/>
              <a:latin typeface="Ubuntu"/>
              <a:ea typeface="+mj-ea"/>
              <a:cs typeface="Ubuntu"/>
            </a:endParaRPr>
          </a:p>
          <a:p>
            <a:pPr marL="12700" marR="5080" lvl="0" indent="0" defTabSz="914400" eaLnBrk="1" fontAlgn="auto" latinLnBrk="0" hangingPunct="1">
              <a:lnSpc>
                <a:spcPct val="110500"/>
              </a:lnSpc>
              <a:spcBef>
                <a:spcPts val="795"/>
              </a:spcBef>
              <a:spcAft>
                <a:spcPts val="0"/>
              </a:spcAft>
              <a:buClrTx/>
              <a:buSzTx/>
              <a:buFontTx/>
              <a:buNone/>
              <a:tabLst/>
              <a:defRPr/>
            </a:pPr>
            <a:r>
              <a:rPr kumimoji="0" lang="en-US" sz="2000" b="0" i="0" u="none" strike="noStrike" kern="0" cap="none" spc="-10" normalizeH="0" baseline="0" noProof="0" dirty="0">
                <a:ln>
                  <a:noFill/>
                </a:ln>
                <a:solidFill>
                  <a:srgbClr val="404040"/>
                </a:solidFill>
                <a:effectLst/>
                <a:uLnTx/>
                <a:uFillTx/>
                <a:latin typeface="Ubuntu Light"/>
                <a:ea typeface="+mj-ea"/>
              </a:rPr>
              <a:t>CognitiveQA automatically assists testing and QA activities and decisions through smart analytics &amp; AI-based models to predict and assist quality engineering decisions in projects.</a:t>
            </a:r>
            <a:endParaRPr kumimoji="0" lang="en-US" sz="2300" b="0" i="0" u="none" strike="noStrike" kern="0" cap="none" spc="-10" normalizeH="0" baseline="0" noProof="0" dirty="0">
              <a:ln>
                <a:noFill/>
              </a:ln>
              <a:solidFill>
                <a:srgbClr val="404040"/>
              </a:solidFill>
              <a:effectLst/>
              <a:uLnTx/>
              <a:uFillTx/>
              <a:latin typeface="Ubuntu Light"/>
              <a:ea typeface="+mj-ea"/>
            </a:endParaRPr>
          </a:p>
        </p:txBody>
      </p:sp>
      <p:grpSp>
        <p:nvGrpSpPr>
          <p:cNvPr id="68" name="Grupo 67">
            <a:extLst>
              <a:ext uri="{FF2B5EF4-FFF2-40B4-BE49-F238E27FC236}">
                <a16:creationId xmlns:a16="http://schemas.microsoft.com/office/drawing/2014/main" id="{A27FDF71-F46A-BB9D-E5FB-6995D1F09624}"/>
              </a:ext>
            </a:extLst>
          </p:cNvPr>
          <p:cNvGrpSpPr/>
          <p:nvPr/>
        </p:nvGrpSpPr>
        <p:grpSpPr>
          <a:xfrm>
            <a:off x="11383430" y="5912069"/>
            <a:ext cx="4118303" cy="4327152"/>
            <a:chOff x="6019800" y="762000"/>
            <a:chExt cx="5638800" cy="5682368"/>
          </a:xfrm>
        </p:grpSpPr>
        <p:pic>
          <p:nvPicPr>
            <p:cNvPr id="69" name="Imagen 68">
              <a:extLst>
                <a:ext uri="{FF2B5EF4-FFF2-40B4-BE49-F238E27FC236}">
                  <a16:creationId xmlns:a16="http://schemas.microsoft.com/office/drawing/2014/main" id="{9AEB4CEF-64AE-5D76-FFAD-DC285AB44DAA}"/>
                </a:ext>
              </a:extLst>
            </p:cNvPr>
            <p:cNvPicPr>
              <a:picLocks noChangeAspect="1"/>
            </p:cNvPicPr>
            <p:nvPr/>
          </p:nvPicPr>
          <p:blipFill>
            <a:blip r:embed="rId9" cstate="hq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019800" y="762000"/>
              <a:ext cx="5638800" cy="5682368"/>
            </a:xfrm>
            <a:prstGeom prst="rect">
              <a:avLst/>
            </a:prstGeom>
          </p:spPr>
        </p:pic>
        <p:pic>
          <p:nvPicPr>
            <p:cNvPr id="70" name="Imagen 69">
              <a:extLst>
                <a:ext uri="{FF2B5EF4-FFF2-40B4-BE49-F238E27FC236}">
                  <a16:creationId xmlns:a16="http://schemas.microsoft.com/office/drawing/2014/main" id="{07225D54-C20F-2723-BC99-C1512070576B}"/>
                </a:ext>
              </a:extLst>
            </p:cNvPr>
            <p:cNvPicPr>
              <a:picLocks noChangeAspect="1"/>
            </p:cNvPicPr>
            <p:nvPr/>
          </p:nvPicPr>
          <p:blipFill>
            <a:blip r:embed="rId10" cstate="hq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rot="20944613">
              <a:off x="10934040" y="2865842"/>
              <a:ext cx="462270" cy="439362"/>
            </a:xfrm>
            <a:prstGeom prst="rect">
              <a:avLst/>
            </a:prstGeom>
          </p:spPr>
        </p:pic>
        <p:pic>
          <p:nvPicPr>
            <p:cNvPr id="71" name="Imagen 70">
              <a:extLst>
                <a:ext uri="{FF2B5EF4-FFF2-40B4-BE49-F238E27FC236}">
                  <a16:creationId xmlns:a16="http://schemas.microsoft.com/office/drawing/2014/main" id="{DA45674F-5FFB-8262-4B28-C4FEC8D082AC}"/>
                </a:ext>
              </a:extLst>
            </p:cNvPr>
            <p:cNvPicPr>
              <a:picLocks noChangeAspect="1"/>
            </p:cNvPicPr>
            <p:nvPr/>
          </p:nvPicPr>
          <p:blipFill>
            <a:blip r:embed="rId11" cstate="hq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rot="20944613">
              <a:off x="10934040" y="2546204"/>
              <a:ext cx="412244" cy="319638"/>
            </a:xfrm>
            <a:prstGeom prst="rect">
              <a:avLst/>
            </a:prstGeom>
          </p:spPr>
        </p:pic>
        <p:pic>
          <p:nvPicPr>
            <p:cNvPr id="72" name="Imagen 71">
              <a:extLst>
                <a:ext uri="{FF2B5EF4-FFF2-40B4-BE49-F238E27FC236}">
                  <a16:creationId xmlns:a16="http://schemas.microsoft.com/office/drawing/2014/main" id="{6B24D6A3-F992-611E-D5C0-013D190DFFDE}"/>
                </a:ext>
              </a:extLst>
            </p:cNvPr>
            <p:cNvPicPr>
              <a:picLocks noChangeAspect="1"/>
            </p:cNvPicPr>
            <p:nvPr/>
          </p:nvPicPr>
          <p:blipFill>
            <a:blip r:embed="rId12" cstate="hq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rot="20944613">
              <a:off x="10973977" y="2174052"/>
              <a:ext cx="332370" cy="274636"/>
            </a:xfrm>
            <a:prstGeom prst="rect">
              <a:avLst/>
            </a:prstGeom>
          </p:spPr>
        </p:pic>
        <p:pic>
          <p:nvPicPr>
            <p:cNvPr id="73" name="Imagen 72">
              <a:extLst>
                <a:ext uri="{FF2B5EF4-FFF2-40B4-BE49-F238E27FC236}">
                  <a16:creationId xmlns:a16="http://schemas.microsoft.com/office/drawing/2014/main" id="{EDE376B1-4372-B787-9860-AF14F32C33D3}"/>
                </a:ext>
              </a:extLst>
            </p:cNvPr>
            <p:cNvPicPr>
              <a:picLocks noChangeAspect="1"/>
            </p:cNvPicPr>
            <p:nvPr/>
          </p:nvPicPr>
          <p:blipFill>
            <a:blip r:embed="rId10" cstate="hq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rot="20944613">
              <a:off x="10019641" y="5769219"/>
              <a:ext cx="462270" cy="439362"/>
            </a:xfrm>
            <a:prstGeom prst="rect">
              <a:avLst/>
            </a:prstGeom>
          </p:spPr>
        </p:pic>
      </p:grpSp>
      <p:pic>
        <p:nvPicPr>
          <p:cNvPr id="74" name="Imagen 73" descr="Imagen que contiene firmar, señal, parada, parado&#10;&#10;Descripción generada automáticamente">
            <a:extLst>
              <a:ext uri="{FF2B5EF4-FFF2-40B4-BE49-F238E27FC236}">
                <a16:creationId xmlns:a16="http://schemas.microsoft.com/office/drawing/2014/main" id="{EAF98D01-155B-5ED6-0048-EA5EFA858779}"/>
              </a:ext>
            </a:extLst>
          </p:cNvPr>
          <p:cNvPicPr>
            <a:picLocks noChangeAspect="1"/>
          </p:cNvPicPr>
          <p:nvPr/>
        </p:nvPicPr>
        <p:blipFill>
          <a:blip r:embed="rId13"/>
          <a:stretch>
            <a:fillRect/>
          </a:stretch>
        </p:blipFill>
        <p:spPr>
          <a:xfrm>
            <a:off x="9047260" y="6644010"/>
            <a:ext cx="1932690" cy="918348"/>
          </a:xfrm>
          <a:prstGeom prst="rect">
            <a:avLst/>
          </a:prstGeom>
        </p:spPr>
      </p:pic>
      <p:sp>
        <p:nvSpPr>
          <p:cNvPr id="75" name="CuadroTexto 74">
            <a:extLst>
              <a:ext uri="{FF2B5EF4-FFF2-40B4-BE49-F238E27FC236}">
                <a16:creationId xmlns:a16="http://schemas.microsoft.com/office/drawing/2014/main" id="{EC8CB41F-608F-C95E-4677-ADCCB4491CDA}"/>
              </a:ext>
            </a:extLst>
          </p:cNvPr>
          <p:cNvSpPr txBox="1"/>
          <p:nvPr/>
        </p:nvSpPr>
        <p:spPr>
          <a:xfrm>
            <a:off x="9070086" y="7847633"/>
            <a:ext cx="1973332"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2B0A3D"/>
                </a:solidFill>
                <a:effectLst/>
                <a:uLnTx/>
                <a:uFillTx/>
                <a:latin typeface="Ubuntu" panose="020B0504030602030204" pitchFamily="34" charset="0"/>
                <a:ea typeface="+mn-ea"/>
                <a:cs typeface="+mn-cs"/>
              </a:rPr>
              <a:t>“Which are the most important test cases to be executed with limited resources (effort, window execution time…)?</a:t>
            </a:r>
            <a:endParaRPr kumimoji="0" lang="en-US" sz="1200" b="0" i="0" u="none" strike="noStrike" kern="1200" cap="none" spc="0" normalizeH="0" baseline="0" noProof="0" dirty="0">
              <a:ln>
                <a:noFill/>
              </a:ln>
              <a:solidFill>
                <a:srgbClr val="2B0A3D"/>
              </a:solidFill>
              <a:effectLst/>
              <a:uLnTx/>
              <a:uFillTx/>
              <a:latin typeface="Verdana"/>
              <a:ea typeface="+mn-ea"/>
              <a:cs typeface="+mn-cs"/>
            </a:endParaRPr>
          </a:p>
        </p:txBody>
      </p:sp>
      <p:sp>
        <p:nvSpPr>
          <p:cNvPr id="76" name="CuadroTexto 75">
            <a:extLst>
              <a:ext uri="{FF2B5EF4-FFF2-40B4-BE49-F238E27FC236}">
                <a16:creationId xmlns:a16="http://schemas.microsoft.com/office/drawing/2014/main" id="{2CD5F4A4-CBE3-AF08-76BB-0B2E7320494B}"/>
              </a:ext>
            </a:extLst>
          </p:cNvPr>
          <p:cNvSpPr txBox="1"/>
          <p:nvPr/>
        </p:nvSpPr>
        <p:spPr>
          <a:xfrm>
            <a:off x="9070086" y="8699101"/>
            <a:ext cx="1939846" cy="98488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2B0A3D"/>
                </a:solidFill>
                <a:effectLst/>
                <a:uLnTx/>
                <a:uFillTx/>
                <a:latin typeface="Ubuntu" panose="020B0504030602030204" pitchFamily="34" charset="0"/>
                <a:ea typeface="+mn-ea"/>
                <a:cs typeface="+mn-cs"/>
              </a:rPr>
              <a:t>“Which test cases need to be added to the manual/automated regression se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2B0A3D"/>
              </a:solidFill>
              <a:effectLst/>
              <a:uLnTx/>
              <a:uFillTx/>
              <a:latin typeface="Verdana"/>
              <a:ea typeface="+mn-ea"/>
              <a:cs typeface="+mn-cs"/>
            </a:endParaRPr>
          </a:p>
        </p:txBody>
      </p:sp>
      <p:sp>
        <p:nvSpPr>
          <p:cNvPr id="77" name="CuadroTexto 76">
            <a:extLst>
              <a:ext uri="{FF2B5EF4-FFF2-40B4-BE49-F238E27FC236}">
                <a16:creationId xmlns:a16="http://schemas.microsoft.com/office/drawing/2014/main" id="{EAE97605-0949-7EDB-5ECD-D801A4D892BB}"/>
              </a:ext>
            </a:extLst>
          </p:cNvPr>
          <p:cNvSpPr txBox="1"/>
          <p:nvPr/>
        </p:nvSpPr>
        <p:spPr>
          <a:xfrm>
            <a:off x="9054049" y="9494800"/>
            <a:ext cx="1957040" cy="82330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2B0A3D"/>
                </a:solidFill>
                <a:effectLst/>
                <a:uLnTx/>
                <a:uFillTx/>
                <a:latin typeface="Ubuntu" panose="020B0504030602030204" pitchFamily="34" charset="0"/>
                <a:ea typeface="+mn-ea"/>
                <a:cs typeface="+mn-cs"/>
              </a:rPr>
              <a:t>“Are there potential duplicated defects or test case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2B0A3D"/>
              </a:solidFill>
              <a:effectLst/>
              <a:uLnTx/>
              <a:uFillTx/>
              <a:latin typeface="Verdana"/>
              <a:ea typeface="+mn-ea"/>
              <a:cs typeface="+mn-cs"/>
            </a:endParaRPr>
          </a:p>
        </p:txBody>
      </p:sp>
    </p:spTree>
    <p:extLst>
      <p:ext uri="{BB962C8B-B14F-4D97-AF65-F5344CB8AC3E}">
        <p14:creationId xmlns:p14="http://schemas.microsoft.com/office/powerpoint/2010/main" val="183567115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40432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00"/>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Cover option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ogeti-ppt-template.pptx" id="{74CBC20A-5C78-4BA8-A195-24C07BE40C62}" vid="{D622C579-F77D-488D-92D0-B4D2EF913E1E}"/>
    </a:ext>
  </a:extLst>
</a:theme>
</file>

<file path=ppt/theme/theme11.xml><?xml version="1.0" encoding="utf-8"?>
<a:theme xmlns:a="http://schemas.openxmlformats.org/drawingml/2006/main" name="8_Content Layouts">
  <a:themeElements>
    <a:clrScheme name="New-CG">
      <a:dk1>
        <a:srgbClr val="000000"/>
      </a:dk1>
      <a:lt1>
        <a:sysClr val="window" lastClr="FFFFFF"/>
      </a:lt1>
      <a:dk2>
        <a:srgbClr val="0070A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defRPr sz="14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SOGETI Template_2018_v3" id="{7278A2AE-4223-442C-A0C5-E45FABBA1215}" vid="{F7E055ED-6AB1-43F9-BF77-7175F72F91ED}"/>
    </a:ext>
  </a:extLst>
</a:theme>
</file>

<file path=ppt/theme/theme12.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Portad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EsquemaPortfolio">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00"/>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Portad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00"/>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5_Content Layouts">
  <a:themeElements>
    <a:clrScheme name="Personalizado 1">
      <a:dk1>
        <a:srgbClr val="000000"/>
      </a:dk1>
      <a:lt1>
        <a:srgbClr val="FFFFFF"/>
      </a:lt1>
      <a:dk2>
        <a:srgbClr val="2B0A3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defRPr sz="14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SOGETI Template_2018_v3" id="{7278A2AE-4223-442C-A0C5-E45FABBA1215}" vid="{F7E055ED-6AB1-43F9-BF77-7175F72F91ED}"/>
    </a:ext>
  </a:extLst>
</a:theme>
</file>

<file path=ppt/theme/theme8.xml><?xml version="1.0" encoding="utf-8"?>
<a:theme xmlns:a="http://schemas.openxmlformats.org/drawingml/2006/main" name="2_Content Layouts">
  <a:themeElements>
    <a:clrScheme name="Personalizado 1">
      <a:dk1>
        <a:srgbClr val="000000"/>
      </a:dk1>
      <a:lt1>
        <a:srgbClr val="FFFFFF"/>
      </a:lt1>
      <a:dk2>
        <a:srgbClr val="2B0A3D"/>
      </a:dk2>
      <a:lt2>
        <a:srgbClr val="EDEDED"/>
      </a:lt2>
      <a:accent1>
        <a:srgbClr val="0070AD"/>
      </a:accent1>
      <a:accent2>
        <a:srgbClr val="12ABDB"/>
      </a:accent2>
      <a:accent3>
        <a:srgbClr val="2B0A3D"/>
      </a:accent3>
      <a:accent4>
        <a:srgbClr val="FF304C"/>
      </a:accent4>
      <a:accent5>
        <a:srgbClr val="95E616"/>
      </a:accent5>
      <a:accent6>
        <a:srgbClr val="C2CF00"/>
      </a:accent6>
      <a:hlink>
        <a:srgbClr val="005481"/>
      </a:hlink>
      <a:folHlink>
        <a:srgbClr val="861763"/>
      </a:folHlink>
    </a:clrScheme>
    <a:fontScheme name="Capgemini">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defRPr sz="14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SOGETI Template_2018_v3" id="{7278A2AE-4223-442C-A0C5-E45FABBA1215}" vid="{F7E055ED-6AB1-43F9-BF77-7175F72F91ED}"/>
    </a:ext>
  </a:extLst>
</a:theme>
</file>

<file path=ppt/theme/theme9.xml><?xml version="1.0" encoding="utf-8"?>
<a:theme xmlns:a="http://schemas.openxmlformats.org/drawingml/2006/main" name="3_Sogeti Master">
  <a:themeElements>
    <a:clrScheme name="Sogeti Palette">
      <a:dk1>
        <a:sysClr val="windowText" lastClr="000000"/>
      </a:dk1>
      <a:lt1>
        <a:srgbClr val="FFFFFF"/>
      </a:lt1>
      <a:dk2>
        <a:srgbClr val="2B0A3D"/>
      </a:dk2>
      <a:lt2>
        <a:srgbClr val="ECECEC"/>
      </a:lt2>
      <a:accent1>
        <a:srgbClr val="0070AD"/>
      </a:accent1>
      <a:accent2>
        <a:srgbClr val="12ABDB"/>
      </a:accent2>
      <a:accent3>
        <a:srgbClr val="2B0A3D"/>
      </a:accent3>
      <a:accent4>
        <a:srgbClr val="FF304C"/>
      </a:accent4>
      <a:accent5>
        <a:srgbClr val="95E616"/>
      </a:accent5>
      <a:accent6>
        <a:srgbClr val="00C37B"/>
      </a:accent6>
      <a:hlink>
        <a:srgbClr val="88D5ED"/>
      </a:hlink>
      <a:folHlink>
        <a:srgbClr val="7E39BA"/>
      </a:folHlink>
    </a:clrScheme>
    <a:fontScheme name="Personnalisé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o" ma:contentTypeID="0x010100EBE2B51FEFC3EE43A720A7F51D4AF1B4" ma:contentTypeVersion="4" ma:contentTypeDescription="Crear nuevo documento." ma:contentTypeScope="" ma:versionID="8e129dc0ebdd9077ea54bcf004346ce5">
  <xsd:schema xmlns:xsd="http://www.w3.org/2001/XMLSchema" xmlns:xs="http://www.w3.org/2001/XMLSchema" xmlns:p="http://schemas.microsoft.com/office/2006/metadata/properties" xmlns:ns2="ed992bf1-c448-4449-a240-47fb745b5dcf" xmlns:ns3="4d15b63f-0520-45c1-909a-caf09cfecd4e" targetNamespace="http://schemas.microsoft.com/office/2006/metadata/properties" ma:root="true" ma:fieldsID="d5160259acabd4adb46613e4d221ddcd" ns2:_="" ns3:_="">
    <xsd:import namespace="ed992bf1-c448-4449-a240-47fb745b5dcf"/>
    <xsd:import namespace="4d15b63f-0520-45c1-909a-caf09cfecd4e"/>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d992bf1-c448-4449-a240-47fb745b5dc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d15b63f-0520-45c1-909a-caf09cfecd4e" elementFormDefault="qualified">
    <xsd:import namespace="http://schemas.microsoft.com/office/2006/documentManagement/types"/>
    <xsd:import namespace="http://schemas.microsoft.com/office/infopath/2007/PartnerControls"/>
    <xsd:element name="SharedWithUsers" ma:index="10" nillable="true" ma:displayName="Compartido c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Detalles de uso compartido"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BF220D9-F191-4765-B0F4-BCB045E4F9ED}">
  <ds:schemaRefs>
    <ds:schemaRef ds:uri="http://purl.org/dc/dcmitype/"/>
    <ds:schemaRef ds:uri="4d15b63f-0520-45c1-909a-caf09cfecd4e"/>
    <ds:schemaRef ds:uri="http://schemas.microsoft.com/office/2006/metadata/properties"/>
    <ds:schemaRef ds:uri="http://purl.org/dc/elements/1.1/"/>
    <ds:schemaRef ds:uri="http://www.w3.org/XML/1998/namespace"/>
    <ds:schemaRef ds:uri="http://schemas.microsoft.com/office/2006/documentManagement/types"/>
    <ds:schemaRef ds:uri="http://purl.org/dc/terms/"/>
    <ds:schemaRef ds:uri="ed992bf1-c448-4449-a240-47fb745b5dcf"/>
    <ds:schemaRef ds:uri="http://schemas.microsoft.com/office/infopath/2007/PartnerControls"/>
    <ds:schemaRef ds:uri="http://schemas.openxmlformats.org/package/2006/metadata/core-properties"/>
  </ds:schemaRefs>
</ds:datastoreItem>
</file>

<file path=customXml/itemProps2.xml><?xml version="1.0" encoding="utf-8"?>
<ds:datastoreItem xmlns:ds="http://schemas.openxmlformats.org/officeDocument/2006/customXml" ds:itemID="{E89FD1AD-8317-4E38-8D41-D71B56C24730}">
  <ds:schemaRefs>
    <ds:schemaRef ds:uri="http://schemas.microsoft.com/sharepoint/v3/contenttype/forms"/>
  </ds:schemaRefs>
</ds:datastoreItem>
</file>

<file path=customXml/itemProps3.xml><?xml version="1.0" encoding="utf-8"?>
<ds:datastoreItem xmlns:ds="http://schemas.openxmlformats.org/officeDocument/2006/customXml" ds:itemID="{16304990-E5AB-4F1B-9144-A68F019456D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d992bf1-c448-4449-a240-47fb745b5dcf"/>
    <ds:schemaRef ds:uri="4d15b63f-0520-45c1-909a-caf09cfecd4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110</TotalTime>
  <Words>995</Words>
  <Application>Microsoft Office PowerPoint</Application>
  <PresentationFormat>Custom</PresentationFormat>
  <Paragraphs>177</Paragraphs>
  <Slides>9</Slides>
  <Notes>7</Notes>
  <HiddenSlides>0</HiddenSlides>
  <MMClips>0</MMClips>
  <ScaleCrop>false</ScaleCrop>
  <HeadingPairs>
    <vt:vector size="8" baseType="variant">
      <vt:variant>
        <vt:lpstr>Fonts Used</vt:lpstr>
      </vt:variant>
      <vt:variant>
        <vt:i4>9</vt:i4>
      </vt:variant>
      <vt:variant>
        <vt:lpstr>Theme</vt:lpstr>
      </vt:variant>
      <vt:variant>
        <vt:i4>11</vt:i4>
      </vt:variant>
      <vt:variant>
        <vt:lpstr>Embedded OLE Servers</vt:lpstr>
      </vt:variant>
      <vt:variant>
        <vt:i4>1</vt:i4>
      </vt:variant>
      <vt:variant>
        <vt:lpstr>Slide Titles</vt:lpstr>
      </vt:variant>
      <vt:variant>
        <vt:i4>9</vt:i4>
      </vt:variant>
    </vt:vector>
  </HeadingPairs>
  <TitlesOfParts>
    <vt:vector size="30" baseType="lpstr">
      <vt:lpstr>Arial</vt:lpstr>
      <vt:lpstr>Calibri</vt:lpstr>
      <vt:lpstr>Gill Sans MT</vt:lpstr>
      <vt:lpstr>Ubuntu</vt:lpstr>
      <vt:lpstr>Ubuntu Light</vt:lpstr>
      <vt:lpstr>Ubuntu Medium</vt:lpstr>
      <vt:lpstr>Ubuntu Mono</vt:lpstr>
      <vt:lpstr>Verdana</vt:lpstr>
      <vt:lpstr>Wingdings</vt:lpstr>
      <vt:lpstr>Office Theme</vt:lpstr>
      <vt:lpstr>Portada</vt:lpstr>
      <vt:lpstr>EsquemaPortfolio</vt:lpstr>
      <vt:lpstr>Custom Design</vt:lpstr>
      <vt:lpstr>1_Portada</vt:lpstr>
      <vt:lpstr>1_Office Theme</vt:lpstr>
      <vt:lpstr>5_Content Layouts</vt:lpstr>
      <vt:lpstr>2_Content Layouts</vt:lpstr>
      <vt:lpstr>3_Sogeti Master</vt:lpstr>
      <vt:lpstr>Cover options</vt:lpstr>
      <vt:lpstr>8_Content Layouts</vt:lpstr>
      <vt:lpstr>think-cell Slide</vt:lpstr>
      <vt:lpstr>PowerPoint Presentation</vt:lpstr>
      <vt:lpstr>Flourishing digital  business with quality engineering  &amp; testing</vt:lpstr>
      <vt:lpstr>Hacia SmartQA</vt:lpstr>
      <vt:lpstr>QADashbords &amp; CognitiveQA</vt:lpstr>
      <vt:lpstr>PowerPoint Presentation</vt:lpstr>
      <vt:lpstr>QA Dashboards</vt:lpstr>
      <vt:lpstr>Metrics and KPIs</vt:lpstr>
      <vt:lpstr>QADashboards &amp; QualityEye  QADashboards is a PowerBI-based solution to implement customized and automated quality dashboards.    Quality Eye is a standalone implementation with predefined KPIs. </vt:lpstr>
      <vt:lpstr>PowerPoint Presentation</vt:lpstr>
    </vt:vector>
  </TitlesOfParts>
  <Manager/>
  <Company>Sogeti España, part of Capgemini</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QBR Energya #1 - Febrero 2023</dc:title>
  <dc:subject>QBR Energya #1 - Febrero 2023</dc:subject>
  <dc:creator>Lopez Batlles, Adelina Maria</dc:creator>
  <cp:keywords/>
  <dc:description/>
  <cp:lastModifiedBy>Martinez Rodriguez, Jordi</cp:lastModifiedBy>
  <cp:revision>9</cp:revision>
  <dcterms:created xsi:type="dcterms:W3CDTF">2023-01-16T08:47:22Z</dcterms:created>
  <dcterms:modified xsi:type="dcterms:W3CDTF">2023-05-23T12:57:20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23-01-03T10:00:00Z</vt:filetime>
  </property>
  <property fmtid="{D5CDD505-2E9C-101B-9397-08002B2CF9AE}" pid="3" name="Creator">
    <vt:lpwstr>Adobe Illustrator 27.1 (Windows)</vt:lpwstr>
  </property>
  <property fmtid="{D5CDD505-2E9C-101B-9397-08002B2CF9AE}" pid="4" name="CreatorVersion">
    <vt:lpwstr>21.0.0</vt:lpwstr>
  </property>
  <property fmtid="{D5CDD505-2E9C-101B-9397-08002B2CF9AE}" pid="5" name="LastSaved">
    <vt:filetime>2023-01-16T10:00:00Z</vt:filetime>
  </property>
  <property fmtid="{D5CDD505-2E9C-101B-9397-08002B2CF9AE}" pid="6" name="Producer">
    <vt:lpwstr>Adobe PDF library 17.00</vt:lpwstr>
  </property>
  <property fmtid="{D5CDD505-2E9C-101B-9397-08002B2CF9AE}" pid="7" name="ContentTypeId">
    <vt:lpwstr>0x010100EBE2B51FEFC3EE43A720A7F51D4AF1B4</vt:lpwstr>
  </property>
</Properties>
</file>